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mp" ContentType="image/p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3.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4.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5.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7.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6.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7.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8.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1" r:id="rId5"/>
    <p:sldMasterId id="2147483689" r:id="rId6"/>
    <p:sldMasterId id="2147483727" r:id="rId7"/>
    <p:sldMasterId id="2147483766" r:id="rId8"/>
    <p:sldMasterId id="2147483783" r:id="rId9"/>
    <p:sldMasterId id="2147483788" r:id="rId10"/>
  </p:sldMasterIdLst>
  <p:notesMasterIdLst>
    <p:notesMasterId r:id="rId60"/>
  </p:notesMasterIdLst>
  <p:sldIdLst>
    <p:sldId id="2147377372" r:id="rId11"/>
    <p:sldId id="2147377352" r:id="rId12"/>
    <p:sldId id="307" r:id="rId13"/>
    <p:sldId id="2147377373" r:id="rId14"/>
    <p:sldId id="2147377374" r:id="rId15"/>
    <p:sldId id="1272" r:id="rId16"/>
    <p:sldId id="2147377375" r:id="rId17"/>
    <p:sldId id="1384" r:id="rId18"/>
    <p:sldId id="1383" r:id="rId19"/>
    <p:sldId id="5254" r:id="rId20"/>
    <p:sldId id="1298" r:id="rId21"/>
    <p:sldId id="1387" r:id="rId22"/>
    <p:sldId id="1388" r:id="rId23"/>
    <p:sldId id="1343" r:id="rId24"/>
    <p:sldId id="2147480074" r:id="rId25"/>
    <p:sldId id="1392" r:id="rId26"/>
    <p:sldId id="1389" r:id="rId27"/>
    <p:sldId id="5203" r:id="rId28"/>
    <p:sldId id="2147377379" r:id="rId29"/>
    <p:sldId id="2147377378" r:id="rId30"/>
    <p:sldId id="1390" r:id="rId31"/>
    <p:sldId id="1345" r:id="rId32"/>
    <p:sldId id="1393" r:id="rId33"/>
    <p:sldId id="5233" r:id="rId34"/>
    <p:sldId id="5232" r:id="rId35"/>
    <p:sldId id="2147480073" r:id="rId36"/>
    <p:sldId id="2147377383" r:id="rId37"/>
    <p:sldId id="2147377363" r:id="rId38"/>
    <p:sldId id="2147377364" r:id="rId39"/>
    <p:sldId id="2147377385" r:id="rId40"/>
    <p:sldId id="5231" r:id="rId41"/>
    <p:sldId id="2147377390" r:id="rId42"/>
    <p:sldId id="2147377386" r:id="rId43"/>
    <p:sldId id="2147377763" r:id="rId44"/>
    <p:sldId id="2147480071" r:id="rId45"/>
    <p:sldId id="2147377781" r:id="rId46"/>
    <p:sldId id="1378" r:id="rId47"/>
    <p:sldId id="5235" r:id="rId48"/>
    <p:sldId id="1082" r:id="rId49"/>
    <p:sldId id="1083" r:id="rId50"/>
    <p:sldId id="5197" r:id="rId51"/>
    <p:sldId id="5243" r:id="rId52"/>
    <p:sldId id="2147377380" r:id="rId53"/>
    <p:sldId id="2147377381" r:id="rId54"/>
    <p:sldId id="2147377392" r:id="rId55"/>
    <p:sldId id="2147377382" r:id="rId56"/>
    <p:sldId id="1292" r:id="rId57"/>
    <p:sldId id="1314" r:id="rId58"/>
    <p:sldId id="5249" r:id="rId59"/>
  </p:sldIdLst>
  <p:sldSz cx="12192000" cy="6858000"/>
  <p:notesSz cx="6858000" cy="9144000"/>
  <p:defaultTextStyle>
    <a:defPPr>
      <a:defRPr lang="en-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Opening" id="{A3ED5549-3F7F-49AC-B694-CAD9DC8BAC91}">
          <p14:sldIdLst>
            <p14:sldId id="2147377372"/>
            <p14:sldId id="2147377352"/>
            <p14:sldId id="307"/>
          </p14:sldIdLst>
        </p14:section>
        <p14:section name="1-Finding_a_journal" id="{BBC30E21-DA8E-4CE1-8601-FAFBA79D7087}">
          <p14:sldIdLst>
            <p14:sldId id="2147377373"/>
            <p14:sldId id="2147377374"/>
            <p14:sldId id="1272"/>
            <p14:sldId id="2147377375"/>
            <p14:sldId id="1384"/>
            <p14:sldId id="1383"/>
            <p14:sldId id="5254"/>
          </p14:sldIdLst>
        </p14:section>
        <p14:section name="2.Before_you_write" id="{86E00D7D-D415-420D-A738-01A98F49660D}">
          <p14:sldIdLst>
            <p14:sldId id="1298"/>
            <p14:sldId id="1387"/>
            <p14:sldId id="1388"/>
          </p14:sldIdLst>
        </p14:section>
        <p14:section name="3. Article_structure" id="{B8574711-127B-4E69-80A7-D07AF77823C2}">
          <p14:sldIdLst>
            <p14:sldId id="1343"/>
            <p14:sldId id="2147480074"/>
            <p14:sldId id="1392"/>
            <p14:sldId id="1389"/>
            <p14:sldId id="5203"/>
            <p14:sldId id="2147377379"/>
            <p14:sldId id="2147377378"/>
            <p14:sldId id="1390"/>
          </p14:sldIdLst>
        </p14:section>
        <p14:section name="4.Submitting your article" id="{77DFA1DD-0730-4C82-8118-71A6D5562F8C}">
          <p14:sldIdLst>
            <p14:sldId id="1345"/>
            <p14:sldId id="1393"/>
            <p14:sldId id="5233"/>
            <p14:sldId id="5232"/>
            <p14:sldId id="2147480073"/>
          </p14:sldIdLst>
        </p14:section>
        <p14:section name="5.Common miskates" id="{ED19AC98-7203-4F31-BEA8-86B5D787A58F}">
          <p14:sldIdLst>
            <p14:sldId id="2147377383"/>
            <p14:sldId id="2147377363"/>
            <p14:sldId id="2147377364"/>
          </p14:sldIdLst>
        </p14:section>
        <p14:section name="6.Ethical_considerations" id="{6EF9DB34-EF1E-4DC8-8A1B-6B560826DD13}">
          <p14:sldIdLst>
            <p14:sldId id="2147377385"/>
            <p14:sldId id="5231"/>
            <p14:sldId id="2147377390"/>
            <p14:sldId id="2147377386"/>
            <p14:sldId id="2147377763"/>
            <p14:sldId id="2147480071"/>
            <p14:sldId id="2147377781"/>
          </p14:sldIdLst>
        </p14:section>
        <p14:section name="7. Assessmnet and review process" id="{11BD1246-B0F2-4FE1-A696-61770733F947}">
          <p14:sldIdLst>
            <p14:sldId id="1378"/>
            <p14:sldId id="5235"/>
            <p14:sldId id="1082"/>
            <p14:sldId id="1083"/>
            <p14:sldId id="5197"/>
            <p14:sldId id="5243"/>
          </p14:sldIdLst>
        </p14:section>
        <p14:section name="8. Q&amp;A" id="{FE5340E7-0C35-4245-92C5-E3B7E7EFDECD}">
          <p14:sldIdLst>
            <p14:sldId id="2147377380"/>
          </p14:sldIdLst>
        </p14:section>
        <p14:section name="9. Useful resources" id="{28562DEF-DC66-42B3-9A50-6CD689C7A343}">
          <p14:sldIdLst>
            <p14:sldId id="2147377381"/>
            <p14:sldId id="2147377392"/>
            <p14:sldId id="2147377382"/>
            <p14:sldId id="1292"/>
            <p14:sldId id="1314"/>
            <p14:sldId id="5249"/>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214A14E-EFF9-1C7C-D045-EF89D2D09CCD}" name="Bennison-Chapman, Lucy (ELS-AMS)" initials="LB" userId="S::bennisonchapmanl@science.regn.net::d99b8ed5-44e8-483f-9b8d-d8e263850545"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332E142-384B-47DF-9E5C-A9A0D292F445}" v="324" dt="2025-10-22T12:52:35.864"/>
    <p1510:client id="{DB91E98F-5A8A-42BE-ADB3-6644D1319C28}" v="11" dt="2025-10-23T07:25:04.07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322" autoAdjust="0"/>
    <p:restoredTop sz="90799" autoAdjust="0"/>
  </p:normalViewPr>
  <p:slideViewPr>
    <p:cSldViewPr snapToGrid="0">
      <p:cViewPr varScale="1">
        <p:scale>
          <a:sx n="50" d="100"/>
          <a:sy n="50" d="100"/>
        </p:scale>
        <p:origin x="216" y="48"/>
      </p:cViewPr>
      <p:guideLst/>
    </p:cSldViewPr>
  </p:slideViewPr>
  <p:notesTextViewPr>
    <p:cViewPr>
      <p:scale>
        <a:sx n="3" d="2"/>
        <a:sy n="3" d="2"/>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slide" Target="slides/slide45.xml"/><Relationship Id="rId63"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presProps" Target="presProps.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41.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 Type="http://schemas.openxmlformats.org/officeDocument/2006/relationships/slideMaster" Target="slideMasters/slideMaster7.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notesMaster" Target="notesMasters/notesMaster1.xml"/><Relationship Id="rId65"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NL"/>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0B34422-4F80-44D4-BF68-B7FB3977ACB3}" type="datetimeFigureOut">
              <a:rPr lang="en-NL" smtClean="0"/>
              <a:t>10/23/2025</a:t>
            </a:fld>
            <a:endParaRPr lang="en-NL"/>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NL"/>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360EEE9-74F8-443E-B943-248CC45FAD3C}" type="slidenum">
              <a:rPr lang="en-NL" smtClean="0"/>
              <a:t>‹#›</a:t>
            </a:fld>
            <a:endParaRPr lang="en-NL"/>
          </a:p>
        </p:txBody>
      </p:sp>
    </p:spTree>
    <p:extLst>
      <p:ext uri="{BB962C8B-B14F-4D97-AF65-F5344CB8AC3E}">
        <p14:creationId xmlns:p14="http://schemas.microsoft.com/office/powerpoint/2010/main" val="11713425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dirty="0"/>
          </a:p>
        </p:txBody>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ank you so much for joining us today for this workshop on how to get published with Elsevier</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By the end of the session, attendees will have a clearer understanding of the publication process and be better equipped to successfully publish their research with Elsevier Open Access as well as knowing where to find useful resources .</a:t>
            </a:r>
          </a:p>
          <a:p>
            <a:endParaRPr lang="en-NL" dirty="0"/>
          </a:p>
        </p:txBody>
      </p:sp>
      <p:sp>
        <p:nvSpPr>
          <p:cNvPr id="4" name="Slide Number Placeholder 3"/>
          <p:cNvSpPr>
            <a:spLocks noGrp="1"/>
          </p:cNvSpPr>
          <p:nvPr>
            <p:ph type="sldNum" sz="quarter" idx="5"/>
          </p:nvPr>
        </p:nvSpPr>
        <p:spPr/>
        <p:txBody>
          <a:bodyPr/>
          <a:lstStyle/>
          <a:p>
            <a:fld id="{A7443C7B-F938-4CE9-A268-32817172635B}" type="slidenum">
              <a:rPr lang="en-US" smtClean="0"/>
              <a:pPr/>
              <a:t>1</a:t>
            </a:fld>
            <a:endParaRPr lang="en-US" dirty="0"/>
          </a:p>
        </p:txBody>
      </p:sp>
    </p:spTree>
    <p:extLst>
      <p:ext uri="{BB962C8B-B14F-4D97-AF65-F5344CB8AC3E}">
        <p14:creationId xmlns:p14="http://schemas.microsoft.com/office/powerpoint/2010/main" val="26721444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GB" sz="1200" kern="1200" dirty="0">
                <a:solidFill>
                  <a:schemeClr val="tx1"/>
                </a:solidFill>
                <a:effectLst/>
                <a:latin typeface="+mn-lt"/>
                <a:ea typeface="+mn-ea"/>
                <a:cs typeface="+mn-cs"/>
              </a:rPr>
              <a:t>Metrics are important for some fields and universities, not so important for others </a:t>
            </a:r>
          </a:p>
          <a:p>
            <a:pPr lvl="0"/>
            <a:r>
              <a:rPr lang="en-GB" sz="1200" kern="1200" dirty="0">
                <a:solidFill>
                  <a:schemeClr val="tx1"/>
                </a:solidFill>
                <a:effectLst/>
                <a:latin typeface="+mn-lt"/>
                <a:ea typeface="+mn-ea"/>
                <a:cs typeface="+mn-cs"/>
              </a:rPr>
              <a:t>Useful to be aware of them</a:t>
            </a:r>
          </a:p>
          <a:p>
            <a:pPr lvl="0"/>
            <a:r>
              <a:rPr lang="en-GB" sz="1200" kern="1200" dirty="0">
                <a:solidFill>
                  <a:schemeClr val="tx1"/>
                </a:solidFill>
                <a:effectLst/>
                <a:latin typeface="+mn-lt"/>
                <a:ea typeface="+mn-ea"/>
                <a:cs typeface="+mn-cs"/>
              </a:rPr>
              <a:t>As these can indicate how reputable a journal is, and where it sits in terms of the research landscape </a:t>
            </a:r>
          </a:p>
          <a:p>
            <a:pPr lvl="0"/>
            <a:endParaRPr lang="en-GB" sz="1200" kern="1200" dirty="0">
              <a:solidFill>
                <a:schemeClr val="tx1"/>
              </a:solidFill>
              <a:effectLst/>
              <a:latin typeface="+mn-lt"/>
              <a:ea typeface="+mn-ea"/>
              <a:cs typeface="+mn-cs"/>
            </a:endParaRPr>
          </a:p>
          <a:p>
            <a:r>
              <a:rPr lang="en-GB" sz="1200" b="1" kern="1200" dirty="0">
                <a:solidFill>
                  <a:schemeClr val="tx1"/>
                </a:solidFill>
                <a:effectLst/>
                <a:latin typeface="+mn-lt"/>
                <a:ea typeface="+mn-ea"/>
                <a:cs typeface="+mn-cs"/>
              </a:rPr>
              <a:t>Once you have made a short list and listed the details of each journal on it, </a:t>
            </a:r>
            <a:endParaRPr lang="en-GB" sz="1200" kern="1200" dirty="0">
              <a:solidFill>
                <a:schemeClr val="tx1"/>
              </a:solidFill>
              <a:effectLst/>
              <a:latin typeface="+mn-lt"/>
              <a:ea typeface="+mn-ea"/>
              <a:cs typeface="+mn-cs"/>
            </a:endParaRPr>
          </a:p>
          <a:p>
            <a:pPr lvl="1"/>
            <a:r>
              <a:rPr lang="en-GB" sz="1200" b="1" kern="1200" dirty="0">
                <a:solidFill>
                  <a:schemeClr val="tx1"/>
                </a:solidFill>
                <a:effectLst/>
                <a:latin typeface="+mn-lt"/>
                <a:ea typeface="+mn-ea"/>
                <a:cs typeface="+mn-cs"/>
              </a:rPr>
              <a:t>Rank them in order of preference, and agree with all authors which one you will submit to first</a:t>
            </a:r>
            <a:endParaRPr lang="en-GB" sz="1200" kern="1200" dirty="0">
              <a:solidFill>
                <a:schemeClr val="tx1"/>
              </a:solidFill>
              <a:effectLst/>
              <a:latin typeface="+mn-lt"/>
              <a:ea typeface="+mn-ea"/>
              <a:cs typeface="+mn-cs"/>
            </a:endParaRPr>
          </a:p>
          <a:p>
            <a:pPr lvl="1"/>
            <a:r>
              <a:rPr lang="en-GB" sz="1200" b="1" kern="1200" dirty="0">
                <a:solidFill>
                  <a:schemeClr val="tx1"/>
                </a:solidFill>
                <a:effectLst/>
                <a:latin typeface="+mn-lt"/>
                <a:ea typeface="+mn-ea"/>
                <a:cs typeface="+mn-cs"/>
              </a:rPr>
              <a:t>Cannot submit to more than one journal at a time</a:t>
            </a:r>
            <a:endParaRPr lang="en-GB" sz="1200" kern="1200" dirty="0">
              <a:solidFill>
                <a:schemeClr val="tx1"/>
              </a:solidFill>
              <a:effectLst/>
              <a:latin typeface="+mn-lt"/>
              <a:ea typeface="+mn-ea"/>
              <a:cs typeface="+mn-cs"/>
            </a:endParaRPr>
          </a:p>
          <a:p>
            <a:pPr lvl="0"/>
            <a:endParaRPr lang="en-GB" sz="1200" kern="1200" dirty="0">
              <a:solidFill>
                <a:schemeClr val="tx1"/>
              </a:solidFill>
              <a:effectLst/>
              <a:latin typeface="+mn-lt"/>
              <a:ea typeface="+mn-ea"/>
              <a:cs typeface="+mn-cs"/>
            </a:endParaRPr>
          </a:p>
          <a:p>
            <a:pPr lvl="0"/>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 </a:t>
            </a:r>
          </a:p>
          <a:p>
            <a:pPr lvl="0"/>
            <a:r>
              <a:rPr lang="en-GB" sz="1200" kern="1200" dirty="0">
                <a:solidFill>
                  <a:schemeClr val="tx1"/>
                </a:solidFill>
                <a:effectLst/>
                <a:latin typeface="+mn-lt"/>
                <a:ea typeface="+mn-ea"/>
                <a:cs typeface="+mn-cs"/>
              </a:rPr>
              <a:t>Aim high, be realistic</a:t>
            </a:r>
          </a:p>
          <a:p>
            <a:pPr lvl="1"/>
            <a:r>
              <a:rPr lang="en-GB" sz="1200" kern="1200" dirty="0">
                <a:solidFill>
                  <a:schemeClr val="tx1"/>
                </a:solidFill>
                <a:effectLst/>
                <a:latin typeface="+mn-lt"/>
                <a:ea typeface="+mn-ea"/>
                <a:cs typeface="+mn-cs"/>
              </a:rPr>
              <a:t>Again, consider any stipulations from your institute or funders with regards to metrics </a:t>
            </a:r>
          </a:p>
          <a:p>
            <a:endParaRPr lang="en-US" dirty="0"/>
          </a:p>
        </p:txBody>
      </p:sp>
      <p:sp>
        <p:nvSpPr>
          <p:cNvPr id="4" name="Slide Number Placeholder 3"/>
          <p:cNvSpPr>
            <a:spLocks noGrp="1"/>
          </p:cNvSpPr>
          <p:nvPr>
            <p:ph type="sldNum" sz="quarter" idx="5"/>
          </p:nvPr>
        </p:nvSpPr>
        <p:spPr/>
        <p:txBody>
          <a:bodyPr/>
          <a:lstStyle/>
          <a:p>
            <a:fld id="{6360EEE9-74F8-443E-B943-248CC45FAD3C}" type="slidenum">
              <a:rPr lang="en-NL" smtClean="0"/>
              <a:t>10</a:t>
            </a:fld>
            <a:endParaRPr lang="en-NL"/>
          </a:p>
        </p:txBody>
      </p:sp>
    </p:spTree>
    <p:extLst>
      <p:ext uri="{BB962C8B-B14F-4D97-AF65-F5344CB8AC3E}">
        <p14:creationId xmlns:p14="http://schemas.microsoft.com/office/powerpoint/2010/main" val="8090785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dirty="0"/>
          </a:p>
        </p:txBody>
      </p:sp>
      <p:sp>
        <p:nvSpPr>
          <p:cNvPr id="3" name="Notes Placeholder 2"/>
          <p:cNvSpPr>
            <a:spLocks noGrp="1"/>
          </p:cNvSpPr>
          <p:nvPr>
            <p:ph type="body" idx="1"/>
          </p:nvPr>
        </p:nvSpPr>
        <p:spPr/>
        <p:txBody>
          <a:bodyPr/>
          <a:lstStyle/>
          <a:p>
            <a:pPr marL="171450" indent="-171450">
              <a:buFontTx/>
              <a:buChar char="-"/>
            </a:pPr>
            <a:r>
              <a:rPr lang="en-GB" baseline="0" dirty="0"/>
              <a:t>Make sure this covers:</a:t>
            </a:r>
          </a:p>
          <a:p>
            <a:pPr marL="628650" lvl="1" indent="-171450">
              <a:buFont typeface="Arial" panose="020B0604020202020204" pitchFamily="34" charset="0"/>
              <a:buChar char="•"/>
            </a:pPr>
            <a:r>
              <a:rPr lang="en-GB" sz="1200" kern="1200" dirty="0">
                <a:solidFill>
                  <a:schemeClr val="tx1"/>
                </a:solidFill>
                <a:effectLst/>
                <a:latin typeface="+mn-lt"/>
                <a:ea typeface="+mn-ea"/>
                <a:cs typeface="+mn-cs"/>
              </a:rPr>
              <a:t>Guide for authors </a:t>
            </a:r>
          </a:p>
          <a:p>
            <a:pPr marL="628650" lvl="1" indent="-171450">
              <a:buFont typeface="Arial" panose="020B0604020202020204" pitchFamily="34" charset="0"/>
              <a:buChar char="•"/>
            </a:pPr>
            <a:r>
              <a:rPr lang="en-GB" sz="1200" kern="1200" dirty="0">
                <a:solidFill>
                  <a:schemeClr val="tx1"/>
                </a:solidFill>
                <a:effectLst/>
                <a:latin typeface="+mn-lt"/>
                <a:ea typeface="+mn-ea"/>
                <a:cs typeface="+mn-cs"/>
              </a:rPr>
              <a:t>Funding </a:t>
            </a:r>
          </a:p>
          <a:p>
            <a:pPr marL="628650" lvl="1" indent="-171450">
              <a:buFont typeface="Arial" panose="020B0604020202020204" pitchFamily="34" charset="0"/>
              <a:buChar char="•"/>
            </a:pPr>
            <a:r>
              <a:rPr lang="en-GB" sz="1200" kern="1200" dirty="0">
                <a:solidFill>
                  <a:schemeClr val="tx1"/>
                </a:solidFill>
                <a:effectLst/>
                <a:latin typeface="+mn-lt"/>
                <a:ea typeface="+mn-ea"/>
                <a:cs typeface="+mn-cs"/>
              </a:rPr>
              <a:t>Ethical considerations – does your research involve humans?</a:t>
            </a:r>
          </a:p>
          <a:p>
            <a:pPr marL="628650" lvl="1" indent="-171450">
              <a:buFont typeface="Arial" panose="020B0604020202020204" pitchFamily="34" charset="0"/>
              <a:buChar char="•"/>
            </a:pPr>
            <a:r>
              <a:rPr lang="en-GB" sz="1200" kern="1200" dirty="0">
                <a:solidFill>
                  <a:schemeClr val="tx1"/>
                </a:solidFill>
                <a:effectLst/>
                <a:latin typeface="+mn-lt"/>
                <a:ea typeface="+mn-ea"/>
                <a:cs typeface="+mn-cs"/>
              </a:rPr>
              <a:t>Authorship etc. </a:t>
            </a:r>
          </a:p>
          <a:p>
            <a:pPr marL="628650" lvl="1" indent="-171450">
              <a:buFont typeface="Arial" panose="020B0604020202020204" pitchFamily="34" charset="0"/>
              <a:buChar char="•"/>
            </a:pPr>
            <a:r>
              <a:rPr lang="en-GB" sz="1200" kern="1200" dirty="0">
                <a:solidFill>
                  <a:schemeClr val="tx1"/>
                </a:solidFill>
                <a:effectLst/>
                <a:latin typeface="+mn-lt"/>
                <a:ea typeface="+mn-ea"/>
                <a:cs typeface="+mn-cs"/>
              </a:rPr>
              <a:t>Resources and guidance? </a:t>
            </a:r>
          </a:p>
          <a:p>
            <a:pPr marL="171450" indent="-171450">
              <a:buFontTx/>
              <a:buChar char="-"/>
            </a:pPr>
            <a:endParaRPr lang="en-GB"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C755C2-B58D-463F-9666-3FDCBEFAFBDD}" type="slidenum">
              <a:rPr kumimoji="0" lang="en-GB" sz="1800" b="0" i="0" u="none" strike="noStrike" kern="0" cap="none" spc="0" normalizeH="0" baseline="0" noProof="0" smtClean="0">
                <a:ln>
                  <a:noFill/>
                </a:ln>
                <a:solidFill>
                  <a:sysClr val="windowText" lastClr="000000"/>
                </a:solidFill>
                <a:effectLst/>
                <a:uLnTx/>
                <a:uFillTx/>
                <a:latin typeface="Times New Roman"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800" b="0" i="0" u="none" strike="noStrike" kern="0" cap="none" spc="0" normalizeH="0" baseline="0" noProof="0" dirty="0">
              <a:ln>
                <a:noFill/>
              </a:ln>
              <a:solidFill>
                <a:sysClr val="windowText" lastClr="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8231430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dirty="0"/>
          </a:p>
        </p:txBody>
      </p:sp>
      <p:sp>
        <p:nvSpPr>
          <p:cNvPr id="3" name="Notes Placeholder 2"/>
          <p:cNvSpPr>
            <a:spLocks noGrp="1"/>
          </p:cNvSpPr>
          <p:nvPr>
            <p:ph type="body" idx="1"/>
          </p:nvPr>
        </p:nvSpPr>
        <p:spPr/>
        <p:txBody>
          <a:bodyPr/>
          <a:lstStyle/>
          <a:p>
            <a:pPr>
              <a:lnSpc>
                <a:spcPct val="115000"/>
              </a:lnSpc>
              <a:spcAft>
                <a:spcPts val="800"/>
              </a:spcAft>
              <a:buNone/>
            </a:pPr>
            <a:r>
              <a:rPr lang="en-US" sz="1100" b="1" kern="100" dirty="0">
                <a:solidFill>
                  <a:srgbClr val="000000"/>
                </a:solidFill>
                <a:effectLst/>
                <a:latin typeface="Times New Roman" panose="02020603050405020304" pitchFamily="18" charset="0"/>
                <a:ea typeface="Aptos" panose="020B0004020202020204" pitchFamily="34" charset="0"/>
                <a:cs typeface="Arial" panose="020B0604020202020204" pitchFamily="34" charset="0"/>
              </a:rPr>
              <a:t>remember you will write for this specific journal and its audience so once again:</a:t>
            </a:r>
            <a:endParaRPr lang="en-GB" sz="1100" kern="100" dirty="0">
              <a:effectLst/>
              <a:latin typeface="Aptos" panose="020B0004020202020204" pitchFamily="34" charset="0"/>
              <a:ea typeface="Aptos" panose="020B0004020202020204" pitchFamily="34" charset="0"/>
              <a:cs typeface="Arial" panose="020B0604020202020204" pitchFamily="34" charset="0"/>
            </a:endParaRPr>
          </a:p>
          <a:p>
            <a:pPr>
              <a:lnSpc>
                <a:spcPct val="115000"/>
              </a:lnSpc>
              <a:spcAft>
                <a:spcPts val="800"/>
              </a:spcAft>
              <a:buNone/>
            </a:pPr>
            <a:r>
              <a:rPr lang="en-US" sz="1100" b="1" kern="100" dirty="0">
                <a:solidFill>
                  <a:srgbClr val="000000"/>
                </a:solidFill>
                <a:effectLst/>
                <a:latin typeface="Times New Roman" panose="02020603050405020304" pitchFamily="18" charset="0"/>
                <a:ea typeface="Aptos" panose="020B0004020202020204" pitchFamily="34" charset="0"/>
                <a:cs typeface="Arial" panose="020B0604020202020204" pitchFamily="34" charset="0"/>
              </a:rPr>
              <a:t> </a:t>
            </a:r>
            <a:endParaRPr lang="en-GB" sz="1100" kern="100" dirty="0">
              <a:effectLst/>
              <a:latin typeface="Aptos" panose="020B0004020202020204" pitchFamily="34" charset="0"/>
              <a:ea typeface="Aptos" panose="020B0004020202020204" pitchFamily="34" charset="0"/>
              <a:cs typeface="Arial" panose="020B0604020202020204" pitchFamily="34" charset="0"/>
            </a:endParaRPr>
          </a:p>
          <a:p>
            <a:pPr marL="742950" lvl="1" indent="-285750">
              <a:lnSpc>
                <a:spcPct val="115000"/>
              </a:lnSpc>
              <a:buFont typeface="Courier New" panose="02070309020205020404" pitchFamily="49" charset="0"/>
              <a:buChar char="o"/>
            </a:pPr>
            <a:r>
              <a:rPr lang="en-US" sz="1100" kern="100" dirty="0">
                <a:solidFill>
                  <a:srgbClr val="000000"/>
                </a:solidFill>
                <a:effectLst/>
                <a:latin typeface="Times New Roman" panose="02020603050405020304" pitchFamily="18" charset="0"/>
                <a:ea typeface="Aptos" panose="020B0004020202020204" pitchFamily="34" charset="0"/>
                <a:cs typeface="Arial" panose="020B0604020202020204" pitchFamily="34" charset="0"/>
              </a:rPr>
              <a:t>Check the guide for authors</a:t>
            </a:r>
            <a:endParaRPr lang="en-GB" sz="1100" kern="100" dirty="0">
              <a:effectLst/>
              <a:latin typeface="Aptos" panose="020B0004020202020204" pitchFamily="34" charset="0"/>
              <a:ea typeface="Aptos" panose="020B0004020202020204" pitchFamily="34" charset="0"/>
              <a:cs typeface="Arial" panose="020B0604020202020204" pitchFamily="34" charset="0"/>
            </a:endParaRPr>
          </a:p>
          <a:p>
            <a:pPr marL="1143000" lvl="2" indent="-228600">
              <a:lnSpc>
                <a:spcPct val="115000"/>
              </a:lnSpc>
              <a:buFont typeface="Wingdings" panose="05000000000000000000" pitchFamily="2" charset="2"/>
              <a:buChar char=""/>
            </a:pPr>
            <a:r>
              <a:rPr lang="en-US" sz="1100" kern="100" dirty="0">
                <a:solidFill>
                  <a:srgbClr val="000000"/>
                </a:solidFill>
                <a:effectLst/>
                <a:latin typeface="Times New Roman" panose="02020603050405020304" pitchFamily="18" charset="0"/>
                <a:ea typeface="Aptos" panose="020B0004020202020204" pitchFamily="34" charset="0"/>
                <a:cs typeface="Arial" panose="020B0604020202020204" pitchFamily="34" charset="0"/>
              </a:rPr>
              <a:t>Decide on angle and approach and style – aims and scope-previous articles</a:t>
            </a:r>
          </a:p>
          <a:p>
            <a:pPr marL="1143000" lvl="2" indent="-228600">
              <a:lnSpc>
                <a:spcPct val="115000"/>
              </a:lnSpc>
              <a:buFont typeface="Wingdings" panose="05000000000000000000" pitchFamily="2" charset="2"/>
              <a:buChar char=""/>
            </a:pPr>
            <a:endParaRPr lang="en-US" sz="1100" kern="100" dirty="0">
              <a:solidFill>
                <a:srgbClr val="000000"/>
              </a:solidFill>
              <a:effectLst/>
              <a:latin typeface="Times New Roman" panose="02020603050405020304" pitchFamily="18" charset="0"/>
              <a:ea typeface="Aptos" panose="020B0004020202020204" pitchFamily="34" charset="0"/>
              <a:cs typeface="Arial" panose="020B0604020202020204" pitchFamily="34" charset="0"/>
            </a:endParaRPr>
          </a:p>
          <a:p>
            <a:pPr marL="1143000" lvl="2" indent="-228600">
              <a:lnSpc>
                <a:spcPct val="115000"/>
              </a:lnSpc>
              <a:buFont typeface="Wingdings" panose="05000000000000000000" pitchFamily="2" charset="2"/>
              <a:buChar char=""/>
            </a:pPr>
            <a:r>
              <a:rPr lang="en-US" sz="1100" b="1" kern="100" dirty="0">
                <a:solidFill>
                  <a:srgbClr val="00B0F0"/>
                </a:solidFill>
                <a:effectLst/>
                <a:latin typeface="Times New Roman" panose="02020603050405020304" pitchFamily="18" charset="0"/>
                <a:ea typeface="Aptos" panose="020B0004020202020204" pitchFamily="34" charset="0"/>
                <a:cs typeface="Arial" panose="020B0604020202020204" pitchFamily="34" charset="0"/>
              </a:rPr>
              <a:t>***click for pop up***- MANUSCRIPT TYPE</a:t>
            </a:r>
          </a:p>
          <a:p>
            <a:pPr marL="1143000" lvl="2" indent="-228600">
              <a:lnSpc>
                <a:spcPct val="115000"/>
              </a:lnSpc>
              <a:buFont typeface="Wingdings" panose="05000000000000000000" pitchFamily="2" charset="2"/>
              <a:buChar char=""/>
            </a:pPr>
            <a:endParaRPr lang="en-GB" sz="1100" b="1" kern="100" dirty="0">
              <a:solidFill>
                <a:srgbClr val="00B0F0"/>
              </a:solidFill>
              <a:effectLst/>
              <a:latin typeface="Times New Roman" panose="02020603050405020304" pitchFamily="18" charset="0"/>
              <a:ea typeface="Aptos" panose="020B0004020202020204" pitchFamily="34" charset="0"/>
              <a:cs typeface="Arial" panose="020B0604020202020204" pitchFamily="34" charset="0"/>
            </a:endParaRP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43C7B-F938-4CE9-A268-32817172635B}"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94542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dirty="0"/>
          </a:p>
        </p:txBody>
      </p:sp>
      <p:sp>
        <p:nvSpPr>
          <p:cNvPr id="3" name="Notes Placeholder 2"/>
          <p:cNvSpPr>
            <a:spLocks noGrp="1"/>
          </p:cNvSpPr>
          <p:nvPr>
            <p:ph type="body" idx="1"/>
          </p:nvPr>
        </p:nvSpPr>
        <p:spPr/>
        <p:txBody>
          <a:bodyPr/>
          <a:lstStyle/>
          <a:p>
            <a:pPr lvl="1"/>
            <a:r>
              <a:rPr lang="en-GB" dirty="0"/>
              <a:t>1) </a:t>
            </a:r>
            <a:r>
              <a:rPr lang="en-GB" sz="1200" kern="1200" dirty="0">
                <a:solidFill>
                  <a:schemeClr val="tx1"/>
                </a:solidFill>
                <a:effectLst/>
                <a:latin typeface="+mn-lt"/>
                <a:ea typeface="+mn-ea"/>
                <a:cs typeface="+mn-cs"/>
              </a:rPr>
              <a:t>Check the guide for authors</a:t>
            </a:r>
          </a:p>
          <a:p>
            <a:pPr lvl="2"/>
            <a:r>
              <a:rPr lang="en-GB" sz="1200" b="1" kern="1200" dirty="0">
                <a:solidFill>
                  <a:schemeClr val="tx1"/>
                </a:solidFill>
                <a:effectLst/>
                <a:latin typeface="+mn-lt"/>
                <a:ea typeface="+mn-ea"/>
                <a:cs typeface="+mn-cs"/>
              </a:rPr>
              <a:t>Decide on angle and approach and style</a:t>
            </a:r>
            <a:r>
              <a:rPr lang="en-GB" sz="1200" kern="1200" dirty="0">
                <a:solidFill>
                  <a:schemeClr val="tx1"/>
                </a:solidFill>
                <a:effectLst/>
                <a:latin typeface="+mn-lt"/>
                <a:ea typeface="+mn-ea"/>
                <a:cs typeface="+mn-cs"/>
              </a:rPr>
              <a:t> </a:t>
            </a:r>
          </a:p>
          <a:p>
            <a:pPr lvl="3"/>
            <a:r>
              <a:rPr lang="en-GB" sz="1200" kern="1200" dirty="0">
                <a:solidFill>
                  <a:schemeClr val="tx1"/>
                </a:solidFill>
                <a:effectLst/>
                <a:latin typeface="+mn-lt"/>
                <a:ea typeface="+mn-ea"/>
                <a:cs typeface="+mn-cs"/>
              </a:rPr>
              <a:t>Aims and scope-previous articles</a:t>
            </a:r>
          </a:p>
          <a:p>
            <a:pPr lvl="2"/>
            <a:r>
              <a:rPr lang="en-GB" sz="1200" kern="1200" dirty="0">
                <a:solidFill>
                  <a:schemeClr val="tx1"/>
                </a:solidFill>
                <a:effectLst/>
                <a:latin typeface="+mn-lt"/>
                <a:ea typeface="+mn-ea"/>
                <a:cs typeface="+mn-cs"/>
              </a:rPr>
              <a:t>Who are you writing for? And Why? </a:t>
            </a:r>
          </a:p>
          <a:p>
            <a:endParaRPr lang="en-GB" dirty="0"/>
          </a:p>
          <a:p>
            <a:endParaRPr lang="en-GB" dirty="0"/>
          </a:p>
          <a:p>
            <a:pPr lvl="0"/>
            <a:r>
              <a:rPr lang="en-GB" dirty="0"/>
              <a:t>2) </a:t>
            </a:r>
            <a:r>
              <a:rPr lang="en-GB" sz="1200" kern="1200" dirty="0">
                <a:solidFill>
                  <a:schemeClr val="tx1"/>
                </a:solidFill>
                <a:effectLst/>
                <a:latin typeface="+mn-lt"/>
                <a:ea typeface="+mn-ea"/>
                <a:cs typeface="+mn-cs"/>
              </a:rPr>
              <a:t>Length</a:t>
            </a:r>
          </a:p>
          <a:p>
            <a:pPr lvl="0"/>
            <a:r>
              <a:rPr lang="en-GB" sz="1200" kern="1200" dirty="0">
                <a:solidFill>
                  <a:schemeClr val="tx1"/>
                </a:solidFill>
                <a:effectLst/>
                <a:latin typeface="+mn-lt"/>
                <a:ea typeface="+mn-ea"/>
                <a:cs typeface="+mn-cs"/>
              </a:rPr>
              <a:t>Number of illustrations?</a:t>
            </a:r>
          </a:p>
          <a:p>
            <a:pPr lvl="0"/>
            <a:r>
              <a:rPr lang="en-GB" sz="1200" kern="1200" dirty="0">
                <a:solidFill>
                  <a:schemeClr val="tx1"/>
                </a:solidFill>
                <a:effectLst/>
                <a:latin typeface="+mn-lt"/>
                <a:ea typeface="+mn-ea"/>
                <a:cs typeface="+mn-cs"/>
              </a:rPr>
              <a:t>Referencing style?</a:t>
            </a:r>
          </a:p>
          <a:p>
            <a:pPr lvl="0"/>
            <a:r>
              <a:rPr lang="en-GB" sz="1200" kern="1200" dirty="0">
                <a:solidFill>
                  <a:schemeClr val="tx1"/>
                </a:solidFill>
                <a:effectLst/>
                <a:latin typeface="+mn-lt"/>
                <a:ea typeface="+mn-ea"/>
                <a:cs typeface="+mn-cs"/>
              </a:rPr>
              <a:t>Sub-division and headings? </a:t>
            </a:r>
          </a:p>
          <a:p>
            <a:endParaRPr lang="en-GB" dirty="0"/>
          </a:p>
          <a:p>
            <a:endParaRPr lang="en-GB" dirty="0"/>
          </a:p>
        </p:txBody>
      </p:sp>
      <p:sp>
        <p:nvSpPr>
          <p:cNvPr id="4" name="Slide Number Placeholder 3"/>
          <p:cNvSpPr>
            <a:spLocks noGrp="1"/>
          </p:cNvSpPr>
          <p:nvPr>
            <p:ph type="sldNum" sz="quarter" idx="5"/>
          </p:nvPr>
        </p:nvSpPr>
        <p:spPr/>
        <p:txBody>
          <a:bodyPr/>
          <a:lstStyle/>
          <a:p>
            <a:fld id="{6360EEE9-74F8-443E-B943-248CC45FAD3C}" type="slidenum">
              <a:rPr lang="en-NL" smtClean="0"/>
              <a:t>13</a:t>
            </a:fld>
            <a:endParaRPr lang="en-NL"/>
          </a:p>
        </p:txBody>
      </p:sp>
    </p:spTree>
    <p:extLst>
      <p:ext uri="{BB962C8B-B14F-4D97-AF65-F5344CB8AC3E}">
        <p14:creationId xmlns:p14="http://schemas.microsoft.com/office/powerpoint/2010/main" val="4349923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3AADCB-36EF-5D1C-9402-D426307B985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4C780A1-9FE2-F53A-A19A-57A5E4457329}"/>
              </a:ext>
            </a:extLst>
          </p:cNvPr>
          <p:cNvSpPr>
            <a:spLocks noGrp="1" noRot="1" noChangeAspect="1"/>
          </p:cNvSpPr>
          <p:nvPr>
            <p:ph type="sldImg"/>
          </p:nvPr>
        </p:nvSpPr>
        <p:spPr/>
        <p:txBody>
          <a:bodyPr/>
          <a:lstStyle/>
          <a:p>
            <a:endParaRPr lang="en-GB" dirty="0"/>
          </a:p>
        </p:txBody>
      </p:sp>
      <p:sp>
        <p:nvSpPr>
          <p:cNvPr id="3" name="Notes Placeholder 2">
            <a:extLst>
              <a:ext uri="{FF2B5EF4-FFF2-40B4-BE49-F238E27FC236}">
                <a16:creationId xmlns:a16="http://schemas.microsoft.com/office/drawing/2014/main" id="{7649D089-6D10-6A91-F8A8-13C23E7CAA6E}"/>
              </a:ext>
            </a:extLst>
          </p:cNvPr>
          <p:cNvSpPr>
            <a:spLocks noGrp="1"/>
          </p:cNvSpPr>
          <p:nvPr>
            <p:ph type="body" idx="1"/>
          </p:nvPr>
        </p:nvSpPr>
        <p:spPr/>
        <p:txBody>
          <a:bodyPr/>
          <a:lstStyle/>
          <a:p>
            <a:pPr marL="171450" indent="-171450">
              <a:buFontTx/>
              <a:buChar char="-"/>
            </a:pPr>
            <a:r>
              <a:rPr lang="en-GB" baseline="0" dirty="0"/>
              <a:t>Take notes from Pune (sections 3 &amp; 4) </a:t>
            </a:r>
          </a:p>
        </p:txBody>
      </p:sp>
      <p:sp>
        <p:nvSpPr>
          <p:cNvPr id="4" name="Slide Number Placeholder 3">
            <a:extLst>
              <a:ext uri="{FF2B5EF4-FFF2-40B4-BE49-F238E27FC236}">
                <a16:creationId xmlns:a16="http://schemas.microsoft.com/office/drawing/2014/main" id="{20CE89D1-E488-4A3F-F757-232F97AC2A7D}"/>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C755C2-B58D-463F-9666-3FDCBEFAFBDD}" type="slidenum">
              <a:rPr kumimoji="0" lang="en-GB" sz="1800" b="0" i="0" u="none" strike="noStrike" kern="0" cap="none" spc="0" normalizeH="0" baseline="0" noProof="0" smtClean="0">
                <a:ln>
                  <a:noFill/>
                </a:ln>
                <a:solidFill>
                  <a:sysClr val="windowText" lastClr="000000"/>
                </a:solidFill>
                <a:effectLst/>
                <a:uLnTx/>
                <a:uFillTx/>
                <a:latin typeface="Times New Roman"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800" b="0" i="0" u="none" strike="noStrike" kern="0" cap="none" spc="0" normalizeH="0" baseline="0" noProof="0" dirty="0">
              <a:ln>
                <a:noFill/>
              </a:ln>
              <a:solidFill>
                <a:sysClr val="windowText" lastClr="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10059115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FFABBD-CBE6-D809-8FC6-AADD3B90C8B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AA81BA3-DD50-CB25-969A-F6E14451D4F6}"/>
              </a:ext>
            </a:extLst>
          </p:cNvPr>
          <p:cNvSpPr>
            <a:spLocks noGrp="1" noRot="1" noChangeAspect="1"/>
          </p:cNvSpPr>
          <p:nvPr>
            <p:ph type="sldImg"/>
          </p:nvPr>
        </p:nvSpPr>
        <p:spPr/>
        <p:txBody>
          <a:bodyPr/>
          <a:lstStyle/>
          <a:p>
            <a:endParaRPr lang="en-GB" dirty="0"/>
          </a:p>
        </p:txBody>
      </p:sp>
      <p:sp>
        <p:nvSpPr>
          <p:cNvPr id="3" name="Notes Placeholder 2">
            <a:extLst>
              <a:ext uri="{FF2B5EF4-FFF2-40B4-BE49-F238E27FC236}">
                <a16:creationId xmlns:a16="http://schemas.microsoft.com/office/drawing/2014/main" id="{AED9649E-3210-F18F-5D68-169074DD01F5}"/>
              </a:ext>
            </a:extLst>
          </p:cNvPr>
          <p:cNvSpPr>
            <a:spLocks noGrp="1"/>
          </p:cNvSpPr>
          <p:nvPr>
            <p:ph type="body" idx="1"/>
          </p:nvPr>
        </p:nvSpPr>
        <p:spPr/>
        <p:txBody>
          <a:bodyPr/>
          <a:lstStyle/>
          <a:p>
            <a:endParaRPr lang="en-GB" dirty="0"/>
          </a:p>
          <a:p>
            <a:endParaRPr lang="en-GB" dirty="0"/>
          </a:p>
          <a:p>
            <a:pPr lvl="1"/>
            <a:r>
              <a:rPr lang="en-GB" dirty="0"/>
              <a:t>3) </a:t>
            </a:r>
            <a:r>
              <a:rPr lang="en-GB" sz="1200" b="1" kern="1200" dirty="0">
                <a:solidFill>
                  <a:schemeClr val="tx1"/>
                </a:solidFill>
                <a:effectLst/>
                <a:latin typeface="+mn-lt"/>
                <a:ea typeface="+mn-ea"/>
                <a:cs typeface="+mn-cs"/>
              </a:rPr>
              <a:t>Common structure:</a:t>
            </a:r>
            <a:endParaRPr lang="en-GB" sz="1200" kern="1200" dirty="0">
              <a:solidFill>
                <a:schemeClr val="tx1"/>
              </a:solidFill>
              <a:effectLst/>
              <a:latin typeface="+mn-lt"/>
              <a:ea typeface="+mn-ea"/>
              <a:cs typeface="+mn-cs"/>
            </a:endParaRPr>
          </a:p>
          <a:p>
            <a:pPr lvl="1"/>
            <a:r>
              <a:rPr lang="en-GB" sz="1200" kern="1200" dirty="0">
                <a:solidFill>
                  <a:schemeClr val="tx1"/>
                </a:solidFill>
                <a:effectLst/>
                <a:latin typeface="+mn-lt"/>
                <a:ea typeface="+mn-ea"/>
                <a:cs typeface="+mn-cs"/>
              </a:rPr>
              <a:t>Some journals are specific about the number of headers, whether sub-headers can be used, and even the wording used; others are not.</a:t>
            </a:r>
          </a:p>
          <a:p>
            <a:pPr lvl="1"/>
            <a:r>
              <a:rPr lang="en-GB" sz="1200" kern="1200" dirty="0">
                <a:solidFill>
                  <a:schemeClr val="tx1"/>
                </a:solidFill>
                <a:effectLst/>
                <a:latin typeface="+mn-lt"/>
                <a:ea typeface="+mn-ea"/>
                <a:cs typeface="+mn-cs"/>
              </a:rPr>
              <a:t>If in doubt, check the guide and review recently published articles.</a:t>
            </a:r>
          </a:p>
          <a:p>
            <a:pPr lvl="1"/>
            <a:r>
              <a:rPr lang="en-GB" sz="1200" kern="1200" dirty="0">
                <a:solidFill>
                  <a:schemeClr val="tx1"/>
                </a:solidFill>
                <a:effectLst/>
                <a:latin typeface="+mn-lt"/>
                <a:ea typeface="+mn-ea"/>
                <a:cs typeface="+mn-cs"/>
              </a:rPr>
              <a:t>Use the structure here as a guide</a:t>
            </a:r>
          </a:p>
          <a:p>
            <a:endParaRPr lang="en-GB" dirty="0"/>
          </a:p>
        </p:txBody>
      </p:sp>
      <p:sp>
        <p:nvSpPr>
          <p:cNvPr id="4" name="Slide Number Placeholder 3">
            <a:extLst>
              <a:ext uri="{FF2B5EF4-FFF2-40B4-BE49-F238E27FC236}">
                <a16:creationId xmlns:a16="http://schemas.microsoft.com/office/drawing/2014/main" id="{C5A9E9C3-6D78-F79A-27F8-881730A93246}"/>
              </a:ext>
            </a:extLst>
          </p:cNvPr>
          <p:cNvSpPr>
            <a:spLocks noGrp="1"/>
          </p:cNvSpPr>
          <p:nvPr>
            <p:ph type="sldNum" sz="quarter" idx="5"/>
          </p:nvPr>
        </p:nvSpPr>
        <p:spPr/>
        <p:txBody>
          <a:bodyPr/>
          <a:lstStyle/>
          <a:p>
            <a:fld id="{6360EEE9-74F8-443E-B943-248CC45FAD3C}" type="slidenum">
              <a:rPr lang="en-NL" smtClean="0"/>
              <a:t>15</a:t>
            </a:fld>
            <a:endParaRPr lang="en-NL"/>
          </a:p>
        </p:txBody>
      </p:sp>
    </p:spTree>
    <p:extLst>
      <p:ext uri="{BB962C8B-B14F-4D97-AF65-F5344CB8AC3E}">
        <p14:creationId xmlns:p14="http://schemas.microsoft.com/office/powerpoint/2010/main" val="28579413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GB" sz="1200" b="1" kern="1200" dirty="0">
                <a:solidFill>
                  <a:schemeClr val="tx1"/>
                </a:solidFill>
                <a:effectLst/>
                <a:latin typeface="+mn-lt"/>
                <a:ea typeface="+mn-ea"/>
                <a:cs typeface="+mn-cs"/>
              </a:rPr>
              <a:t>Abstract</a:t>
            </a:r>
            <a:endParaRPr lang="en-GB" sz="1200" kern="1200" dirty="0">
              <a:solidFill>
                <a:schemeClr val="tx1"/>
              </a:solidFill>
              <a:effectLst/>
              <a:latin typeface="+mn-lt"/>
              <a:ea typeface="+mn-ea"/>
              <a:cs typeface="+mn-cs"/>
            </a:endParaRPr>
          </a:p>
          <a:p>
            <a:pPr lvl="1"/>
            <a:r>
              <a:rPr lang="en-GB" sz="1200" kern="1200" dirty="0">
                <a:solidFill>
                  <a:schemeClr val="tx1"/>
                </a:solidFill>
                <a:effectLst/>
                <a:latin typeface="+mn-lt"/>
                <a:ea typeface="+mn-ea"/>
                <a:cs typeface="+mn-cs"/>
              </a:rPr>
              <a:t>Accessible to non-specialists </a:t>
            </a:r>
          </a:p>
          <a:p>
            <a:pPr lvl="1"/>
            <a:r>
              <a:rPr lang="en-GB" sz="1200" kern="1200" dirty="0">
                <a:solidFill>
                  <a:schemeClr val="tx1"/>
                </a:solidFill>
                <a:effectLst/>
                <a:latin typeface="+mn-lt"/>
                <a:ea typeface="+mn-ea"/>
                <a:cs typeface="+mn-cs"/>
              </a:rPr>
              <a:t>International readership </a:t>
            </a:r>
          </a:p>
          <a:p>
            <a:pPr lvl="2"/>
            <a:r>
              <a:rPr lang="en-GB" sz="1200" kern="1200" dirty="0">
                <a:solidFill>
                  <a:schemeClr val="tx1"/>
                </a:solidFill>
                <a:effectLst/>
                <a:latin typeface="+mn-lt"/>
                <a:ea typeface="+mn-ea"/>
                <a:cs typeface="+mn-cs"/>
              </a:rPr>
              <a:t>Consider the scope and readership of the journal before crafting this</a:t>
            </a:r>
          </a:p>
          <a:p>
            <a:pPr lvl="1"/>
            <a:r>
              <a:rPr lang="en-GB" sz="1200" kern="1200" dirty="0">
                <a:solidFill>
                  <a:schemeClr val="tx1"/>
                </a:solidFill>
                <a:effectLst/>
                <a:latin typeface="+mn-lt"/>
                <a:ea typeface="+mn-ea"/>
                <a:cs typeface="+mn-cs"/>
              </a:rPr>
              <a:t>Separate to Introduction </a:t>
            </a:r>
          </a:p>
          <a:p>
            <a:pPr lvl="2"/>
            <a:r>
              <a:rPr lang="en-GB" sz="1200" kern="1200" dirty="0">
                <a:solidFill>
                  <a:schemeClr val="tx1"/>
                </a:solidFill>
                <a:effectLst/>
                <a:latin typeface="+mn-lt"/>
                <a:ea typeface="+mn-ea"/>
                <a:cs typeface="+mn-cs"/>
              </a:rPr>
              <a:t> Overall summary of the article</a:t>
            </a:r>
          </a:p>
          <a:p>
            <a:pPr lvl="2"/>
            <a:r>
              <a:rPr lang="en-GB" sz="1200" kern="1200" dirty="0">
                <a:solidFill>
                  <a:schemeClr val="tx1"/>
                </a:solidFill>
                <a:effectLst/>
                <a:latin typeface="+mn-lt"/>
                <a:ea typeface="+mn-ea"/>
                <a:cs typeface="+mn-cs"/>
              </a:rPr>
              <a:t>Not the same as the introduction</a:t>
            </a:r>
          </a:p>
          <a:p>
            <a:pPr lvl="3"/>
            <a:r>
              <a:rPr lang="en-GB" sz="1200" kern="1200" dirty="0">
                <a:solidFill>
                  <a:schemeClr val="tx1"/>
                </a:solidFill>
                <a:effectLst/>
                <a:latin typeface="+mn-lt"/>
                <a:ea typeface="+mn-ea"/>
                <a:cs typeface="+mn-cs"/>
              </a:rPr>
              <a:t> Should include methods, and results/Conclusion </a:t>
            </a:r>
          </a:p>
          <a:p>
            <a:r>
              <a:rPr lang="en-GB" sz="1200" b="1" kern="1200" dirty="0">
                <a:solidFill>
                  <a:schemeClr val="tx1"/>
                </a:solidFill>
                <a:effectLst/>
                <a:latin typeface="+mn-lt"/>
                <a:ea typeface="+mn-ea"/>
                <a:cs typeface="+mn-cs"/>
              </a:rPr>
              <a:t> </a:t>
            </a:r>
            <a:endParaRPr lang="en-GB" sz="1200" kern="1200" dirty="0">
              <a:solidFill>
                <a:schemeClr val="tx1"/>
              </a:solidFill>
              <a:effectLst/>
              <a:latin typeface="+mn-lt"/>
              <a:ea typeface="+mn-ea"/>
              <a:cs typeface="+mn-cs"/>
            </a:endParaRPr>
          </a:p>
          <a:p>
            <a:pPr lvl="0"/>
            <a:r>
              <a:rPr lang="en-GB" sz="1200" b="1" kern="1200" dirty="0">
                <a:solidFill>
                  <a:schemeClr val="tx1"/>
                </a:solidFill>
                <a:effectLst/>
                <a:latin typeface="+mn-lt"/>
                <a:ea typeface="+mn-ea"/>
                <a:cs typeface="+mn-cs"/>
              </a:rPr>
              <a:t>Lit Review section </a:t>
            </a:r>
            <a:endParaRPr lang="en-GB" sz="1200" kern="1200" dirty="0">
              <a:solidFill>
                <a:schemeClr val="tx1"/>
              </a:solidFill>
              <a:effectLst/>
              <a:latin typeface="+mn-lt"/>
              <a:ea typeface="+mn-ea"/>
              <a:cs typeface="+mn-cs"/>
            </a:endParaRPr>
          </a:p>
          <a:p>
            <a:r>
              <a:rPr lang="en-GB" sz="1200" b="1" kern="1200" dirty="0">
                <a:solidFill>
                  <a:schemeClr val="tx1"/>
                </a:solidFill>
                <a:effectLst/>
                <a:latin typeface="+mn-lt"/>
                <a:ea typeface="+mn-ea"/>
                <a:cs typeface="+mn-cs"/>
              </a:rPr>
              <a:t> </a:t>
            </a:r>
            <a:endParaRPr lang="en-GB" sz="1200" kern="1200" dirty="0">
              <a:solidFill>
                <a:schemeClr val="tx1"/>
              </a:solidFill>
              <a:effectLst/>
              <a:latin typeface="+mn-lt"/>
              <a:ea typeface="+mn-ea"/>
              <a:cs typeface="+mn-cs"/>
            </a:endParaRPr>
          </a:p>
          <a:p>
            <a:pPr lvl="1"/>
            <a:r>
              <a:rPr lang="en-GB" sz="1200" kern="1200" dirty="0">
                <a:solidFill>
                  <a:schemeClr val="tx1"/>
                </a:solidFill>
                <a:effectLst/>
                <a:latin typeface="+mn-lt"/>
                <a:ea typeface="+mn-ea"/>
                <a:cs typeface="+mn-cs"/>
              </a:rPr>
              <a:t>Summarise past research on the topic and relevant adjacent topics </a:t>
            </a:r>
          </a:p>
          <a:p>
            <a:pPr lvl="1"/>
            <a:r>
              <a:rPr lang="en-GB" sz="1200" kern="1200" dirty="0">
                <a:solidFill>
                  <a:schemeClr val="tx1"/>
                </a:solidFill>
                <a:effectLst/>
                <a:latin typeface="+mn-lt"/>
                <a:ea typeface="+mn-ea"/>
                <a:cs typeface="+mn-cs"/>
              </a:rPr>
              <a:t>Use own words</a:t>
            </a:r>
          </a:p>
          <a:p>
            <a:pPr lvl="1"/>
            <a:r>
              <a:rPr lang="en-GB" sz="1200" b="1" kern="1200" dirty="0">
                <a:solidFill>
                  <a:schemeClr val="tx1"/>
                </a:solidFill>
                <a:effectLst/>
                <a:latin typeface="+mn-lt"/>
                <a:ea typeface="+mn-ea"/>
                <a:cs typeface="+mn-cs"/>
              </a:rPr>
              <a:t>Cite well (inc. page numbers)</a:t>
            </a:r>
            <a:endParaRPr lang="en-GB"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6360EEE9-74F8-443E-B943-248CC45FAD3C}" type="slidenum">
              <a:rPr lang="en-NL" smtClean="0"/>
              <a:t>16</a:t>
            </a:fld>
            <a:endParaRPr lang="en-NL"/>
          </a:p>
        </p:txBody>
      </p:sp>
    </p:spTree>
    <p:extLst>
      <p:ext uri="{BB962C8B-B14F-4D97-AF65-F5344CB8AC3E}">
        <p14:creationId xmlns:p14="http://schemas.microsoft.com/office/powerpoint/2010/main" val="12741436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dirty="0"/>
          </a:p>
        </p:txBody>
      </p:sp>
      <p:sp>
        <p:nvSpPr>
          <p:cNvPr id="3" name="Notes Placeholder 2"/>
          <p:cNvSpPr>
            <a:spLocks noGrp="1"/>
          </p:cNvSpPr>
          <p:nvPr>
            <p:ph type="body" idx="1"/>
          </p:nvPr>
        </p:nvSpPr>
        <p:spPr/>
        <p:txBody>
          <a:bodyPr/>
          <a:lstStyle/>
          <a:p>
            <a:pPr lvl="0"/>
            <a:r>
              <a:rPr lang="en-GB" sz="1200" b="1" kern="1200" dirty="0">
                <a:solidFill>
                  <a:schemeClr val="tx1"/>
                </a:solidFill>
                <a:effectLst/>
                <a:latin typeface="+mn-lt"/>
                <a:ea typeface="+mn-ea"/>
                <a:cs typeface="+mn-cs"/>
              </a:rPr>
              <a:t>Methods section </a:t>
            </a:r>
            <a:endParaRPr lang="en-GB" sz="1200" kern="1200" dirty="0">
              <a:solidFill>
                <a:schemeClr val="tx1"/>
              </a:solidFill>
              <a:effectLst/>
              <a:latin typeface="+mn-lt"/>
              <a:ea typeface="+mn-ea"/>
              <a:cs typeface="+mn-cs"/>
            </a:endParaRPr>
          </a:p>
          <a:p>
            <a:pPr lvl="1"/>
            <a:r>
              <a:rPr lang="en-GB" sz="1200" kern="1200" dirty="0">
                <a:solidFill>
                  <a:schemeClr val="tx1"/>
                </a:solidFill>
                <a:effectLst/>
                <a:latin typeface="+mn-lt"/>
                <a:ea typeface="+mn-ea"/>
                <a:cs typeface="+mn-cs"/>
              </a:rPr>
              <a:t> Needs to be detailed</a:t>
            </a:r>
          </a:p>
          <a:p>
            <a:pPr lvl="1"/>
            <a:r>
              <a:rPr lang="en-GB" sz="1200" kern="1200" dirty="0">
                <a:solidFill>
                  <a:schemeClr val="tx1"/>
                </a:solidFill>
                <a:effectLst/>
                <a:latin typeface="+mn-lt"/>
                <a:ea typeface="+mn-ea"/>
                <a:cs typeface="+mn-cs"/>
              </a:rPr>
              <a:t>Research should be replicable </a:t>
            </a:r>
          </a:p>
          <a:p>
            <a:r>
              <a:rPr lang="en-GB" sz="1200" kern="1200" dirty="0">
                <a:solidFill>
                  <a:schemeClr val="tx1"/>
                </a:solidFill>
                <a:effectLst/>
                <a:latin typeface="+mn-lt"/>
                <a:ea typeface="+mn-ea"/>
                <a:cs typeface="+mn-cs"/>
              </a:rPr>
              <a:t> </a:t>
            </a:r>
          </a:p>
          <a:p>
            <a:pPr lvl="0"/>
            <a:r>
              <a:rPr lang="en-GB" sz="1200" b="1" kern="1200" dirty="0">
                <a:solidFill>
                  <a:schemeClr val="tx1"/>
                </a:solidFill>
                <a:effectLst/>
                <a:latin typeface="+mn-lt"/>
                <a:ea typeface="+mn-ea"/>
                <a:cs typeface="+mn-cs"/>
              </a:rPr>
              <a:t>Research aims and questions </a:t>
            </a:r>
            <a:endParaRPr lang="en-GB" sz="1200" kern="1200" dirty="0">
              <a:solidFill>
                <a:schemeClr val="tx1"/>
              </a:solidFill>
              <a:effectLst/>
              <a:latin typeface="+mn-lt"/>
              <a:ea typeface="+mn-ea"/>
              <a:cs typeface="+mn-cs"/>
            </a:endParaRPr>
          </a:p>
          <a:p>
            <a:pPr lvl="1"/>
            <a:r>
              <a:rPr lang="en-GB" sz="1200" kern="1200" dirty="0">
                <a:solidFill>
                  <a:schemeClr val="tx1"/>
                </a:solidFill>
                <a:effectLst/>
                <a:latin typeface="+mn-lt"/>
                <a:ea typeface="+mn-ea"/>
                <a:cs typeface="+mn-cs"/>
              </a:rPr>
              <a:t>Likewise these must be:</a:t>
            </a:r>
          </a:p>
          <a:p>
            <a:pPr lvl="2"/>
            <a:r>
              <a:rPr lang="en-GB" sz="1200" kern="1200" dirty="0">
                <a:solidFill>
                  <a:schemeClr val="tx1"/>
                </a:solidFill>
                <a:effectLst/>
                <a:latin typeface="+mn-lt"/>
                <a:ea typeface="+mn-ea"/>
                <a:cs typeface="+mn-cs"/>
              </a:rPr>
              <a:t>Clear </a:t>
            </a:r>
          </a:p>
          <a:p>
            <a:pPr lvl="2"/>
            <a:r>
              <a:rPr lang="en-GB" sz="1200" kern="1200" dirty="0">
                <a:solidFill>
                  <a:schemeClr val="tx1"/>
                </a:solidFill>
                <a:effectLst/>
                <a:latin typeface="+mn-lt"/>
                <a:ea typeface="+mn-ea"/>
                <a:cs typeface="+mn-cs"/>
              </a:rPr>
              <a:t>Mentioned in the introduction</a:t>
            </a:r>
          </a:p>
          <a:p>
            <a:pPr lvl="2"/>
            <a:r>
              <a:rPr lang="en-GB" sz="1200" kern="1200" dirty="0">
                <a:solidFill>
                  <a:schemeClr val="tx1"/>
                </a:solidFill>
                <a:effectLst/>
                <a:latin typeface="+mn-lt"/>
                <a:ea typeface="+mn-ea"/>
                <a:cs typeface="+mn-cs"/>
              </a:rPr>
              <a:t>Detail them in the methods and address the money one in the discussion</a:t>
            </a:r>
          </a:p>
          <a:p>
            <a:endParaRPr lang="LID4096"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43C7B-F938-4CE9-A268-32817172635B}"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59232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txBody>
          <a:bodyPr/>
          <a:lstStyle/>
          <a:p>
            <a:endParaRPr lang="en-GB" dirty="0"/>
          </a:p>
        </p:txBody>
      </p:sp>
      <p:sp>
        <p:nvSpPr>
          <p:cNvPr id="3" name="Tijdelijke aanduiding voor notities 2"/>
          <p:cNvSpPr>
            <a:spLocks noGrp="1"/>
          </p:cNvSpPr>
          <p:nvPr>
            <p:ph type="body" idx="1"/>
          </p:nvPr>
        </p:nvSpPr>
        <p:spPr/>
        <p:txBody>
          <a:bodyPr/>
          <a:lstStyle/>
          <a:p>
            <a:pPr eaLnBrk="1" hangingPunct="1">
              <a:buFont typeface="Wingdings" pitchFamily="2" charset="2"/>
              <a:buChar char="Ø"/>
            </a:pPr>
            <a:r>
              <a:rPr lang="en-US" dirty="0"/>
              <a:t>You</a:t>
            </a:r>
            <a:r>
              <a:rPr lang="en-US" baseline="0" dirty="0"/>
              <a:t> are in the center, but make sure the manuscript is not only written for you, but for the reader, the publisher and the Reviewers</a:t>
            </a:r>
          </a:p>
          <a:p>
            <a:r>
              <a:rPr lang="en-GB" sz="1200" b="1" kern="1200" dirty="0">
                <a:solidFill>
                  <a:schemeClr val="tx1"/>
                </a:solidFill>
                <a:effectLst/>
                <a:latin typeface="+mn-lt"/>
                <a:ea typeface="+mn-ea"/>
                <a:cs typeface="+mn-cs"/>
              </a:rPr>
              <a:t>Sentences </a:t>
            </a:r>
            <a:endParaRPr lang="en-GB" sz="1200" kern="1200" dirty="0">
              <a:solidFill>
                <a:schemeClr val="tx1"/>
              </a:solidFill>
              <a:effectLst/>
              <a:latin typeface="+mn-lt"/>
              <a:ea typeface="+mn-ea"/>
              <a:cs typeface="+mn-cs"/>
            </a:endParaRPr>
          </a:p>
          <a:p>
            <a:pPr lvl="1"/>
            <a:r>
              <a:rPr lang="en-GB" sz="1200" kern="1200" dirty="0">
                <a:solidFill>
                  <a:schemeClr val="tx1"/>
                </a:solidFill>
                <a:effectLst/>
                <a:latin typeface="+mn-lt"/>
                <a:ea typeface="+mn-ea"/>
                <a:cs typeface="+mn-cs"/>
              </a:rPr>
              <a:t>Write short, direct, factual sentences </a:t>
            </a:r>
          </a:p>
          <a:p>
            <a:pPr lvl="1"/>
            <a:r>
              <a:rPr lang="en-GB" sz="1200" kern="1200" dirty="0">
                <a:solidFill>
                  <a:schemeClr val="tx1"/>
                </a:solidFill>
                <a:effectLst/>
                <a:latin typeface="+mn-lt"/>
                <a:ea typeface="+mn-ea"/>
                <a:cs typeface="+mn-cs"/>
              </a:rPr>
              <a:t>Keep abbreviations to a minimum- hard t oread </a:t>
            </a:r>
          </a:p>
          <a:p>
            <a:r>
              <a:rPr lang="en-GB" sz="1200" kern="1200" dirty="0">
                <a:solidFill>
                  <a:schemeClr val="tx1"/>
                </a:solidFill>
                <a:effectLst/>
                <a:latin typeface="+mn-lt"/>
                <a:ea typeface="+mn-ea"/>
                <a:cs typeface="+mn-cs"/>
              </a:rPr>
              <a:t>Use </a:t>
            </a:r>
          </a:p>
          <a:p>
            <a:r>
              <a:rPr lang="en-GB" sz="1200" b="1" kern="1200" dirty="0">
                <a:solidFill>
                  <a:schemeClr val="tx1"/>
                </a:solidFill>
                <a:effectLst/>
                <a:latin typeface="+mn-lt"/>
                <a:ea typeface="+mn-ea"/>
                <a:cs typeface="+mn-cs"/>
              </a:rPr>
              <a:t>Paragraphs </a:t>
            </a:r>
            <a:endParaRPr lang="en-GB" sz="1200" kern="1200" dirty="0">
              <a:solidFill>
                <a:schemeClr val="tx1"/>
              </a:solidFill>
              <a:effectLst/>
              <a:latin typeface="+mn-lt"/>
              <a:ea typeface="+mn-ea"/>
              <a:cs typeface="+mn-cs"/>
            </a:endParaRPr>
          </a:p>
          <a:p>
            <a:pPr lvl="0"/>
            <a:r>
              <a:rPr lang="en-GB" sz="1200" kern="1200" dirty="0">
                <a:solidFill>
                  <a:schemeClr val="tx1"/>
                </a:solidFill>
                <a:effectLst/>
                <a:latin typeface="+mn-lt"/>
                <a:ea typeface="+mn-ea"/>
                <a:cs typeface="+mn-cs"/>
              </a:rPr>
              <a:t>Use full paragraphs, 3-5 sentences per paragraph</a:t>
            </a:r>
          </a:p>
          <a:p>
            <a:pPr lvl="0"/>
            <a:r>
              <a:rPr lang="en-GB" sz="1200" kern="1200" dirty="0">
                <a:solidFill>
                  <a:schemeClr val="tx1"/>
                </a:solidFill>
                <a:effectLst/>
                <a:latin typeface="+mn-lt"/>
                <a:ea typeface="+mn-ea"/>
                <a:cs typeface="+mn-cs"/>
              </a:rPr>
              <a:t>Beginning, middle and end </a:t>
            </a:r>
          </a:p>
          <a:p>
            <a:pPr lvl="0"/>
            <a:r>
              <a:rPr lang="en-GB" sz="1200" kern="1200" dirty="0">
                <a:solidFill>
                  <a:schemeClr val="tx1"/>
                </a:solidFill>
                <a:effectLst/>
                <a:latin typeface="+mn-lt"/>
                <a:ea typeface="+mn-ea"/>
                <a:cs typeface="+mn-cs"/>
              </a:rPr>
              <a:t>One point per paragraph </a:t>
            </a:r>
          </a:p>
          <a:p>
            <a:r>
              <a:rPr lang="en-GB" sz="1200" b="1" kern="1200" dirty="0">
                <a:solidFill>
                  <a:schemeClr val="tx1"/>
                </a:solidFill>
                <a:effectLst/>
                <a:latin typeface="+mn-lt"/>
                <a:ea typeface="+mn-ea"/>
                <a:cs typeface="+mn-cs"/>
              </a:rPr>
              <a:t>Proof! </a:t>
            </a:r>
            <a:endParaRPr lang="en-GB" sz="1200" kern="1200" dirty="0">
              <a:solidFill>
                <a:schemeClr val="tx1"/>
              </a:solidFill>
              <a:effectLst/>
              <a:latin typeface="+mn-lt"/>
              <a:ea typeface="+mn-ea"/>
              <a:cs typeface="+mn-cs"/>
            </a:endParaRPr>
          </a:p>
          <a:p>
            <a:pPr lvl="0"/>
            <a:r>
              <a:rPr lang="en-GB" sz="1200" kern="1200" dirty="0">
                <a:solidFill>
                  <a:schemeClr val="tx1"/>
                </a:solidFill>
                <a:effectLst/>
                <a:latin typeface="+mn-lt"/>
                <a:ea typeface="+mn-ea"/>
                <a:cs typeface="+mn-cs"/>
              </a:rPr>
              <a:t>Proof read, all including the references, the citations and captions for the illustrations </a:t>
            </a:r>
          </a:p>
          <a:p>
            <a:pPr eaLnBrk="1" hangingPunct="1">
              <a:buFont typeface="Wingdings" pitchFamily="2" charset="2"/>
              <a:buChar char="Ø"/>
            </a:pPr>
            <a:endParaRPr lang="en-US" dirty="0"/>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8B5E41-5FC2-49C5-ADA1-A458E21D9A4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381134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4682D8-7175-AE6F-3148-8CD2856950A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ABB2336-A58F-E9DE-7360-B955254F69BE}"/>
              </a:ext>
            </a:extLst>
          </p:cNvPr>
          <p:cNvSpPr>
            <a:spLocks noGrp="1" noRot="1" noChangeAspect="1"/>
          </p:cNvSpPr>
          <p:nvPr>
            <p:ph type="sldImg"/>
          </p:nvPr>
        </p:nvSpPr>
        <p:spPr/>
        <p:txBody>
          <a:bodyPr/>
          <a:lstStyle/>
          <a:p>
            <a:endParaRPr lang="en-GB" dirty="0"/>
          </a:p>
        </p:txBody>
      </p:sp>
      <p:sp>
        <p:nvSpPr>
          <p:cNvPr id="3" name="Notes Placeholder 2">
            <a:extLst>
              <a:ext uri="{FF2B5EF4-FFF2-40B4-BE49-F238E27FC236}">
                <a16:creationId xmlns:a16="http://schemas.microsoft.com/office/drawing/2014/main" id="{68091C5B-F6B3-16EE-52D0-11D0C949F0B0}"/>
              </a:ext>
            </a:extLst>
          </p:cNvPr>
          <p:cNvSpPr>
            <a:spLocks noGrp="1"/>
          </p:cNvSpPr>
          <p:nvPr>
            <p:ph type="body" idx="1"/>
          </p:nvPr>
        </p:nvSpPr>
        <p:spPr/>
        <p:txBody>
          <a:bodyPr/>
          <a:lstStyle/>
          <a:p>
            <a:r>
              <a:rPr lang="en-GB" dirty="0"/>
              <a:t>Anyone can make a free account. There are various modules and standalone trainings on all aspects of academic research ,writing and publishing </a:t>
            </a:r>
          </a:p>
          <a:p>
            <a:endParaRPr lang="LID4096" dirty="0"/>
          </a:p>
        </p:txBody>
      </p:sp>
      <p:sp>
        <p:nvSpPr>
          <p:cNvPr id="4" name="Slide Number Placeholder 3">
            <a:extLst>
              <a:ext uri="{FF2B5EF4-FFF2-40B4-BE49-F238E27FC236}">
                <a16:creationId xmlns:a16="http://schemas.microsoft.com/office/drawing/2014/main" id="{6D2B8B43-856C-E648-8224-9FB9051E42C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43C7B-F938-4CE9-A268-32817172635B}"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96348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txBody>
          <a:bodyPr/>
          <a:lstStyle/>
          <a:p>
            <a:endParaRPr lang="en-GB" dirty="0"/>
          </a:p>
        </p:txBody>
      </p:sp>
      <p:sp>
        <p:nvSpPr>
          <p:cNvPr id="3" name="Tijdelijke aanduiding voor notities 2"/>
          <p:cNvSpPr>
            <a:spLocks noGrp="1"/>
          </p:cNvSpPr>
          <p:nvPr>
            <p:ph type="body" idx="1"/>
          </p:nvPr>
        </p:nvSpPr>
        <p:spPr/>
        <p:txBody>
          <a:bodyPr/>
          <a:lstStyle/>
          <a:p>
            <a:pPr lvl="0"/>
            <a:r>
              <a:rPr lang="en-US" sz="1200" kern="1200" dirty="0">
                <a:solidFill>
                  <a:schemeClr val="tx1"/>
                </a:solidFill>
                <a:effectLst/>
                <a:latin typeface="+mn-lt"/>
                <a:ea typeface="+mn-ea"/>
                <a:cs typeface="+mn-cs"/>
              </a:rPr>
              <a:t>A little bit about me</a:t>
            </a:r>
            <a:endParaRPr lang="en-GB"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I am Lucy Bennison-Chapman, I have a PhD archaeology from the Uni of Liverpool, England, UK </a:t>
            </a:r>
            <a:endParaRPr lang="en-GB" sz="12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Worked as a lecturer and researcher at excavations in UK, Middle East, Turkey and the Netherlands, </a:t>
            </a:r>
            <a:endParaRPr lang="en-GB" sz="12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 I have published a number of journal articles and book chapters and as a result of a post-doc in the Netherlands, a book also </a:t>
            </a:r>
            <a:endParaRPr lang="en-GB"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endParaRPr lang="en-GB"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a:t>
            </a:r>
            <a:endParaRPr lang="en-GB" sz="12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I have worked at Elsevier for just over 3 years and I am one of three scientific editors for the journal Social Sciences and Humanities Open, an open access, multi-disciplinary journal </a:t>
            </a:r>
            <a:endParaRPr lang="en-GB" sz="1200" kern="1200" dirty="0">
              <a:solidFill>
                <a:schemeClr val="tx1"/>
              </a:solidFill>
              <a:effectLst/>
              <a:latin typeface="+mn-lt"/>
              <a:ea typeface="+mn-ea"/>
              <a:cs typeface="+mn-cs"/>
            </a:endParaRPr>
          </a:p>
          <a:p>
            <a:endParaRPr lang="en-US"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43C7B-F938-4CE9-A268-32817172635B}"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795956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1C75B3-E92E-7533-706D-5B7599C66F7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DCC416A-BD16-6AB9-8CA0-6202A726A154}"/>
              </a:ext>
            </a:extLst>
          </p:cNvPr>
          <p:cNvSpPr>
            <a:spLocks noGrp="1" noRot="1" noChangeAspect="1"/>
          </p:cNvSpPr>
          <p:nvPr>
            <p:ph type="sldImg"/>
          </p:nvPr>
        </p:nvSpPr>
        <p:spPr/>
        <p:txBody>
          <a:bodyPr/>
          <a:lstStyle/>
          <a:p>
            <a:endParaRPr lang="en-GB" dirty="0"/>
          </a:p>
        </p:txBody>
      </p:sp>
      <p:sp>
        <p:nvSpPr>
          <p:cNvPr id="3" name="Notes Placeholder 2">
            <a:extLst>
              <a:ext uri="{FF2B5EF4-FFF2-40B4-BE49-F238E27FC236}">
                <a16:creationId xmlns:a16="http://schemas.microsoft.com/office/drawing/2014/main" id="{D4322317-C72B-2239-AC0E-9005C8FE5894}"/>
              </a:ext>
            </a:extLst>
          </p:cNvPr>
          <p:cNvSpPr>
            <a:spLocks noGrp="1"/>
          </p:cNvSpPr>
          <p:nvPr>
            <p:ph type="body" idx="1"/>
          </p:nvPr>
        </p:nvSpPr>
        <p:spPr/>
        <p:txBody>
          <a:bodyPr/>
          <a:lstStyle/>
          <a:p>
            <a:pPr marL="171450" indent="-171450">
              <a:buFontTx/>
              <a:buChar char="-"/>
            </a:pPr>
            <a:endParaRPr lang="en-GB" baseline="0" dirty="0"/>
          </a:p>
        </p:txBody>
      </p:sp>
      <p:sp>
        <p:nvSpPr>
          <p:cNvPr id="4" name="Slide Number Placeholder 3">
            <a:extLst>
              <a:ext uri="{FF2B5EF4-FFF2-40B4-BE49-F238E27FC236}">
                <a16:creationId xmlns:a16="http://schemas.microsoft.com/office/drawing/2014/main" id="{EA7652BF-54DE-7165-593A-AE7678B52156}"/>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C755C2-B58D-463F-9666-3FDCBEFAFBDD}" type="slidenum">
              <a:rPr kumimoji="0" lang="en-GB" sz="1800" b="0" i="0" u="none" strike="noStrike" kern="0" cap="none" spc="0" normalizeH="0" baseline="0" noProof="0" smtClean="0">
                <a:ln>
                  <a:noFill/>
                </a:ln>
                <a:solidFill>
                  <a:sysClr val="windowText" lastClr="000000"/>
                </a:solidFill>
                <a:effectLst/>
                <a:uLnTx/>
                <a:uFillTx/>
                <a:latin typeface="Times New Roman"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800" b="0" i="0" u="none" strike="noStrike" kern="0" cap="none" spc="0" normalizeH="0" baseline="0" noProof="0" dirty="0">
              <a:ln>
                <a:noFill/>
              </a:ln>
              <a:solidFill>
                <a:sysClr val="windowText" lastClr="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13456496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dirty="0"/>
          </a:p>
        </p:txBody>
      </p:sp>
      <p:sp>
        <p:nvSpPr>
          <p:cNvPr id="3" name="Notes Placeholder 2"/>
          <p:cNvSpPr>
            <a:spLocks noGrp="1"/>
          </p:cNvSpPr>
          <p:nvPr>
            <p:ph type="body" idx="1"/>
          </p:nvPr>
        </p:nvSpPr>
        <p:spPr/>
        <p:txBody>
          <a:bodyPr/>
          <a:lstStyle/>
          <a:p>
            <a:pPr marL="173736" marR="0" lvl="0" indent="-173736" algn="l" defTabSz="914400" rtl="0" eaLnBrk="1" fontAlgn="auto" latinLnBrk="0" hangingPunct="1">
              <a:lnSpc>
                <a:spcPct val="100000"/>
              </a:lnSpc>
              <a:spcBef>
                <a:spcPts val="0"/>
              </a:spcBef>
              <a:spcAft>
                <a:spcPts val="0"/>
              </a:spcAft>
              <a:buClrTx/>
              <a:buSzPts val="1200"/>
              <a:buFont typeface="Arial" panose="020B0604020202020204" pitchFamily="34" charset="0"/>
              <a:buChar char="•"/>
              <a:tabLst/>
              <a:defRPr/>
            </a:pPr>
            <a:r>
              <a:rPr lang="en-GB" sz="1800" dirty="0"/>
              <a:t>(institutional is preferred and can be updated if you move) </a:t>
            </a:r>
          </a:p>
          <a:p>
            <a:pPr marL="173736" indent="-173736" algn="l" rtl="0" eaLnBrk="1" latinLnBrk="0" hangingPunct="1">
              <a:buClrTx/>
              <a:buSzPts val="1200"/>
              <a:buFont typeface="Arial" panose="020B0604020202020204" pitchFamily="34" charset="0"/>
              <a:buChar char="•"/>
            </a:pPr>
            <a:endParaRPr lang="en-GB" sz="1800" kern="1200" dirty="0">
              <a:solidFill>
                <a:srgbClr val="000000"/>
              </a:solidFill>
              <a:effectLst/>
              <a:latin typeface="Calibri" panose="020F0502020204030204" pitchFamily="34" charset="0"/>
              <a:ea typeface="+mn-ea"/>
              <a:cs typeface="+mn-cs"/>
            </a:endParaRPr>
          </a:p>
          <a:p>
            <a:pPr marL="173736" indent="-173736" algn="l" rtl="0" eaLnBrk="1" latinLnBrk="0" hangingPunct="1">
              <a:buClrTx/>
              <a:buSzPts val="1200"/>
              <a:buFont typeface="Arial" panose="020B0604020202020204" pitchFamily="34" charset="0"/>
              <a:buChar char="•"/>
            </a:pPr>
            <a:endParaRPr lang="en-GB" sz="1800" kern="1200" dirty="0">
              <a:solidFill>
                <a:srgbClr val="000000"/>
              </a:solidFill>
              <a:effectLst/>
              <a:latin typeface="Calibri" panose="020F0502020204030204" pitchFamily="34" charset="0"/>
              <a:ea typeface="+mn-ea"/>
              <a:cs typeface="+mn-cs"/>
            </a:endParaRPr>
          </a:p>
          <a:p>
            <a:pPr marL="173736" indent="-173736" algn="l" rtl="0" eaLnBrk="1" latinLnBrk="0" hangingPunct="1">
              <a:buClrTx/>
              <a:buSzPts val="1200"/>
              <a:buFont typeface="Arial" panose="020B0604020202020204" pitchFamily="34" charset="0"/>
              <a:buChar char="•"/>
            </a:pPr>
            <a:r>
              <a:rPr lang="en-GB" sz="1800" kern="1200" dirty="0">
                <a:solidFill>
                  <a:srgbClr val="000000"/>
                </a:solidFill>
                <a:effectLst/>
                <a:latin typeface="Calibri" panose="020F0502020204030204" pitchFamily="34" charset="0"/>
                <a:ea typeface="+mn-ea"/>
                <a:cs typeface="+mn-cs"/>
              </a:rPr>
              <a:t>Check which files are needed in addition to the manuscript </a:t>
            </a:r>
            <a:endParaRPr lang="en-GB" sz="1800" dirty="0">
              <a:effectLst/>
            </a:endParaRPr>
          </a:p>
          <a:p>
            <a:pPr marL="173736" indent="-173736" algn="l" rtl="0" eaLnBrk="1" latinLnBrk="0" hangingPunct="1"/>
            <a:r>
              <a:rPr lang="en-GB" sz="1800" kern="1200" dirty="0">
                <a:solidFill>
                  <a:srgbClr val="000000"/>
                </a:solidFill>
                <a:effectLst/>
                <a:latin typeface="Calibri" panose="020F0502020204030204" pitchFamily="34" charset="0"/>
                <a:ea typeface="+mn-ea"/>
                <a:cs typeface="+mn-cs"/>
              </a:rPr>
              <a:t>Stick to what is asked for - do not add in Author biographies, photo of the Authors, credit Author statement file if not asked for </a:t>
            </a:r>
            <a:endParaRPr lang="en-GB" dirty="0">
              <a:effectLst/>
            </a:endParaRPr>
          </a:p>
          <a:p>
            <a:pPr marL="173736" indent="-173736" algn="l" rtl="0" eaLnBrk="1" latinLnBrk="0" hangingPunct="1"/>
            <a:r>
              <a:rPr lang="en-GB" sz="1800" kern="1200" dirty="0">
                <a:solidFill>
                  <a:srgbClr val="000000"/>
                </a:solidFill>
                <a:effectLst/>
                <a:latin typeface="Calibri" panose="020F0502020204030204" pitchFamily="34" charset="0"/>
                <a:ea typeface="+mn-ea"/>
                <a:cs typeface="+mn-cs"/>
              </a:rPr>
              <a:t>All journals and publishers have different requirements do not assume that if you have published before, that you simply repeat the same steps in the same format </a:t>
            </a:r>
            <a:endParaRPr lang="en-GB" dirty="0">
              <a:effectLst/>
            </a:endParaRPr>
          </a:p>
          <a:p>
            <a:pPr marL="173736" indent="-173736" algn="l" rtl="0" eaLnBrk="1" latinLnBrk="0" hangingPunct="1"/>
            <a:r>
              <a:rPr lang="en-GB" sz="1800" kern="1200" dirty="0">
                <a:solidFill>
                  <a:srgbClr val="000000"/>
                </a:solidFill>
                <a:effectLst/>
                <a:latin typeface="Calibri" panose="020F0502020204030204" pitchFamily="34" charset="0"/>
                <a:ea typeface="+mn-ea"/>
                <a:cs typeface="+mn-cs"/>
              </a:rPr>
              <a:t>Supplementary material option is for appendices only - </a:t>
            </a:r>
            <a:endParaRPr lang="en-GB" dirty="0">
              <a:effectLst/>
            </a:endParaRPr>
          </a:p>
          <a:p>
            <a:br>
              <a:rPr lang="en-GB" dirty="0"/>
            </a:b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43C7B-F938-4CE9-A268-32817172635B}"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11749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B7E9A2-5C4F-4DA7-3006-6DC7A2AB555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285807F-72E7-89A5-AD6B-9BCE0942A6C4}"/>
              </a:ext>
            </a:extLst>
          </p:cNvPr>
          <p:cNvSpPr>
            <a:spLocks noGrp="1" noRot="1" noChangeAspect="1"/>
          </p:cNvSpPr>
          <p:nvPr>
            <p:ph type="sldImg"/>
          </p:nvPr>
        </p:nvSpPr>
        <p:spPr/>
        <p:txBody>
          <a:bodyPr/>
          <a:lstStyle/>
          <a:p>
            <a:endParaRPr lang="en-GB" dirty="0"/>
          </a:p>
        </p:txBody>
      </p:sp>
      <p:sp>
        <p:nvSpPr>
          <p:cNvPr id="3" name="Notes Placeholder 2">
            <a:extLst>
              <a:ext uri="{FF2B5EF4-FFF2-40B4-BE49-F238E27FC236}">
                <a16:creationId xmlns:a16="http://schemas.microsoft.com/office/drawing/2014/main" id="{837C370F-AD08-EC44-E5F8-A154E7CA4B4A}"/>
              </a:ext>
            </a:extLst>
          </p:cNvPr>
          <p:cNvSpPr>
            <a:spLocks noGrp="1"/>
          </p:cNvSpPr>
          <p:nvPr>
            <p:ph type="body" idx="1"/>
          </p:nvPr>
        </p:nvSpPr>
        <p:spPr/>
        <p:txBody>
          <a:bodyPr/>
          <a:lstStyle/>
          <a:p>
            <a:pPr marL="171450" indent="-171450">
              <a:buFontTx/>
              <a:buChar char="-"/>
            </a:pPr>
            <a:r>
              <a:rPr lang="en-GB" baseline="0" dirty="0"/>
              <a:t>Be sure to cover </a:t>
            </a:r>
          </a:p>
          <a:p>
            <a:pPr lvl="1"/>
            <a:r>
              <a:rPr lang="en-GB" sz="1200" kern="1200" dirty="0">
                <a:solidFill>
                  <a:schemeClr val="tx1"/>
                </a:solidFill>
                <a:effectLst/>
                <a:latin typeface="+mn-lt"/>
                <a:ea typeface="+mn-ea"/>
                <a:cs typeface="+mn-cs"/>
              </a:rPr>
              <a:t>Bad choice of title </a:t>
            </a:r>
          </a:p>
          <a:p>
            <a:pPr lvl="1"/>
            <a:r>
              <a:rPr lang="en-GB" sz="1200" kern="1200" dirty="0">
                <a:solidFill>
                  <a:schemeClr val="tx1"/>
                </a:solidFill>
                <a:effectLst/>
                <a:latin typeface="+mn-lt"/>
                <a:ea typeface="+mn-ea"/>
                <a:cs typeface="+mn-cs"/>
              </a:rPr>
              <a:t>Inappropriate keywords </a:t>
            </a:r>
          </a:p>
          <a:p>
            <a:pPr lvl="1"/>
            <a:r>
              <a:rPr lang="en-GB" sz="1200" kern="1200" dirty="0">
                <a:solidFill>
                  <a:schemeClr val="tx1"/>
                </a:solidFill>
                <a:effectLst/>
                <a:latin typeface="+mn-lt"/>
                <a:ea typeface="+mn-ea"/>
                <a:cs typeface="+mn-cs"/>
              </a:rPr>
              <a:t>Not reading the guide for authors </a:t>
            </a:r>
          </a:p>
          <a:p>
            <a:pPr lvl="2"/>
            <a:r>
              <a:rPr lang="en-GB" sz="1200" kern="1200" dirty="0">
                <a:solidFill>
                  <a:schemeClr val="tx1"/>
                </a:solidFill>
                <a:effectLst/>
                <a:latin typeface="+mn-lt"/>
                <a:ea typeface="+mn-ea"/>
                <a:cs typeface="+mn-cs"/>
              </a:rPr>
              <a:t>Nor correctly preparing the files for submission </a:t>
            </a:r>
          </a:p>
          <a:p>
            <a:pPr lvl="1"/>
            <a:r>
              <a:rPr lang="en-GB" sz="1200" kern="1200" dirty="0">
                <a:solidFill>
                  <a:schemeClr val="tx1"/>
                </a:solidFill>
                <a:effectLst/>
                <a:latin typeface="+mn-lt"/>
                <a:ea typeface="+mn-ea"/>
                <a:cs typeface="+mn-cs"/>
              </a:rPr>
              <a:t>Reference list and citations </a:t>
            </a:r>
          </a:p>
          <a:p>
            <a:pPr lvl="1"/>
            <a:r>
              <a:rPr lang="en-GB" sz="1200" kern="1200" dirty="0">
                <a:solidFill>
                  <a:schemeClr val="tx1"/>
                </a:solidFill>
                <a:effectLst/>
                <a:latin typeface="+mn-lt"/>
                <a:ea typeface="+mn-ea"/>
                <a:cs typeface="+mn-cs"/>
              </a:rPr>
              <a:t>Not allowing enough time for submission – save and come back to it </a:t>
            </a:r>
          </a:p>
          <a:p>
            <a:pPr lvl="1"/>
            <a:r>
              <a:rPr lang="en-GB" sz="1200" kern="1200" dirty="0">
                <a:solidFill>
                  <a:schemeClr val="tx1"/>
                </a:solidFill>
                <a:effectLst/>
                <a:latin typeface="+mn-lt"/>
                <a:ea typeface="+mn-ea"/>
                <a:cs typeface="+mn-cs"/>
              </a:rPr>
              <a:t>Illustrations -numbering and captions </a:t>
            </a:r>
          </a:p>
          <a:p>
            <a:pPr lvl="2"/>
            <a:r>
              <a:rPr lang="en-GB" sz="1200" kern="1200" dirty="0">
                <a:solidFill>
                  <a:schemeClr val="tx1"/>
                </a:solidFill>
                <a:effectLst/>
                <a:latin typeface="+mn-lt"/>
                <a:ea typeface="+mn-ea"/>
                <a:cs typeface="+mn-cs"/>
              </a:rPr>
              <a:t>Charts and graphs </a:t>
            </a:r>
          </a:p>
          <a:p>
            <a:pPr lvl="2"/>
            <a:r>
              <a:rPr lang="en-GB" sz="1200" kern="1200" dirty="0">
                <a:solidFill>
                  <a:schemeClr val="tx1"/>
                </a:solidFill>
                <a:effectLst/>
                <a:latin typeface="+mn-lt"/>
                <a:ea typeface="+mn-ea"/>
                <a:cs typeface="+mn-cs"/>
              </a:rPr>
              <a:t>Maps </a:t>
            </a:r>
          </a:p>
          <a:p>
            <a:pPr marL="171450" indent="-171450">
              <a:buFontTx/>
              <a:buChar char="-"/>
            </a:pPr>
            <a:endParaRPr lang="en-GB" baseline="0" dirty="0"/>
          </a:p>
        </p:txBody>
      </p:sp>
      <p:sp>
        <p:nvSpPr>
          <p:cNvPr id="4" name="Slide Number Placeholder 3">
            <a:extLst>
              <a:ext uri="{FF2B5EF4-FFF2-40B4-BE49-F238E27FC236}">
                <a16:creationId xmlns:a16="http://schemas.microsoft.com/office/drawing/2014/main" id="{1691B6A8-B64D-491C-2C23-932A31121FCA}"/>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C755C2-B58D-463F-9666-3FDCBEFAFBDD}" type="slidenum">
              <a:rPr kumimoji="0" lang="en-GB" sz="1800" b="0" i="0" u="none" strike="noStrike" kern="0" cap="none" spc="0" normalizeH="0" baseline="0" noProof="0" smtClean="0">
                <a:ln>
                  <a:noFill/>
                </a:ln>
                <a:solidFill>
                  <a:sysClr val="windowText" lastClr="000000"/>
                </a:solidFill>
                <a:effectLst/>
                <a:uLnTx/>
                <a:uFillTx/>
                <a:latin typeface="Times New Roman"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800" b="0" i="0" u="none" strike="noStrike" kern="0" cap="none" spc="0" normalizeH="0" baseline="0" noProof="0" dirty="0">
              <a:ln>
                <a:noFill/>
              </a:ln>
              <a:solidFill>
                <a:sysClr val="windowText" lastClr="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35503931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3D0706-5C62-A9DD-C788-61D9D3509A2B}"/>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9785F231-7AFB-0C16-8B57-CFF98873380E}"/>
              </a:ext>
            </a:extLst>
          </p:cNvPr>
          <p:cNvSpPr>
            <a:spLocks noGrp="1" noRot="1" noChangeAspect="1"/>
          </p:cNvSpPr>
          <p:nvPr>
            <p:ph type="sldImg"/>
          </p:nvPr>
        </p:nvSpPr>
        <p:spPr/>
        <p:txBody>
          <a:bodyPr/>
          <a:lstStyle/>
          <a:p>
            <a:endParaRPr lang="en-GB" dirty="0"/>
          </a:p>
        </p:txBody>
      </p:sp>
      <p:sp>
        <p:nvSpPr>
          <p:cNvPr id="3" name="Tijdelijke aanduiding voor notities 2">
            <a:extLst>
              <a:ext uri="{FF2B5EF4-FFF2-40B4-BE49-F238E27FC236}">
                <a16:creationId xmlns:a16="http://schemas.microsoft.com/office/drawing/2014/main" id="{8E52ECE2-0AF3-AB2F-E4B4-2C9A6B7DDA8F}"/>
              </a:ext>
            </a:extLst>
          </p:cNvPr>
          <p:cNvSpPr>
            <a:spLocks noGrp="1"/>
          </p:cNvSpPr>
          <p:nvPr>
            <p:ph type="body" idx="1"/>
          </p:nvPr>
        </p:nvSpPr>
        <p:spPr/>
        <p:txBody>
          <a:bodyPr/>
          <a:lstStyle/>
          <a:p>
            <a:r>
              <a:rPr lang="en-US" dirty="0"/>
              <a:t>These common elements are easily avoidable:</a:t>
            </a:r>
          </a:p>
          <a:p>
            <a:r>
              <a:rPr lang="en-US" dirty="0"/>
              <a:t>Go over, one by one </a:t>
            </a:r>
          </a:p>
          <a:p>
            <a:endParaRPr lang="en-US" dirty="0"/>
          </a:p>
          <a:p>
            <a:r>
              <a:rPr lang="en-US" dirty="0"/>
              <a:t>	 </a:t>
            </a:r>
          </a:p>
        </p:txBody>
      </p:sp>
      <p:sp>
        <p:nvSpPr>
          <p:cNvPr id="4" name="Tijdelijke aanduiding voor dianummer 3">
            <a:extLst>
              <a:ext uri="{FF2B5EF4-FFF2-40B4-BE49-F238E27FC236}">
                <a16:creationId xmlns:a16="http://schemas.microsoft.com/office/drawing/2014/main" id="{912AF73C-CF09-D3EB-5003-08BFB92A458B}"/>
              </a:ext>
            </a:extLst>
          </p:cNvPr>
          <p:cNvSpPr>
            <a:spLocks noGrp="1"/>
          </p:cNvSpPr>
          <p:nvPr>
            <p:ph type="sldNum" sz="quarter" idx="5"/>
          </p:nvPr>
        </p:nvSpPr>
        <p:spPr/>
        <p:txBody>
          <a:bodyPr/>
          <a:lstStyle/>
          <a:p>
            <a:fld id="{A7443C7B-F938-4CE9-A268-32817172635B}" type="slidenum">
              <a:rPr lang="en-US" smtClean="0"/>
              <a:t>28</a:t>
            </a:fld>
            <a:endParaRPr lang="en-US" dirty="0"/>
          </a:p>
        </p:txBody>
      </p:sp>
    </p:spTree>
    <p:extLst>
      <p:ext uri="{BB962C8B-B14F-4D97-AF65-F5344CB8AC3E}">
        <p14:creationId xmlns:p14="http://schemas.microsoft.com/office/powerpoint/2010/main" val="313496784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774AC8-27AA-6CC9-2A5A-97191785D8E9}"/>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D96A5908-281F-DCE6-80D9-934866C5AB0D}"/>
              </a:ext>
            </a:extLst>
          </p:cNvPr>
          <p:cNvSpPr>
            <a:spLocks noGrp="1" noRot="1" noChangeAspect="1"/>
          </p:cNvSpPr>
          <p:nvPr>
            <p:ph type="sldImg"/>
          </p:nvPr>
        </p:nvSpPr>
        <p:spPr/>
        <p:txBody>
          <a:bodyPr/>
          <a:lstStyle/>
          <a:p>
            <a:endParaRPr lang="en-GB" dirty="0"/>
          </a:p>
        </p:txBody>
      </p:sp>
      <p:sp>
        <p:nvSpPr>
          <p:cNvPr id="3" name="Tijdelijke aanduiding voor notities 2">
            <a:extLst>
              <a:ext uri="{FF2B5EF4-FFF2-40B4-BE49-F238E27FC236}">
                <a16:creationId xmlns:a16="http://schemas.microsoft.com/office/drawing/2014/main" id="{1D54D458-7F50-B877-AC4F-FFF5A887DDC4}"/>
              </a:ext>
            </a:extLst>
          </p:cNvPr>
          <p:cNvSpPr>
            <a:spLocks noGrp="1"/>
          </p:cNvSpPr>
          <p:nvPr>
            <p:ph type="body" idx="1"/>
          </p:nvPr>
        </p:nvSpPr>
        <p:spPr/>
        <p:txBody>
          <a:bodyPr/>
          <a:lstStyle/>
          <a:p>
            <a:pPr lvl="0"/>
            <a:r>
              <a:rPr lang="en-GB" sz="1200" b="1" kern="1200" dirty="0">
                <a:solidFill>
                  <a:schemeClr val="tx1"/>
                </a:solidFill>
                <a:effectLst/>
                <a:latin typeface="+mn-lt"/>
                <a:ea typeface="+mn-ea"/>
                <a:cs typeface="+mn-cs"/>
              </a:rPr>
              <a:t>Writing </a:t>
            </a:r>
            <a:endParaRPr lang="en-GB" sz="1200" kern="1200" dirty="0">
              <a:solidFill>
                <a:schemeClr val="tx1"/>
              </a:solidFill>
              <a:effectLst/>
              <a:latin typeface="+mn-lt"/>
              <a:ea typeface="+mn-ea"/>
              <a:cs typeface="+mn-cs"/>
            </a:endParaRPr>
          </a:p>
          <a:p>
            <a:pPr lvl="1"/>
            <a:r>
              <a:rPr lang="en-GB" sz="1200" kern="1200" dirty="0">
                <a:solidFill>
                  <a:schemeClr val="tx1"/>
                </a:solidFill>
                <a:effectLst/>
                <a:latin typeface="+mn-lt"/>
                <a:ea typeface="+mn-ea"/>
                <a:cs typeface="+mn-cs"/>
              </a:rPr>
              <a:t> The style is important – </a:t>
            </a:r>
          </a:p>
          <a:p>
            <a:pPr lvl="1"/>
            <a:r>
              <a:rPr lang="en-GB" sz="1200" kern="1200" dirty="0">
                <a:solidFill>
                  <a:schemeClr val="tx1"/>
                </a:solidFill>
                <a:effectLst/>
                <a:latin typeface="+mn-lt"/>
                <a:ea typeface="+mn-ea"/>
                <a:cs typeface="+mn-cs"/>
              </a:rPr>
              <a:t>Esp the title, the abstract </a:t>
            </a:r>
            <a:r>
              <a:rPr lang="en-GB" sz="1200" b="1" kern="1200" dirty="0">
                <a:solidFill>
                  <a:schemeClr val="tx1"/>
                </a:solidFill>
                <a:effectLst/>
                <a:latin typeface="+mn-lt"/>
                <a:ea typeface="+mn-ea"/>
                <a:cs typeface="+mn-cs"/>
              </a:rPr>
              <a:t>[CLICK] </a:t>
            </a:r>
            <a:endParaRPr lang="en-GB" sz="1200" kern="1200" dirty="0">
              <a:solidFill>
                <a:schemeClr val="tx1"/>
              </a:solidFill>
              <a:effectLst/>
              <a:latin typeface="+mn-lt"/>
              <a:ea typeface="+mn-ea"/>
              <a:cs typeface="+mn-cs"/>
            </a:endParaRPr>
          </a:p>
          <a:p>
            <a:pPr lvl="2"/>
            <a:r>
              <a:rPr lang="en-GB" sz="1200" kern="1200" dirty="0">
                <a:solidFill>
                  <a:schemeClr val="tx1"/>
                </a:solidFill>
                <a:effectLst/>
                <a:latin typeface="+mn-lt"/>
                <a:ea typeface="+mn-ea"/>
                <a:cs typeface="+mn-cs"/>
              </a:rPr>
              <a:t> Explain the details </a:t>
            </a:r>
          </a:p>
          <a:p>
            <a:pPr lvl="3"/>
            <a:r>
              <a:rPr lang="en-GB" sz="1200" b="1" kern="1200" dirty="0">
                <a:solidFill>
                  <a:schemeClr val="tx1"/>
                </a:solidFill>
                <a:effectLst/>
                <a:latin typeface="+mn-lt"/>
                <a:ea typeface="+mn-ea"/>
                <a:cs typeface="+mn-cs"/>
              </a:rPr>
              <a:t>These are:</a:t>
            </a:r>
            <a:endParaRPr lang="en-GB" sz="1200" kern="1200" dirty="0">
              <a:solidFill>
                <a:schemeClr val="tx1"/>
              </a:solidFill>
              <a:effectLst/>
              <a:latin typeface="+mn-lt"/>
              <a:ea typeface="+mn-ea"/>
              <a:cs typeface="+mn-cs"/>
            </a:endParaRPr>
          </a:p>
          <a:p>
            <a:pPr lvl="4"/>
            <a:r>
              <a:rPr lang="en-GB" sz="1200" b="1" kern="1200" dirty="0">
                <a:solidFill>
                  <a:schemeClr val="tx1"/>
                </a:solidFill>
                <a:effectLst/>
                <a:latin typeface="+mn-lt"/>
                <a:ea typeface="+mn-ea"/>
                <a:cs typeface="+mn-cs"/>
              </a:rPr>
              <a:t>Important elements </a:t>
            </a:r>
            <a:endParaRPr lang="en-GB" sz="1200" kern="1200" dirty="0">
              <a:solidFill>
                <a:schemeClr val="tx1"/>
              </a:solidFill>
              <a:effectLst/>
              <a:latin typeface="+mn-lt"/>
              <a:ea typeface="+mn-ea"/>
              <a:cs typeface="+mn-cs"/>
            </a:endParaRPr>
          </a:p>
          <a:p>
            <a:pPr lvl="4"/>
            <a:r>
              <a:rPr lang="en-GB" sz="1200" b="1" kern="1200" dirty="0">
                <a:solidFill>
                  <a:schemeClr val="tx1"/>
                </a:solidFill>
                <a:effectLst/>
                <a:latin typeface="+mn-lt"/>
                <a:ea typeface="+mn-ea"/>
                <a:cs typeface="+mn-cs"/>
              </a:rPr>
              <a:t>Key for finding reviewers </a:t>
            </a:r>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 </a:t>
            </a:r>
          </a:p>
          <a:p>
            <a:r>
              <a:rPr lang="en-GB" sz="1200" b="1" kern="1200" dirty="0">
                <a:solidFill>
                  <a:schemeClr val="tx1"/>
                </a:solidFill>
                <a:effectLst/>
                <a:latin typeface="+mn-lt"/>
                <a:ea typeface="+mn-ea"/>
                <a:cs typeface="+mn-cs"/>
              </a:rPr>
              <a:t>[CLICK]</a:t>
            </a:r>
            <a:endParaRPr lang="en-GB" sz="1200" kern="1200" dirty="0">
              <a:solidFill>
                <a:schemeClr val="tx1"/>
              </a:solidFill>
              <a:effectLst/>
              <a:latin typeface="+mn-lt"/>
              <a:ea typeface="+mn-ea"/>
              <a:cs typeface="+mn-cs"/>
            </a:endParaRPr>
          </a:p>
          <a:p>
            <a:pPr lvl="1"/>
            <a:r>
              <a:rPr lang="en-GB" sz="1200" kern="1200" dirty="0">
                <a:solidFill>
                  <a:schemeClr val="tx1"/>
                </a:solidFill>
                <a:effectLst/>
                <a:latin typeface="+mn-lt"/>
                <a:ea typeface="+mn-ea"/>
                <a:cs typeface="+mn-cs"/>
              </a:rPr>
              <a:t>Covering too many things too sparsely </a:t>
            </a:r>
          </a:p>
          <a:p>
            <a:pPr lvl="1"/>
            <a:r>
              <a:rPr lang="en-GB" sz="1200" kern="1200" dirty="0">
                <a:solidFill>
                  <a:schemeClr val="tx1"/>
                </a:solidFill>
                <a:effectLst/>
                <a:latin typeface="+mn-lt"/>
                <a:ea typeface="+mn-ea"/>
                <a:cs typeface="+mn-cs"/>
              </a:rPr>
              <a:t>Research questions and aims unclear</a:t>
            </a:r>
          </a:p>
          <a:p>
            <a:r>
              <a:rPr lang="en-GB" sz="1200" kern="1200" dirty="0">
                <a:solidFill>
                  <a:schemeClr val="tx1"/>
                </a:solidFill>
                <a:effectLst/>
                <a:latin typeface="+mn-lt"/>
                <a:ea typeface="+mn-ea"/>
                <a:cs typeface="+mn-cs"/>
              </a:rPr>
              <a:t> </a:t>
            </a:r>
          </a:p>
          <a:p>
            <a:pPr lvl="1"/>
            <a:r>
              <a:rPr lang="en-GB" sz="1200" kern="1200" dirty="0">
                <a:solidFill>
                  <a:schemeClr val="tx1"/>
                </a:solidFill>
                <a:effectLst/>
                <a:latin typeface="+mn-lt"/>
                <a:ea typeface="+mn-ea"/>
                <a:cs typeface="+mn-cs"/>
              </a:rPr>
              <a:t>The structure -no intro, no conclusion or no discussion</a:t>
            </a:r>
          </a:p>
          <a:p>
            <a:r>
              <a:rPr lang="en-GB" sz="1200" b="1" kern="1200" dirty="0">
                <a:solidFill>
                  <a:schemeClr val="tx1"/>
                </a:solidFill>
                <a:effectLst/>
                <a:latin typeface="+mn-lt"/>
                <a:ea typeface="+mn-ea"/>
                <a:cs typeface="+mn-cs"/>
              </a:rPr>
              <a:t> </a:t>
            </a:r>
            <a:endParaRPr lang="en-GB" sz="1200" kern="1200" dirty="0">
              <a:solidFill>
                <a:schemeClr val="tx1"/>
              </a:solidFill>
              <a:effectLst/>
              <a:latin typeface="+mn-lt"/>
              <a:ea typeface="+mn-ea"/>
              <a:cs typeface="+mn-cs"/>
            </a:endParaRPr>
          </a:p>
          <a:p>
            <a:pPr lvl="0"/>
            <a:r>
              <a:rPr lang="en-GB" sz="1200" b="1" kern="1200" dirty="0">
                <a:solidFill>
                  <a:schemeClr val="tx1"/>
                </a:solidFill>
                <a:effectLst/>
                <a:latin typeface="+mn-lt"/>
                <a:ea typeface="+mn-ea"/>
                <a:cs typeface="+mn-cs"/>
              </a:rPr>
              <a:t>Presentation </a:t>
            </a:r>
            <a:endParaRPr lang="en-GB" sz="1200" kern="1200" dirty="0">
              <a:solidFill>
                <a:schemeClr val="tx1"/>
              </a:solidFill>
              <a:effectLst/>
              <a:latin typeface="+mn-lt"/>
              <a:ea typeface="+mn-ea"/>
              <a:cs typeface="+mn-cs"/>
            </a:endParaRPr>
          </a:p>
          <a:p>
            <a:pPr lvl="1"/>
            <a:r>
              <a:rPr lang="en-GB" sz="1200" kern="1200" dirty="0">
                <a:solidFill>
                  <a:schemeClr val="tx1"/>
                </a:solidFill>
                <a:effectLst/>
                <a:latin typeface="+mn-lt"/>
                <a:ea typeface="+mn-ea"/>
                <a:cs typeface="+mn-cs"/>
              </a:rPr>
              <a:t> Needs to be clear, lime spacing, blurred illustrations, too much in bullet points </a:t>
            </a:r>
          </a:p>
          <a:p>
            <a:r>
              <a:rPr lang="en-GB" sz="1200" kern="1200" dirty="0">
                <a:solidFill>
                  <a:schemeClr val="tx1"/>
                </a:solidFill>
                <a:effectLst/>
                <a:latin typeface="+mn-lt"/>
                <a:ea typeface="+mn-ea"/>
                <a:cs typeface="+mn-cs"/>
              </a:rPr>
              <a:t> </a:t>
            </a:r>
          </a:p>
          <a:p>
            <a:pPr lvl="0"/>
            <a:r>
              <a:rPr lang="en-GB" sz="1200" b="1" kern="1200" dirty="0">
                <a:solidFill>
                  <a:schemeClr val="tx1"/>
                </a:solidFill>
                <a:effectLst/>
                <a:latin typeface="+mn-lt"/>
                <a:ea typeface="+mn-ea"/>
                <a:cs typeface="+mn-cs"/>
              </a:rPr>
              <a:t>Errors in formatting:</a:t>
            </a:r>
            <a:endParaRPr lang="en-GB" sz="1200" kern="1200" dirty="0">
              <a:solidFill>
                <a:schemeClr val="tx1"/>
              </a:solidFill>
              <a:effectLst/>
              <a:latin typeface="+mn-lt"/>
              <a:ea typeface="+mn-ea"/>
              <a:cs typeface="+mn-cs"/>
            </a:endParaRPr>
          </a:p>
          <a:p>
            <a:pPr lvl="1"/>
            <a:r>
              <a:rPr lang="en-GB" sz="1200" kern="1200" dirty="0">
                <a:solidFill>
                  <a:schemeClr val="tx1"/>
                </a:solidFill>
                <a:effectLst/>
                <a:latin typeface="+mn-lt"/>
                <a:ea typeface="+mn-ea"/>
                <a:cs typeface="+mn-cs"/>
              </a:rPr>
              <a:t> Font changes mid ay, section numbering incorrect</a:t>
            </a:r>
          </a:p>
          <a:p>
            <a:pPr lvl="1"/>
            <a:r>
              <a:rPr lang="en-GB" sz="1200" kern="1200" dirty="0">
                <a:solidFill>
                  <a:schemeClr val="tx1"/>
                </a:solidFill>
                <a:effectLst/>
                <a:latin typeface="+mn-lt"/>
                <a:ea typeface="+mn-ea"/>
                <a:cs typeface="+mn-cs"/>
              </a:rPr>
              <a:t>Two figures with the same number of missing captions altogether </a:t>
            </a:r>
          </a:p>
          <a:p>
            <a:endParaRPr lang="en-US" dirty="0"/>
          </a:p>
        </p:txBody>
      </p:sp>
      <p:sp>
        <p:nvSpPr>
          <p:cNvPr id="4" name="Tijdelijke aanduiding voor dianummer 3">
            <a:extLst>
              <a:ext uri="{FF2B5EF4-FFF2-40B4-BE49-F238E27FC236}">
                <a16:creationId xmlns:a16="http://schemas.microsoft.com/office/drawing/2014/main" id="{9214C39F-CF85-C784-093E-842ED7BB5EAD}"/>
              </a:ext>
            </a:extLst>
          </p:cNvPr>
          <p:cNvSpPr>
            <a:spLocks noGrp="1"/>
          </p:cNvSpPr>
          <p:nvPr>
            <p:ph type="sldNum" sz="quarter" idx="5"/>
          </p:nvPr>
        </p:nvSpPr>
        <p:spPr/>
        <p:txBody>
          <a:bodyPr/>
          <a:lstStyle/>
          <a:p>
            <a:fld id="{A7443C7B-F938-4CE9-A268-32817172635B}" type="slidenum">
              <a:rPr lang="en-US" smtClean="0"/>
              <a:t>29</a:t>
            </a:fld>
            <a:endParaRPr lang="en-US" dirty="0"/>
          </a:p>
        </p:txBody>
      </p:sp>
    </p:spTree>
    <p:extLst>
      <p:ext uri="{BB962C8B-B14F-4D97-AF65-F5344CB8AC3E}">
        <p14:creationId xmlns:p14="http://schemas.microsoft.com/office/powerpoint/2010/main" val="118903420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22775F-6276-FFAF-EB79-25C5C8EC312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E4F14DB-6071-F233-9106-EE5EB570182F}"/>
              </a:ext>
            </a:extLst>
          </p:cNvPr>
          <p:cNvSpPr>
            <a:spLocks noGrp="1" noRot="1" noChangeAspect="1"/>
          </p:cNvSpPr>
          <p:nvPr>
            <p:ph type="sldImg"/>
          </p:nvPr>
        </p:nvSpPr>
        <p:spPr/>
        <p:txBody>
          <a:bodyPr/>
          <a:lstStyle/>
          <a:p>
            <a:endParaRPr lang="en-GB" dirty="0"/>
          </a:p>
        </p:txBody>
      </p:sp>
      <p:sp>
        <p:nvSpPr>
          <p:cNvPr id="3" name="Notes Placeholder 2">
            <a:extLst>
              <a:ext uri="{FF2B5EF4-FFF2-40B4-BE49-F238E27FC236}">
                <a16:creationId xmlns:a16="http://schemas.microsoft.com/office/drawing/2014/main" id="{1E393D11-E2FC-84E0-07C5-0608A0E4B257}"/>
              </a:ext>
            </a:extLst>
          </p:cNvPr>
          <p:cNvSpPr>
            <a:spLocks noGrp="1"/>
          </p:cNvSpPr>
          <p:nvPr>
            <p:ph type="body" idx="1"/>
          </p:nvPr>
        </p:nvSpPr>
        <p:spPr/>
        <p:txBody>
          <a:bodyPr/>
          <a:lstStyle/>
          <a:p>
            <a:pPr lvl="1"/>
            <a:r>
              <a:rPr lang="en-GB" sz="1200" kern="1200" dirty="0">
                <a:solidFill>
                  <a:schemeClr val="tx1"/>
                </a:solidFill>
                <a:effectLst/>
                <a:latin typeface="+mn-lt"/>
                <a:ea typeface="+mn-ea"/>
                <a:cs typeface="+mn-cs"/>
              </a:rPr>
              <a:t>Studies involving people</a:t>
            </a:r>
          </a:p>
          <a:p>
            <a:pPr lvl="1"/>
            <a:r>
              <a:rPr lang="en-GB" sz="1200" kern="1200" dirty="0">
                <a:solidFill>
                  <a:schemeClr val="tx1"/>
                </a:solidFill>
                <a:effectLst/>
                <a:latin typeface="+mn-lt"/>
                <a:ea typeface="+mn-ea"/>
                <a:cs typeface="+mn-cs"/>
              </a:rPr>
              <a:t>	Ethics statement (IRB certification/exemption)</a:t>
            </a:r>
          </a:p>
          <a:p>
            <a:pPr lvl="1"/>
            <a:r>
              <a:rPr lang="en-GB" sz="1200" kern="1200" dirty="0">
                <a:solidFill>
                  <a:schemeClr val="tx1"/>
                </a:solidFill>
                <a:effectLst/>
                <a:latin typeface="+mn-lt"/>
                <a:ea typeface="+mn-ea"/>
                <a:cs typeface="+mn-cs"/>
              </a:rPr>
              <a:t>Plagiarism </a:t>
            </a:r>
          </a:p>
          <a:p>
            <a:pPr lvl="1"/>
            <a:r>
              <a:rPr lang="en-GB" sz="1200" kern="1200" dirty="0">
                <a:solidFill>
                  <a:schemeClr val="tx1"/>
                </a:solidFill>
                <a:effectLst/>
                <a:latin typeface="+mn-lt"/>
                <a:ea typeface="+mn-ea"/>
                <a:cs typeface="+mn-cs"/>
              </a:rPr>
              <a:t>Responsible AI Use </a:t>
            </a:r>
          </a:p>
          <a:p>
            <a:pPr marL="171450" indent="-171450">
              <a:buFontTx/>
              <a:buChar char="-"/>
            </a:pPr>
            <a:endParaRPr lang="en-GB" baseline="0" dirty="0"/>
          </a:p>
        </p:txBody>
      </p:sp>
      <p:sp>
        <p:nvSpPr>
          <p:cNvPr id="4" name="Slide Number Placeholder 3">
            <a:extLst>
              <a:ext uri="{FF2B5EF4-FFF2-40B4-BE49-F238E27FC236}">
                <a16:creationId xmlns:a16="http://schemas.microsoft.com/office/drawing/2014/main" id="{E6EE9BB5-5FC2-EEDD-D84F-FA6A40E34420}"/>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C755C2-B58D-463F-9666-3FDCBEFAFBDD}" type="slidenum">
              <a:rPr kumimoji="0" lang="en-GB" sz="1800" b="0" i="0" u="none" strike="noStrike" kern="0" cap="none" spc="0" normalizeH="0" baseline="0" noProof="0" smtClean="0">
                <a:ln>
                  <a:noFill/>
                </a:ln>
                <a:solidFill>
                  <a:sysClr val="windowText" lastClr="000000"/>
                </a:solidFill>
                <a:effectLst/>
                <a:uLnTx/>
                <a:uFillTx/>
                <a:latin typeface="Times New Roman"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800" b="0" i="0" u="none" strike="noStrike" kern="0" cap="none" spc="0" normalizeH="0" baseline="0" noProof="0" dirty="0">
              <a:ln>
                <a:noFill/>
              </a:ln>
              <a:solidFill>
                <a:sysClr val="windowText" lastClr="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274268245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txBody>
          <a:bodyPr/>
          <a:lstStyle/>
          <a:p>
            <a:endParaRPr lang="en-GB" dirty="0"/>
          </a:p>
        </p:txBody>
      </p:sp>
      <p:sp>
        <p:nvSpPr>
          <p:cNvPr id="3" name="Tijdelijke aanduiding voor notities 2"/>
          <p:cNvSpPr>
            <a:spLocks noGrp="1"/>
          </p:cNvSpPr>
          <p:nvPr>
            <p:ph type="body" idx="1"/>
          </p:nvPr>
        </p:nvSpPr>
        <p:spPr/>
        <p:txBody>
          <a:bodyPr/>
          <a:lstStyle/>
          <a:p>
            <a:pPr marL="342900" lvl="0" indent="-342900">
              <a:lnSpc>
                <a:spcPct val="115000"/>
              </a:lnSpc>
              <a:buFont typeface="Symbol" panose="05050102010706020507" pitchFamily="18" charset="2"/>
              <a:buChar char=""/>
            </a:pPr>
            <a:r>
              <a:rPr lang="en-US" sz="1100" kern="100" dirty="0">
                <a:effectLst/>
                <a:latin typeface="Times New Roman" panose="02020603050405020304" pitchFamily="18" charset="0"/>
                <a:ea typeface="Aptos" panose="020B0004020202020204" pitchFamily="34" charset="0"/>
                <a:cs typeface="Arial" panose="020B0604020202020204" pitchFamily="34" charset="0"/>
              </a:rPr>
              <a:t>Who can and should be named as an author ?</a:t>
            </a:r>
            <a:endParaRPr lang="en-GB" sz="1100" kern="100" dirty="0">
              <a:effectLst/>
              <a:latin typeface="Aptos" panose="020B0004020202020204" pitchFamily="34" charset="0"/>
              <a:ea typeface="Aptos" panose="020B0004020202020204" pitchFamily="34" charset="0"/>
              <a:cs typeface="Arial" panose="020B0604020202020204" pitchFamily="34" charset="0"/>
            </a:endParaRPr>
          </a:p>
          <a:p>
            <a:pPr marL="742950" lvl="1" indent="-285750">
              <a:lnSpc>
                <a:spcPct val="115000"/>
              </a:lnSpc>
              <a:buFont typeface="Courier New" panose="02070309020205020404" pitchFamily="49" charset="0"/>
              <a:buChar char="o"/>
            </a:pPr>
            <a:r>
              <a:rPr lang="en-US" sz="1100" kern="100" dirty="0">
                <a:effectLst/>
                <a:latin typeface="Times New Roman" panose="02020603050405020304" pitchFamily="18" charset="0"/>
                <a:ea typeface="Aptos" panose="020B0004020202020204" pitchFamily="34" charset="0"/>
                <a:cs typeface="Arial" panose="020B0604020202020204" pitchFamily="34" charset="0"/>
              </a:rPr>
              <a:t> be someone who has made </a:t>
            </a:r>
            <a:r>
              <a:rPr lang="en-US" sz="1100" i="1" kern="100" dirty="0">
                <a:effectLst/>
                <a:latin typeface="Times New Roman" panose="02020603050405020304" pitchFamily="18" charset="0"/>
                <a:ea typeface="Aptos" panose="020B0004020202020204" pitchFamily="34" charset="0"/>
                <a:cs typeface="Arial" panose="020B0604020202020204" pitchFamily="34" charset="0"/>
              </a:rPr>
              <a:t>substantial intellectual</a:t>
            </a:r>
            <a:r>
              <a:rPr lang="en-US" sz="1100" kern="100" dirty="0">
                <a:effectLst/>
                <a:latin typeface="Times New Roman" panose="02020603050405020304" pitchFamily="18" charset="0"/>
                <a:ea typeface="Aptos" panose="020B0004020202020204" pitchFamily="34" charset="0"/>
                <a:cs typeface="Arial" panose="020B0604020202020204" pitchFamily="34" charset="0"/>
              </a:rPr>
              <a:t> contributions to a published study.</a:t>
            </a:r>
            <a:endParaRPr lang="en-GB" sz="1100" kern="100" dirty="0">
              <a:effectLst/>
              <a:latin typeface="Aptos" panose="020B0004020202020204" pitchFamily="34" charset="0"/>
              <a:ea typeface="Aptos" panose="020B0004020202020204" pitchFamily="34" charset="0"/>
              <a:cs typeface="Arial" panose="020B0604020202020204" pitchFamily="34" charset="0"/>
            </a:endParaRPr>
          </a:p>
          <a:p>
            <a:pPr marL="1143000" lvl="2" indent="-228600">
              <a:lnSpc>
                <a:spcPct val="115000"/>
              </a:lnSpc>
              <a:buFont typeface="Wingdings" panose="05000000000000000000" pitchFamily="2" charset="2"/>
              <a:buChar char=""/>
            </a:pPr>
            <a:r>
              <a:rPr lang="en-US" sz="1100" kern="100" dirty="0">
                <a:effectLst/>
                <a:latin typeface="Times New Roman" panose="02020603050405020304" pitchFamily="18" charset="0"/>
                <a:ea typeface="Aptos" panose="020B0004020202020204" pitchFamily="34" charset="0"/>
                <a:cs typeface="Arial" panose="020B0604020202020204" pitchFamily="34" charset="0"/>
              </a:rPr>
              <a:t> Not a proof reader, not someone who made the map or illustrations</a:t>
            </a:r>
            <a:endParaRPr lang="en-GB" sz="1100" kern="100" dirty="0">
              <a:effectLst/>
              <a:latin typeface="Aptos" panose="020B0004020202020204" pitchFamily="34" charset="0"/>
              <a:ea typeface="Aptos" panose="020B0004020202020204" pitchFamily="34" charset="0"/>
              <a:cs typeface="Arial" panose="020B0604020202020204" pitchFamily="34" charset="0"/>
            </a:endParaRPr>
          </a:p>
          <a:p>
            <a:pPr marL="685800">
              <a:lnSpc>
                <a:spcPct val="115000"/>
              </a:lnSpc>
              <a:buNone/>
            </a:pPr>
            <a:r>
              <a:rPr lang="en-US" sz="1100" kern="100" dirty="0">
                <a:effectLst/>
                <a:latin typeface="Times New Roman" panose="02020603050405020304" pitchFamily="18" charset="0"/>
                <a:ea typeface="Aptos" panose="020B0004020202020204" pitchFamily="34" charset="0"/>
                <a:cs typeface="Arial" panose="020B0604020202020204" pitchFamily="34" charset="0"/>
              </a:rPr>
              <a:t> </a:t>
            </a:r>
            <a:endParaRPr lang="en-GB" sz="1100" kern="100" dirty="0">
              <a:effectLst/>
              <a:latin typeface="Aptos" panose="020B0004020202020204" pitchFamily="34" charset="0"/>
              <a:ea typeface="Aptos" panose="020B0004020202020204" pitchFamily="34" charset="0"/>
              <a:cs typeface="Arial" panose="020B0604020202020204" pitchFamily="34" charset="0"/>
            </a:endParaRPr>
          </a:p>
          <a:p>
            <a:pPr marL="342900" lvl="0" indent="-342900">
              <a:lnSpc>
                <a:spcPct val="115000"/>
              </a:lnSpc>
              <a:buFont typeface="Symbol" panose="05050102010706020507" pitchFamily="18" charset="2"/>
              <a:buChar char=""/>
            </a:pPr>
            <a:r>
              <a:rPr lang="en-US" sz="1100" kern="100" dirty="0">
                <a:solidFill>
                  <a:srgbClr val="FF0000"/>
                </a:solidFill>
                <a:effectLst/>
                <a:highlight>
                  <a:srgbClr val="00FF00"/>
                </a:highlight>
                <a:latin typeface="Times New Roman" panose="02020603050405020304" pitchFamily="18" charset="0"/>
                <a:ea typeface="Aptos" panose="020B0004020202020204" pitchFamily="34" charset="0"/>
                <a:cs typeface="Arial" panose="020B0604020202020204" pitchFamily="34" charset="0"/>
              </a:rPr>
              <a:t>[CLICK]</a:t>
            </a:r>
            <a:endParaRPr lang="en-GB" sz="1100" kern="100" dirty="0">
              <a:effectLst/>
              <a:latin typeface="Aptos" panose="020B0004020202020204" pitchFamily="34" charset="0"/>
              <a:ea typeface="Aptos" panose="020B0004020202020204" pitchFamily="34" charset="0"/>
              <a:cs typeface="Arial" panose="020B0604020202020204" pitchFamily="34" charset="0"/>
            </a:endParaRPr>
          </a:p>
          <a:p>
            <a:pPr marL="342900" lvl="0" indent="-342900">
              <a:lnSpc>
                <a:spcPct val="115000"/>
              </a:lnSpc>
              <a:buFont typeface="Symbol" panose="05050102010706020507" pitchFamily="18" charset="2"/>
              <a:buChar char=""/>
            </a:pPr>
            <a:r>
              <a:rPr lang="en-US" sz="1100" b="1" kern="100" dirty="0">
                <a:effectLst/>
                <a:latin typeface="Times New Roman" panose="02020603050405020304" pitchFamily="18" charset="0"/>
                <a:ea typeface="Aptos" panose="020B0004020202020204" pitchFamily="34" charset="0"/>
                <a:cs typeface="Arial" panose="020B0604020202020204" pitchFamily="34" charset="0"/>
              </a:rPr>
              <a:t>Should be listed in order of contribution</a:t>
            </a:r>
            <a:endParaRPr lang="en-GB" sz="1100" kern="100" dirty="0">
              <a:effectLst/>
              <a:latin typeface="Aptos" panose="020B0004020202020204" pitchFamily="34" charset="0"/>
              <a:ea typeface="Aptos" panose="020B0004020202020204" pitchFamily="34" charset="0"/>
              <a:cs typeface="Arial" panose="020B0604020202020204" pitchFamily="34" charset="0"/>
            </a:endParaRPr>
          </a:p>
          <a:p>
            <a:pPr marL="742950" lvl="1" indent="-285750">
              <a:lnSpc>
                <a:spcPct val="115000"/>
              </a:lnSpc>
              <a:buFont typeface="Courier New" panose="02070309020205020404" pitchFamily="49" charset="0"/>
              <a:buChar char="o"/>
            </a:pPr>
            <a:r>
              <a:rPr lang="en-US" sz="1100" kern="100" dirty="0">
                <a:effectLst/>
                <a:latin typeface="Times New Roman" panose="02020603050405020304" pitchFamily="18" charset="0"/>
                <a:ea typeface="Aptos" panose="020B0004020202020204" pitchFamily="34" charset="0"/>
                <a:cs typeface="Arial" panose="020B0604020202020204" pitchFamily="34" charset="0"/>
              </a:rPr>
              <a:t>- first author did the bulk of the work</a:t>
            </a:r>
            <a:endParaRPr lang="en-GB" sz="1100" kern="100" dirty="0">
              <a:effectLst/>
              <a:latin typeface="Aptos" panose="020B0004020202020204" pitchFamily="34" charset="0"/>
              <a:ea typeface="Aptos" panose="020B0004020202020204" pitchFamily="34" charset="0"/>
              <a:cs typeface="Arial" panose="020B0604020202020204" pitchFamily="34" charset="0"/>
            </a:endParaRPr>
          </a:p>
          <a:p>
            <a:pPr marL="1143000" lvl="2" indent="-228600">
              <a:lnSpc>
                <a:spcPct val="115000"/>
              </a:lnSpc>
              <a:buFont typeface="Wingdings" panose="05000000000000000000" pitchFamily="2" charset="2"/>
              <a:buChar char=""/>
            </a:pPr>
            <a:r>
              <a:rPr lang="en-US" sz="1100" b="1" i="1" kern="100" dirty="0">
                <a:effectLst/>
                <a:latin typeface="Times New Roman" panose="02020603050405020304" pitchFamily="18" charset="0"/>
                <a:ea typeface="Aptos" panose="020B0004020202020204" pitchFamily="34" charset="0"/>
                <a:cs typeface="Arial" panose="020B0604020202020204" pitchFamily="34" charset="0"/>
              </a:rPr>
              <a:t>Cannot be 2 first authors </a:t>
            </a:r>
            <a:endParaRPr lang="en-GB" sz="1100" kern="100" dirty="0">
              <a:effectLst/>
              <a:latin typeface="Aptos" panose="020B0004020202020204" pitchFamily="34" charset="0"/>
              <a:ea typeface="Aptos" panose="020B0004020202020204" pitchFamily="34" charset="0"/>
              <a:cs typeface="Arial" panose="020B0604020202020204" pitchFamily="34" charset="0"/>
            </a:endParaRPr>
          </a:p>
          <a:p>
            <a:pPr marL="742950" lvl="1" indent="-285750">
              <a:lnSpc>
                <a:spcPct val="115000"/>
              </a:lnSpc>
              <a:buFont typeface="Courier New" panose="02070309020205020404" pitchFamily="49" charset="0"/>
              <a:buChar char="o"/>
            </a:pPr>
            <a:r>
              <a:rPr lang="en-US" sz="1100" b="1" kern="100" dirty="0">
                <a:effectLst/>
                <a:latin typeface="Times New Roman" panose="02020603050405020304" pitchFamily="18" charset="0"/>
                <a:ea typeface="Aptos" panose="020B0004020202020204" pitchFamily="34" charset="0"/>
                <a:cs typeface="Arial" panose="020B0604020202020204" pitchFamily="34" charset="0"/>
              </a:rPr>
              <a:t>PhD work- then thesis writer is first author – no debate</a:t>
            </a:r>
            <a:endParaRPr lang="en-GB" sz="1100" kern="100" dirty="0">
              <a:effectLst/>
              <a:latin typeface="Aptos" panose="020B0004020202020204" pitchFamily="34" charset="0"/>
              <a:ea typeface="Aptos" panose="020B0004020202020204" pitchFamily="34" charset="0"/>
              <a:cs typeface="Arial" panose="020B0604020202020204" pitchFamily="34" charset="0"/>
            </a:endParaRPr>
          </a:p>
          <a:p>
            <a:pPr marL="228600">
              <a:lnSpc>
                <a:spcPct val="115000"/>
              </a:lnSpc>
              <a:buNone/>
            </a:pPr>
            <a:r>
              <a:rPr lang="en-US" sz="1100" b="1" kern="100" dirty="0">
                <a:effectLst/>
                <a:latin typeface="Times New Roman" panose="02020603050405020304" pitchFamily="18" charset="0"/>
                <a:ea typeface="Aptos" panose="020B0004020202020204" pitchFamily="34" charset="0"/>
                <a:cs typeface="Arial" panose="020B0604020202020204" pitchFamily="34" charset="0"/>
              </a:rPr>
              <a:t> </a:t>
            </a:r>
            <a:endParaRPr lang="en-GB" sz="1100" kern="100" dirty="0">
              <a:effectLst/>
              <a:latin typeface="Aptos" panose="020B0004020202020204" pitchFamily="34" charset="0"/>
              <a:ea typeface="Aptos" panose="020B0004020202020204" pitchFamily="34" charset="0"/>
              <a:cs typeface="Arial" panose="020B0604020202020204" pitchFamily="34" charset="0"/>
            </a:endParaRPr>
          </a:p>
          <a:p>
            <a:pPr marL="342900" lvl="0" indent="-342900">
              <a:lnSpc>
                <a:spcPct val="115000"/>
              </a:lnSpc>
              <a:buFont typeface="Symbol" panose="05050102010706020507" pitchFamily="18" charset="2"/>
              <a:buChar char=""/>
            </a:pPr>
            <a:r>
              <a:rPr lang="en-US" sz="1100" kern="100" dirty="0">
                <a:solidFill>
                  <a:srgbClr val="FF0000"/>
                </a:solidFill>
                <a:effectLst/>
                <a:highlight>
                  <a:srgbClr val="00FF00"/>
                </a:highlight>
                <a:latin typeface="Times New Roman" panose="02020603050405020304" pitchFamily="18" charset="0"/>
                <a:ea typeface="Aptos" panose="020B0004020202020204" pitchFamily="34" charset="0"/>
                <a:cs typeface="Arial" panose="020B0604020202020204" pitchFamily="34" charset="0"/>
              </a:rPr>
              <a:t>[CLICK]</a:t>
            </a:r>
            <a:endParaRPr lang="en-GB" sz="1100" kern="100" dirty="0">
              <a:effectLst/>
              <a:latin typeface="Aptos" panose="020B0004020202020204" pitchFamily="34" charset="0"/>
              <a:ea typeface="Aptos" panose="020B0004020202020204" pitchFamily="34" charset="0"/>
              <a:cs typeface="Arial" panose="020B0604020202020204" pitchFamily="34" charset="0"/>
            </a:endParaRPr>
          </a:p>
          <a:p>
            <a:pPr marL="342900" lvl="0" indent="-342900">
              <a:lnSpc>
                <a:spcPct val="115000"/>
              </a:lnSpc>
              <a:buFont typeface="Symbol" panose="05050102010706020507" pitchFamily="18" charset="2"/>
              <a:buChar char=""/>
            </a:pPr>
            <a:r>
              <a:rPr lang="en-US" sz="1100" b="1" kern="100" dirty="0">
                <a:effectLst/>
                <a:latin typeface="Times New Roman" panose="02020603050405020304" pitchFamily="18" charset="0"/>
                <a:ea typeface="Aptos" panose="020B0004020202020204" pitchFamily="34" charset="0"/>
                <a:cs typeface="Arial" panose="020B0604020202020204" pitchFamily="34" charset="0"/>
              </a:rPr>
              <a:t>Corresponding author:</a:t>
            </a:r>
            <a:endParaRPr lang="en-GB" sz="1100" kern="100" dirty="0">
              <a:effectLst/>
              <a:latin typeface="Aptos" panose="020B0004020202020204" pitchFamily="34" charset="0"/>
              <a:ea typeface="Aptos" panose="020B0004020202020204" pitchFamily="34" charset="0"/>
              <a:cs typeface="Arial" panose="020B0604020202020204" pitchFamily="34" charset="0"/>
            </a:endParaRPr>
          </a:p>
          <a:p>
            <a:pPr marL="742950" lvl="1" indent="-285750">
              <a:lnSpc>
                <a:spcPct val="115000"/>
              </a:lnSpc>
              <a:buFont typeface="Courier New" panose="02070309020205020404" pitchFamily="49" charset="0"/>
              <a:buChar char="o"/>
            </a:pPr>
            <a:r>
              <a:rPr lang="en-US" sz="1100" kern="100" dirty="0">
                <a:effectLst/>
                <a:latin typeface="Times New Roman" panose="02020603050405020304" pitchFamily="18" charset="0"/>
                <a:ea typeface="Aptos" panose="020B0004020202020204" pitchFamily="34" charset="0"/>
                <a:cs typeface="Arial" panose="020B0604020202020204" pitchFamily="34" charset="0"/>
              </a:rPr>
              <a:t> Named person we and the academic community communicate with</a:t>
            </a:r>
            <a:endParaRPr lang="en-GB" sz="1100" kern="100" dirty="0">
              <a:effectLst/>
              <a:latin typeface="Aptos" panose="020B0004020202020204" pitchFamily="34" charset="0"/>
              <a:ea typeface="Aptos" panose="020B0004020202020204" pitchFamily="34" charset="0"/>
              <a:cs typeface="Arial" panose="020B0604020202020204" pitchFamily="34" charset="0"/>
            </a:endParaRPr>
          </a:p>
          <a:p>
            <a:pPr marL="742950" lvl="1" indent="-285750">
              <a:lnSpc>
                <a:spcPct val="115000"/>
              </a:lnSpc>
              <a:buFont typeface="Courier New" panose="02070309020205020404" pitchFamily="49" charset="0"/>
              <a:buChar char="o"/>
            </a:pPr>
            <a:r>
              <a:rPr lang="en-US" sz="1100" kern="100" dirty="0">
                <a:effectLst/>
                <a:latin typeface="Times New Roman" panose="02020603050405020304" pitchFamily="18" charset="0"/>
                <a:ea typeface="Aptos" panose="020B0004020202020204" pitchFamily="34" charset="0"/>
                <a:cs typeface="Arial" panose="020B0604020202020204" pitchFamily="34" charset="0"/>
              </a:rPr>
              <a:t>The spokesperson of the work</a:t>
            </a:r>
            <a:endParaRPr lang="en-GB" sz="1100" kern="100" dirty="0">
              <a:effectLst/>
              <a:latin typeface="Aptos" panose="020B0004020202020204" pitchFamily="34" charset="0"/>
              <a:ea typeface="Aptos" panose="020B0004020202020204" pitchFamily="34" charset="0"/>
              <a:cs typeface="Arial" panose="020B0604020202020204" pitchFamily="34" charset="0"/>
            </a:endParaRPr>
          </a:p>
          <a:p>
            <a:pPr marL="742950" lvl="1" indent="-285750">
              <a:lnSpc>
                <a:spcPct val="115000"/>
              </a:lnSpc>
              <a:buFont typeface="Courier New" panose="02070309020205020404" pitchFamily="49" charset="0"/>
              <a:buChar char="o"/>
            </a:pPr>
            <a:r>
              <a:rPr lang="en-US" sz="1100" b="1" kern="100" dirty="0">
                <a:effectLst/>
                <a:latin typeface="Times New Roman" panose="02020603050405020304" pitchFamily="18" charset="0"/>
                <a:ea typeface="Aptos" panose="020B0004020202020204" pitchFamily="34" charset="0"/>
                <a:cs typeface="Arial" panose="020B0604020202020204" pitchFamily="34" charset="0"/>
              </a:rPr>
              <a:t>Can be any of the authors</a:t>
            </a:r>
            <a:endParaRPr lang="en-GB" sz="1100" kern="100" dirty="0">
              <a:effectLst/>
              <a:latin typeface="Aptos" panose="020B0004020202020204" pitchFamily="34" charset="0"/>
              <a:ea typeface="Aptos" panose="020B0004020202020204" pitchFamily="34" charset="0"/>
              <a:cs typeface="Arial" panose="020B0604020202020204" pitchFamily="34" charset="0"/>
            </a:endParaRPr>
          </a:p>
          <a:p>
            <a:pPr marL="742950" lvl="1" indent="-285750">
              <a:lnSpc>
                <a:spcPct val="115000"/>
              </a:lnSpc>
              <a:buFont typeface="Courier New" panose="02070309020205020404" pitchFamily="49" charset="0"/>
              <a:buChar char="o"/>
            </a:pPr>
            <a:r>
              <a:rPr lang="en-US" sz="1100" kern="100" dirty="0">
                <a:effectLst/>
                <a:latin typeface="Times New Roman" panose="02020603050405020304" pitchFamily="18" charset="0"/>
                <a:ea typeface="Aptos" panose="020B0004020202020204" pitchFamily="34" charset="0"/>
                <a:cs typeface="Arial" panose="020B0604020202020204" pitchFamily="34" charset="0"/>
              </a:rPr>
              <a:t>Cannot be two corresponding authors </a:t>
            </a:r>
            <a:endParaRPr lang="en-GB" sz="1100" kern="100" dirty="0">
              <a:effectLst/>
              <a:latin typeface="Aptos" panose="020B0004020202020204" pitchFamily="34" charset="0"/>
              <a:ea typeface="Aptos" panose="020B0004020202020204" pitchFamily="34" charset="0"/>
              <a:cs typeface="Arial" panose="020B0604020202020204" pitchFamily="34" charset="0"/>
            </a:endParaRPr>
          </a:p>
          <a:p>
            <a:pPr marL="342900" lvl="0" indent="-342900">
              <a:lnSpc>
                <a:spcPct val="115000"/>
              </a:lnSpc>
              <a:spcAft>
                <a:spcPts val="800"/>
              </a:spcAft>
              <a:buFont typeface="Symbol" panose="05050102010706020507" pitchFamily="18" charset="2"/>
              <a:buChar char=""/>
            </a:pPr>
            <a:r>
              <a:rPr lang="en-US" sz="1100" b="1" kern="100" dirty="0">
                <a:effectLst/>
                <a:latin typeface="Times New Roman" panose="02020603050405020304" pitchFamily="18" charset="0"/>
                <a:ea typeface="Aptos" panose="020B0004020202020204" pitchFamily="34" charset="0"/>
                <a:cs typeface="Arial" panose="020B0604020202020204" pitchFamily="34" charset="0"/>
              </a:rPr>
              <a:t> </a:t>
            </a:r>
            <a:endParaRPr lang="en-GB" sz="1100" kern="100" dirty="0">
              <a:effectLst/>
              <a:latin typeface="Aptos" panose="020B0004020202020204" pitchFamily="34" charset="0"/>
              <a:ea typeface="Aptos" panose="020B0004020202020204" pitchFamily="34" charset="0"/>
              <a:cs typeface="Arial" panose="020B0604020202020204" pitchFamily="34" charset="0"/>
            </a:endParaRPr>
          </a:p>
          <a:p>
            <a:pPr>
              <a:lnSpc>
                <a:spcPct val="115000"/>
              </a:lnSpc>
              <a:spcAft>
                <a:spcPts val="800"/>
              </a:spcAft>
              <a:buNone/>
            </a:pPr>
            <a:r>
              <a:rPr lang="en-US" sz="1100" b="1" kern="100" dirty="0">
                <a:effectLst/>
                <a:latin typeface="Times New Roman" panose="02020603050405020304" pitchFamily="18" charset="0"/>
                <a:ea typeface="Aptos" panose="020B0004020202020204" pitchFamily="34" charset="0"/>
                <a:cs typeface="Arial" panose="020B0604020202020204" pitchFamily="34" charset="0"/>
              </a:rPr>
              <a:t> </a:t>
            </a:r>
            <a:endParaRPr lang="en-GB" sz="1100" kern="100" dirty="0">
              <a:effectLst/>
              <a:latin typeface="Aptos" panose="020B0004020202020204" pitchFamily="34" charset="0"/>
              <a:ea typeface="Aptos" panose="020B0004020202020204" pitchFamily="34" charset="0"/>
              <a:cs typeface="Arial" panose="020B0604020202020204" pitchFamily="34" charset="0"/>
            </a:endParaRPr>
          </a:p>
          <a:p>
            <a:pPr marL="457200">
              <a:lnSpc>
                <a:spcPct val="115000"/>
              </a:lnSpc>
              <a:spcAft>
                <a:spcPts val="800"/>
              </a:spcAft>
              <a:buNone/>
            </a:pPr>
            <a:r>
              <a:rPr lang="en-US" sz="1100" kern="100" dirty="0">
                <a:solidFill>
                  <a:srgbClr val="FF0000"/>
                </a:solidFill>
                <a:effectLst/>
                <a:highlight>
                  <a:srgbClr val="00FF00"/>
                </a:highlight>
                <a:latin typeface="Times New Roman" panose="02020603050405020304" pitchFamily="18" charset="0"/>
                <a:ea typeface="Aptos" panose="020B0004020202020204" pitchFamily="34" charset="0"/>
                <a:cs typeface="Arial" panose="020B0604020202020204" pitchFamily="34" charset="0"/>
              </a:rPr>
              <a:t>[CLICK]</a:t>
            </a:r>
            <a:endParaRPr lang="en-GB" sz="1100" kern="100" dirty="0">
              <a:effectLst/>
              <a:latin typeface="Aptos" panose="020B0004020202020204" pitchFamily="34" charset="0"/>
              <a:ea typeface="Aptos" panose="020B0004020202020204" pitchFamily="34" charset="0"/>
              <a:cs typeface="Arial" panose="020B0604020202020204" pitchFamily="34" charset="0"/>
            </a:endParaRPr>
          </a:p>
          <a:p>
            <a:pPr>
              <a:lnSpc>
                <a:spcPct val="115000"/>
              </a:lnSpc>
              <a:spcAft>
                <a:spcPts val="800"/>
              </a:spcAft>
              <a:buNone/>
            </a:pPr>
            <a:r>
              <a:rPr lang="en-US" sz="1100" b="1" kern="100" dirty="0">
                <a:effectLst/>
                <a:latin typeface="Times New Roman" panose="02020603050405020304" pitchFamily="18" charset="0"/>
                <a:ea typeface="Aptos" panose="020B0004020202020204" pitchFamily="34" charset="0"/>
                <a:cs typeface="Arial" panose="020B0604020202020204" pitchFamily="34" charset="0"/>
              </a:rPr>
              <a:t>Donts:</a:t>
            </a:r>
            <a:endParaRPr lang="en-GB" sz="1100" kern="100" dirty="0">
              <a:effectLst/>
              <a:latin typeface="Aptos" panose="020B0004020202020204" pitchFamily="34" charset="0"/>
              <a:ea typeface="Aptos" panose="020B0004020202020204" pitchFamily="34" charset="0"/>
              <a:cs typeface="Arial" panose="020B0604020202020204" pitchFamily="34" charset="0"/>
            </a:endParaRPr>
          </a:p>
          <a:p>
            <a:pPr>
              <a:lnSpc>
                <a:spcPct val="115000"/>
              </a:lnSpc>
              <a:spcAft>
                <a:spcPts val="800"/>
              </a:spcAft>
              <a:buNone/>
            </a:pPr>
            <a:r>
              <a:rPr lang="en-US" sz="1100" b="1" kern="100" dirty="0">
                <a:effectLst/>
                <a:latin typeface="Times New Roman" panose="02020603050405020304" pitchFamily="18" charset="0"/>
                <a:ea typeface="Aptos" panose="020B0004020202020204" pitchFamily="34" charset="0"/>
                <a:cs typeface="Arial" panose="020B0604020202020204" pitchFamily="34" charset="0"/>
              </a:rPr>
              <a:t>	 See slide </a:t>
            </a:r>
            <a:endParaRPr lang="en-GB" sz="1100" kern="100" dirty="0">
              <a:effectLst/>
              <a:latin typeface="Aptos" panose="020B0004020202020204" pitchFamily="34" charset="0"/>
              <a:ea typeface="Aptos" panose="020B0004020202020204" pitchFamily="34" charset="0"/>
              <a:cs typeface="Arial" panose="020B0604020202020204" pitchFamily="34" charset="0"/>
            </a:endParaRPr>
          </a:p>
          <a:p>
            <a:pPr marL="1143000" lvl="2" indent="-228600">
              <a:lnSpc>
                <a:spcPct val="115000"/>
              </a:lnSpc>
              <a:buFont typeface="Wingdings" panose="05000000000000000000" pitchFamily="2" charset="2"/>
              <a:buChar char=""/>
            </a:pPr>
            <a:r>
              <a:rPr lang="en-US" sz="1100" kern="100" dirty="0">
                <a:effectLst/>
                <a:latin typeface="Times New Roman" panose="02020603050405020304" pitchFamily="18" charset="0"/>
                <a:ea typeface="Aptos" panose="020B0004020202020204" pitchFamily="34" charset="0"/>
                <a:cs typeface="Arial" panose="020B0604020202020204" pitchFamily="34" charset="0"/>
              </a:rPr>
              <a:t>Not someone who leant you resources or let you use their lap</a:t>
            </a:r>
            <a:endParaRPr lang="en-GB" sz="1100" kern="100" dirty="0">
              <a:effectLst/>
              <a:latin typeface="Aptos" panose="020B0004020202020204" pitchFamily="34" charset="0"/>
              <a:ea typeface="Aptos" panose="020B0004020202020204" pitchFamily="34" charset="0"/>
              <a:cs typeface="Arial" panose="020B0604020202020204" pitchFamily="34" charset="0"/>
            </a:endParaRPr>
          </a:p>
          <a:p>
            <a:pPr marL="1600200" lvl="3" indent="-228600">
              <a:lnSpc>
                <a:spcPct val="115000"/>
              </a:lnSpc>
              <a:buFont typeface="Symbol" panose="05050102010706020507" pitchFamily="18" charset="2"/>
              <a:buChar char=""/>
            </a:pPr>
            <a:r>
              <a:rPr lang="en-US" sz="1100" b="1" i="1" kern="100" dirty="0">
                <a:effectLst/>
                <a:latin typeface="Times New Roman" panose="02020603050405020304" pitchFamily="18" charset="0"/>
                <a:ea typeface="Aptos" panose="020B0004020202020204" pitchFamily="34" charset="0"/>
                <a:cs typeface="Arial" panose="020B0604020202020204" pitchFamily="34" charset="0"/>
              </a:rPr>
              <a:t>substantial intellectual</a:t>
            </a:r>
            <a:r>
              <a:rPr lang="en-US" sz="1100" b="1" kern="100" dirty="0">
                <a:effectLst/>
                <a:latin typeface="Times New Roman" panose="02020603050405020304" pitchFamily="18" charset="0"/>
                <a:ea typeface="Aptos" panose="020B0004020202020204" pitchFamily="34" charset="0"/>
                <a:cs typeface="Arial" panose="020B0604020202020204" pitchFamily="34" charset="0"/>
              </a:rPr>
              <a:t> contributions</a:t>
            </a:r>
            <a:endParaRPr lang="en-GB" sz="1100" kern="100" dirty="0">
              <a:effectLst/>
              <a:latin typeface="Aptos" panose="020B0004020202020204" pitchFamily="34" charset="0"/>
              <a:ea typeface="Aptos" panose="020B0004020202020204" pitchFamily="34" charset="0"/>
              <a:cs typeface="Arial" panose="020B0604020202020204" pitchFamily="34" charset="0"/>
            </a:endParaRPr>
          </a:p>
          <a:p>
            <a:pPr marL="457200">
              <a:lnSpc>
                <a:spcPct val="115000"/>
              </a:lnSpc>
              <a:buNone/>
            </a:pPr>
            <a:r>
              <a:rPr lang="en-US" sz="1100" b="1" kern="100" dirty="0">
                <a:effectLst/>
                <a:latin typeface="Times New Roman" panose="02020603050405020304" pitchFamily="18" charset="0"/>
                <a:ea typeface="Aptos" panose="020B0004020202020204" pitchFamily="34" charset="0"/>
                <a:cs typeface="Arial" panose="020B0604020202020204" pitchFamily="34" charset="0"/>
              </a:rPr>
              <a:t> </a:t>
            </a:r>
            <a:endParaRPr lang="en-GB" sz="1100" kern="100" dirty="0">
              <a:effectLst/>
              <a:latin typeface="Aptos" panose="020B0004020202020204" pitchFamily="34" charset="0"/>
              <a:ea typeface="Aptos" panose="020B0004020202020204" pitchFamily="34" charset="0"/>
              <a:cs typeface="Arial" panose="020B0604020202020204" pitchFamily="34" charset="0"/>
            </a:endParaRPr>
          </a:p>
          <a:p>
            <a:pPr marL="457200">
              <a:lnSpc>
                <a:spcPct val="115000"/>
              </a:lnSpc>
              <a:spcAft>
                <a:spcPts val="800"/>
              </a:spcAft>
            </a:pPr>
            <a:r>
              <a:rPr lang="en-US" sz="1100" b="1" kern="100" dirty="0">
                <a:effectLst/>
                <a:latin typeface="Times New Roman" panose="02020603050405020304" pitchFamily="18" charset="0"/>
                <a:ea typeface="Aptos" panose="020B0004020202020204" pitchFamily="34" charset="0"/>
                <a:cs typeface="Arial" panose="020B0604020202020204" pitchFamily="34" charset="0"/>
              </a:rPr>
              <a:t> </a:t>
            </a:r>
            <a:endParaRPr lang="en-GB" sz="1100" kern="100" dirty="0">
              <a:effectLst/>
              <a:latin typeface="Aptos" panose="020B0004020202020204" pitchFamily="34" charset="0"/>
              <a:ea typeface="Aptos" panose="020B0004020202020204" pitchFamily="34" charset="0"/>
              <a:cs typeface="Arial" panose="020B0604020202020204" pitchFamily="34" charset="0"/>
            </a:endParaRPr>
          </a:p>
          <a:p>
            <a:pPr eaLnBrk="1" hangingPunct="1">
              <a:buFont typeface="Wingdings" pitchFamily="2" charset="2"/>
              <a:buNone/>
            </a:pPr>
            <a:endParaRPr lang="en-US" dirty="0"/>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8B5E41-5FC2-49C5-ADA1-A458E21D9A4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804318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5B3454-67E4-3FD2-5CD2-8B363358669A}"/>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2231F5C8-503B-A8ED-C3C9-3D48A81989A1}"/>
              </a:ext>
            </a:extLst>
          </p:cNvPr>
          <p:cNvSpPr>
            <a:spLocks noGrp="1" noRot="1" noChangeAspect="1"/>
          </p:cNvSpPr>
          <p:nvPr>
            <p:ph type="sldImg"/>
          </p:nvPr>
        </p:nvSpPr>
        <p:spPr/>
        <p:txBody>
          <a:bodyPr/>
          <a:lstStyle/>
          <a:p>
            <a:endParaRPr lang="en-GB" dirty="0"/>
          </a:p>
        </p:txBody>
      </p:sp>
      <p:sp>
        <p:nvSpPr>
          <p:cNvPr id="3" name="Tijdelijke aanduiding voor notities 2">
            <a:extLst>
              <a:ext uri="{FF2B5EF4-FFF2-40B4-BE49-F238E27FC236}">
                <a16:creationId xmlns:a16="http://schemas.microsoft.com/office/drawing/2014/main" id="{4DA5523F-C4F0-92F2-66AE-5BBF4512C497}"/>
              </a:ext>
            </a:extLst>
          </p:cNvPr>
          <p:cNvSpPr>
            <a:spLocks noGrp="1"/>
          </p:cNvSpPr>
          <p:nvPr>
            <p:ph type="body" idx="1"/>
          </p:nvPr>
        </p:nvSpPr>
        <p:spPr/>
        <p:txBody>
          <a:bodyPr/>
          <a:lstStyle/>
          <a:p>
            <a:r>
              <a:rPr lang="en-GB" sz="1200" b="1" i="1" kern="1200" dirty="0">
                <a:solidFill>
                  <a:schemeClr val="tx1"/>
                </a:solidFill>
                <a:effectLst/>
                <a:latin typeface="+mn-lt"/>
                <a:ea typeface="+mn-ea"/>
                <a:cs typeface="+mn-cs"/>
              </a:rPr>
              <a:t>“Plagiarism is the act of presenting the words, ideas, or images of another as your own; it denies authors or creators of content the credit they are due. Whether deliberate or unintentional, plagiarism violates ethical standards in scholarship “ </a:t>
            </a:r>
            <a:endParaRPr lang="en-GB" sz="1200" kern="1200" dirty="0">
              <a:solidFill>
                <a:schemeClr val="tx1"/>
              </a:solidFill>
              <a:effectLst/>
              <a:latin typeface="+mn-lt"/>
              <a:ea typeface="+mn-ea"/>
              <a:cs typeface="+mn-cs"/>
            </a:endParaRPr>
          </a:p>
          <a:p>
            <a:endParaRPr lang="en-US" dirty="0"/>
          </a:p>
        </p:txBody>
      </p:sp>
      <p:sp>
        <p:nvSpPr>
          <p:cNvPr id="4" name="Tijdelijke aanduiding voor dianummer 3">
            <a:extLst>
              <a:ext uri="{FF2B5EF4-FFF2-40B4-BE49-F238E27FC236}">
                <a16:creationId xmlns:a16="http://schemas.microsoft.com/office/drawing/2014/main" id="{DE7F4170-4822-666C-00D5-7D8711DB6265}"/>
              </a:ext>
            </a:extLst>
          </p:cNvPr>
          <p:cNvSpPr>
            <a:spLocks noGrp="1"/>
          </p:cNvSpPr>
          <p:nvPr>
            <p:ph type="sldNum" sz="quarter" idx="5"/>
          </p:nvPr>
        </p:nvSpPr>
        <p:spPr/>
        <p:txBody>
          <a:bodyPr/>
          <a:lstStyle/>
          <a:p>
            <a:fld id="{A7443C7B-F938-4CE9-A268-32817172635B}" type="slidenum">
              <a:rPr lang="en-US" smtClean="0"/>
              <a:t>32</a:t>
            </a:fld>
            <a:endParaRPr lang="en-US" dirty="0"/>
          </a:p>
        </p:txBody>
      </p:sp>
    </p:spTree>
    <p:extLst>
      <p:ext uri="{BB962C8B-B14F-4D97-AF65-F5344CB8AC3E}">
        <p14:creationId xmlns:p14="http://schemas.microsoft.com/office/powerpoint/2010/main" val="28410652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FDA137-918F-1B8C-3C7C-C2FEBA655389}"/>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D734D2A7-5F06-7F12-7E84-B147D0BA80E1}"/>
              </a:ext>
            </a:extLst>
          </p:cNvPr>
          <p:cNvSpPr>
            <a:spLocks noGrp="1" noRot="1" noChangeAspect="1"/>
          </p:cNvSpPr>
          <p:nvPr>
            <p:ph type="sldImg"/>
          </p:nvPr>
        </p:nvSpPr>
        <p:spPr/>
        <p:txBody>
          <a:bodyPr/>
          <a:lstStyle/>
          <a:p>
            <a:endParaRPr lang="en-GB" dirty="0"/>
          </a:p>
        </p:txBody>
      </p:sp>
      <p:sp>
        <p:nvSpPr>
          <p:cNvPr id="3" name="Tijdelijke aanduiding voor notities 2">
            <a:extLst>
              <a:ext uri="{FF2B5EF4-FFF2-40B4-BE49-F238E27FC236}">
                <a16:creationId xmlns:a16="http://schemas.microsoft.com/office/drawing/2014/main" id="{7A594715-933F-83FF-F1C3-7945B7098EDD}"/>
              </a:ext>
            </a:extLst>
          </p:cNvPr>
          <p:cNvSpPr>
            <a:spLocks noGrp="1"/>
          </p:cNvSpPr>
          <p:nvPr>
            <p:ph type="body" idx="1"/>
          </p:nvPr>
        </p:nvSpPr>
        <p:spPr/>
        <p:txBody>
          <a:bodyPr/>
          <a:lstStyle/>
          <a:p>
            <a:r>
              <a:rPr lang="en-GB" sz="1200" kern="1200" dirty="0">
                <a:solidFill>
                  <a:schemeClr val="tx1"/>
                </a:solidFill>
                <a:effectLst/>
                <a:latin typeface="+mn-lt"/>
                <a:ea typeface="+mn-ea"/>
                <a:cs typeface="+mn-cs"/>
              </a:rPr>
              <a:t> Many journals will require an ethics statement from ALL submissions </a:t>
            </a:r>
            <a:endParaRPr lang="en-GB" sz="1050" kern="1200" dirty="0">
              <a:solidFill>
                <a:schemeClr val="tx1"/>
              </a:solidFill>
              <a:effectLst/>
              <a:latin typeface="+mn-lt"/>
              <a:ea typeface="+mn-ea"/>
              <a:cs typeface="+mn-cs"/>
            </a:endParaRPr>
          </a:p>
          <a:p>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 And if your research has involved the study of or involvement of participants in any way, there are certain ethics considerations you should have followed:</a:t>
            </a:r>
            <a:endParaRPr lang="en-GB" sz="105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	 This includes interview, ethnographic studies, questionnaires filled in online</a:t>
            </a:r>
            <a:endParaRPr lang="en-GB" sz="105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 </a:t>
            </a:r>
            <a:endParaRPr lang="en-GB" sz="1050" kern="1200" dirty="0">
              <a:solidFill>
                <a:schemeClr val="tx1"/>
              </a:solidFill>
              <a:effectLst/>
              <a:latin typeface="+mn-lt"/>
              <a:ea typeface="+mn-ea"/>
              <a:cs typeface="+mn-cs"/>
            </a:endParaRPr>
          </a:p>
          <a:p>
            <a:r>
              <a:rPr lang="en-GB" sz="1200" b="1" kern="1200" dirty="0">
                <a:solidFill>
                  <a:schemeClr val="tx1"/>
                </a:solidFill>
                <a:effectLst/>
                <a:latin typeface="+mn-lt"/>
                <a:ea typeface="+mn-ea"/>
                <a:cs typeface="+mn-cs"/>
              </a:rPr>
              <a:t>[CLICK]</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o If this is the case, always check the journal’s policy and guide for authors for details before beginning your research.</a:t>
            </a:r>
            <a:endParaRPr lang="en-GB" sz="1050" kern="1200" dirty="0">
              <a:solidFill>
                <a:schemeClr val="tx1"/>
              </a:solidFill>
              <a:effectLst/>
              <a:latin typeface="+mn-lt"/>
              <a:ea typeface="+mn-ea"/>
              <a:cs typeface="+mn-cs"/>
            </a:endParaRPr>
          </a:p>
          <a:p>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o In general: </a:t>
            </a:r>
            <a:endParaRPr lang="en-GB" sz="105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 </a:t>
            </a:r>
            <a:endParaRPr lang="en-GB" sz="1050" kern="1200" dirty="0">
              <a:solidFill>
                <a:schemeClr val="tx1"/>
              </a:solidFill>
              <a:effectLst/>
              <a:latin typeface="+mn-lt"/>
              <a:ea typeface="+mn-ea"/>
              <a:cs typeface="+mn-cs"/>
            </a:endParaRPr>
          </a:p>
          <a:p>
            <a:pPr lvl="0"/>
            <a:r>
              <a:rPr lang="en-GB" sz="1200" kern="1200" dirty="0">
                <a:solidFill>
                  <a:schemeClr val="tx1"/>
                </a:solidFill>
                <a:effectLst/>
                <a:latin typeface="+mn-lt"/>
                <a:ea typeface="+mn-ea"/>
                <a:cs typeface="+mn-cs"/>
              </a:rPr>
              <a:t>Even if you have undertaken a desk-based study, or a study not involving people in anyway, check the journals policy, and prompts within Editorial Manager and follow the instructions </a:t>
            </a:r>
            <a:endParaRPr lang="en-GB" sz="1050" kern="1200" dirty="0">
              <a:solidFill>
                <a:schemeClr val="tx1"/>
              </a:solidFill>
              <a:effectLst/>
              <a:latin typeface="+mn-lt"/>
              <a:ea typeface="+mn-ea"/>
              <a:cs typeface="+mn-cs"/>
            </a:endParaRPr>
          </a:p>
          <a:p>
            <a:pPr lvl="1"/>
            <a:r>
              <a:rPr lang="en-GB" sz="1200" kern="1200" dirty="0">
                <a:solidFill>
                  <a:schemeClr val="tx1"/>
                </a:solidFill>
                <a:effectLst/>
                <a:latin typeface="+mn-lt"/>
                <a:ea typeface="+mn-ea"/>
                <a:cs typeface="+mn-cs"/>
              </a:rPr>
              <a:t>I.e. SSHO asks for all to upload a file called ethics statement, and to write “An ethics statement is not applicable for this manuscript” if that is the case </a:t>
            </a:r>
            <a:endParaRPr lang="en-GB" sz="105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 </a:t>
            </a:r>
            <a:endParaRPr lang="en-GB" sz="1050" kern="1200" dirty="0">
              <a:solidFill>
                <a:schemeClr val="tx1"/>
              </a:solidFill>
              <a:effectLst/>
              <a:latin typeface="+mn-lt"/>
              <a:ea typeface="+mn-ea"/>
              <a:cs typeface="+mn-cs"/>
            </a:endParaRPr>
          </a:p>
          <a:p>
            <a:endParaRPr lang="en-US" dirty="0"/>
          </a:p>
        </p:txBody>
      </p:sp>
      <p:sp>
        <p:nvSpPr>
          <p:cNvPr id="4" name="Tijdelijke aanduiding voor dianummer 3">
            <a:extLst>
              <a:ext uri="{FF2B5EF4-FFF2-40B4-BE49-F238E27FC236}">
                <a16:creationId xmlns:a16="http://schemas.microsoft.com/office/drawing/2014/main" id="{2CC99D1D-25F5-5EE0-1E84-9F7414B83923}"/>
              </a:ext>
            </a:extLst>
          </p:cNvPr>
          <p:cNvSpPr>
            <a:spLocks noGrp="1"/>
          </p:cNvSpPr>
          <p:nvPr>
            <p:ph type="sldNum" sz="quarter" idx="5"/>
          </p:nvPr>
        </p:nvSpPr>
        <p:spPr/>
        <p:txBody>
          <a:bodyPr/>
          <a:lstStyle/>
          <a:p>
            <a:fld id="{A7443C7B-F938-4CE9-A268-32817172635B}" type="slidenum">
              <a:rPr lang="en-US" smtClean="0"/>
              <a:t>33</a:t>
            </a:fld>
            <a:endParaRPr lang="en-US" dirty="0"/>
          </a:p>
        </p:txBody>
      </p:sp>
    </p:spTree>
    <p:extLst>
      <p:ext uri="{BB962C8B-B14F-4D97-AF65-F5344CB8AC3E}">
        <p14:creationId xmlns:p14="http://schemas.microsoft.com/office/powerpoint/2010/main" val="75882803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dirty="0"/>
          </a:p>
        </p:txBody>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So, let’s start at the beginning with a recap on what Generative AI is. Generative AI, or GenAI, refers to </a:t>
            </a:r>
            <a:r>
              <a:rPr lang="en-US" sz="1200" b="1" kern="100" dirty="0">
                <a:effectLst/>
                <a:latin typeface="Calibri" panose="020F0502020204030204" pitchFamily="34" charset="0"/>
                <a:ea typeface="Calibri" panose="020F0502020204030204" pitchFamily="34" charset="0"/>
                <a:cs typeface="Times New Roman" panose="02020603050405020304" pitchFamily="18" charset="0"/>
              </a:rPr>
              <a:t>learning algorithms</a:t>
            </a: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 that </a:t>
            </a:r>
            <a:r>
              <a:rPr lang="en-US" sz="1200" b="1" kern="100" dirty="0">
                <a:effectLst/>
                <a:latin typeface="Calibri" panose="020F0502020204030204" pitchFamily="34" charset="0"/>
                <a:ea typeface="Calibri" panose="020F0502020204030204" pitchFamily="34" charset="0"/>
                <a:cs typeface="Times New Roman" panose="02020603050405020304" pitchFamily="18" charset="0"/>
              </a:rPr>
              <a:t>make predictions</a:t>
            </a: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 and that can </a:t>
            </a:r>
            <a:r>
              <a:rPr lang="en-US" sz="1200" b="1" kern="100" dirty="0">
                <a:effectLst/>
                <a:latin typeface="Calibri" panose="020F0502020204030204" pitchFamily="34" charset="0"/>
                <a:ea typeface="Calibri" panose="020F0502020204030204" pitchFamily="34" charset="0"/>
                <a:cs typeface="Times New Roman" panose="02020603050405020304" pitchFamily="18" charset="0"/>
              </a:rPr>
              <a:t>generate new content</a:t>
            </a: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 if you feed it input, also known as a prompt.</a:t>
            </a:r>
          </a:p>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An LLM predicts the likelihood of a word given the previous words in a text, and then generates new text that is often indistinguishable from human text and can sound very authoritative. But the model can generate output that is incorrect, incomplete, or biased. And that’s the reason that </a:t>
            </a:r>
            <a:r>
              <a:rPr lang="en-US" sz="1200" b="1" kern="100" dirty="0">
                <a:effectLst/>
                <a:latin typeface="Calibri" panose="020F0502020204030204" pitchFamily="34" charset="0"/>
                <a:ea typeface="Calibri" panose="020F0502020204030204" pitchFamily="34" charset="0"/>
                <a:cs typeface="Times New Roman" panose="02020603050405020304" pitchFamily="18" charset="0"/>
              </a:rPr>
              <a:t>it’s essential that this powerful and exciting technology is applied with human oversight and control.</a:t>
            </a:r>
            <a:endParaRPr lang="en-US" sz="12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Just a few words on using LLMs. It’s important to put some thought into selecting the right model for your task and providing the model with a </a:t>
            </a:r>
            <a:r>
              <a:rPr lang="en-US" sz="1200" b="1" kern="100" dirty="0">
                <a:effectLst/>
                <a:latin typeface="Calibri" panose="020F0502020204030204" pitchFamily="34" charset="0"/>
                <a:ea typeface="Calibri" panose="020F0502020204030204" pitchFamily="34" charset="0"/>
                <a:cs typeface="Times New Roman" panose="02020603050405020304" pitchFamily="18" charset="0"/>
              </a:rPr>
              <a:t>good prompt,</a:t>
            </a: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 because that will influence the quality of the output. A good prompt will typically provide the model with a role or identity, a context, a query or a task, a desired output format, and if possible, an example. </a:t>
            </a:r>
          </a:p>
          <a:p>
            <a:pPr marL="0" marR="0">
              <a:lnSpc>
                <a:spcPct val="107000"/>
              </a:lnSpc>
              <a:spcBef>
                <a:spcPts val="0"/>
              </a:spcBef>
              <a:spcAft>
                <a:spcPts val="800"/>
              </a:spcAft>
            </a:pPr>
            <a:endParaRPr lang="en-US" sz="12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As you’re using such a tool it’s also important to </a:t>
            </a:r>
            <a:r>
              <a:rPr lang="en-US" sz="1200" b="1" kern="100" dirty="0">
                <a:effectLst/>
                <a:latin typeface="Calibri" panose="020F0502020204030204" pitchFamily="34" charset="0"/>
                <a:ea typeface="Calibri" panose="020F0502020204030204" pitchFamily="34" charset="0"/>
                <a:cs typeface="Times New Roman" panose="02020603050405020304" pitchFamily="18" charset="0"/>
              </a:rPr>
              <a:t>set the temperature of the model</a:t>
            </a: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 This is usually a lever between 0 and 1. A low temperature will make the output more factual and deterministic, while a higher temperature will result in the output becoming more creative.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43C7B-F938-4CE9-A268-32817172635B}"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825222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txBody>
          <a:bodyPr/>
          <a:lstStyle/>
          <a:p>
            <a:endParaRPr lang="en-GB" dirty="0"/>
          </a:p>
        </p:txBody>
      </p:sp>
      <p:sp>
        <p:nvSpPr>
          <p:cNvPr id="3" name="Tijdelijke aanduiding voor notities 2"/>
          <p:cNvSpPr>
            <a:spLocks noGrp="1"/>
          </p:cNvSpPr>
          <p:nvPr>
            <p:ph type="body" idx="1"/>
          </p:nvPr>
        </p:nvSpPr>
        <p:spPr/>
        <p:txBody>
          <a:bodyPr/>
          <a:lstStyle/>
          <a:p>
            <a:pPr lvl="1"/>
            <a:r>
              <a:rPr lang="en-US" sz="1200" kern="1200" dirty="0">
                <a:solidFill>
                  <a:schemeClr val="tx1"/>
                </a:solidFill>
                <a:effectLst/>
                <a:latin typeface="+mn-lt"/>
                <a:ea typeface="+mn-ea"/>
                <a:cs typeface="+mn-cs"/>
              </a:rPr>
              <a:t>I will present on how to get published – walk you through the entire [process from finding a journal to the final decision and beyond </a:t>
            </a:r>
            <a:endParaRPr lang="en-GB" sz="1200" kern="1200" dirty="0">
              <a:solidFill>
                <a:schemeClr val="tx1"/>
              </a:solidFill>
              <a:effectLst/>
              <a:latin typeface="+mn-lt"/>
              <a:ea typeface="+mn-ea"/>
              <a:cs typeface="+mn-cs"/>
            </a:endParaRPr>
          </a:p>
          <a:p>
            <a:pPr lvl="1"/>
            <a:r>
              <a:rPr lang="en-GB" sz="1200" kern="1200" dirty="0">
                <a:solidFill>
                  <a:schemeClr val="tx1"/>
                </a:solidFill>
                <a:effectLst/>
                <a:latin typeface="+mn-lt"/>
                <a:ea typeface="+mn-ea"/>
                <a:cs typeface="+mn-cs"/>
              </a:rPr>
              <a:t>By the end of the session, attendees will have a clearer understanding of the publication process and be better equipped to successfully publish their research with Elsevier Open Access as well as knowing where to find useful resources .</a:t>
            </a:r>
          </a:p>
          <a:p>
            <a:pPr>
              <a:lnSpc>
                <a:spcPct val="107000"/>
              </a:lnSpc>
              <a:spcAft>
                <a:spcPts val="800"/>
              </a:spcAft>
              <a:buNone/>
            </a:pPr>
            <a:endParaRPr lang="en-GB" sz="1200" kern="100" dirty="0">
              <a:effectLst/>
              <a:latin typeface="Times New Roman" panose="02020603050405020304" pitchFamily="18" charset="0"/>
              <a:ea typeface="Calibri" panose="020F0502020204030204" pitchFamily="34" charset="0"/>
              <a:cs typeface="Times New Roman" panose="02020603050405020304" pitchFamily="18" charset="0"/>
            </a:endParaRPr>
          </a:p>
        </p:txBody>
      </p:sp>
      <p:sp>
        <p:nvSpPr>
          <p:cNvPr id="4" name="Tijdelijke aanduiding voor dianummer 3"/>
          <p:cNvSpPr>
            <a:spLocks noGrp="1"/>
          </p:cNvSpPr>
          <p:nvPr>
            <p:ph type="sldNum" sz="quarter" idx="5"/>
          </p:nvPr>
        </p:nvSpPr>
        <p:spPr/>
        <p:txBody>
          <a:bodyPr/>
          <a:lstStyle/>
          <a:p>
            <a:fld id="{A7443C7B-F938-4CE9-A268-32817172635B}" type="slidenum">
              <a:rPr lang="en-US" smtClean="0"/>
              <a:t>3</a:t>
            </a:fld>
            <a:endParaRPr lang="en-US" dirty="0"/>
          </a:p>
        </p:txBody>
      </p:sp>
    </p:spTree>
    <p:extLst>
      <p:ext uri="{BB962C8B-B14F-4D97-AF65-F5344CB8AC3E}">
        <p14:creationId xmlns:p14="http://schemas.microsoft.com/office/powerpoint/2010/main" val="58903996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dirty="0"/>
          </a:p>
        </p:txBody>
      </p:sp>
      <p:sp>
        <p:nvSpPr>
          <p:cNvPr id="3" name="Notes Placeholder 2"/>
          <p:cNvSpPr>
            <a:spLocks noGrp="1"/>
          </p:cNvSpPr>
          <p:nvPr>
            <p:ph type="body" idx="1"/>
          </p:nvPr>
        </p:nvSpPr>
        <p:spPr/>
        <p:txBody>
          <a:bodyPr/>
          <a:lstStyle/>
          <a:p>
            <a:pPr lvl="0"/>
            <a:r>
              <a:rPr lang="en-GB" sz="1200" kern="1200" dirty="0">
                <a:solidFill>
                  <a:schemeClr val="tx1"/>
                </a:solidFill>
                <a:effectLst/>
                <a:latin typeface="+mn-lt"/>
                <a:ea typeface="+mn-ea"/>
                <a:cs typeface="+mn-cs"/>
              </a:rPr>
              <a:t>AI is becoming part of many aspects of life, including research and academia </a:t>
            </a:r>
          </a:p>
          <a:p>
            <a:pPr lvl="0"/>
            <a:r>
              <a:rPr lang="en-GB" sz="1200" kern="1200" dirty="0">
                <a:solidFill>
                  <a:schemeClr val="tx1"/>
                </a:solidFill>
                <a:effectLst/>
                <a:latin typeface="+mn-lt"/>
                <a:ea typeface="+mn-ea"/>
                <a:cs typeface="+mn-cs"/>
              </a:rPr>
              <a:t>Authors are using it in their work and so we need to be aware of the negative sides, and also author responsibility when it comes to AU</a:t>
            </a:r>
          </a:p>
          <a:p>
            <a:pPr lvl="1"/>
            <a:r>
              <a:rPr lang="en-GB" sz="1200" kern="1200" dirty="0">
                <a:solidFill>
                  <a:schemeClr val="tx1"/>
                </a:solidFill>
                <a:effectLst/>
                <a:latin typeface="+mn-lt"/>
                <a:ea typeface="+mn-ea"/>
                <a:cs typeface="+mn-cs"/>
              </a:rPr>
              <a:t> There are many concerns about the technology (see slide) </a:t>
            </a:r>
          </a:p>
          <a:p>
            <a:pPr lvl="0"/>
            <a:r>
              <a:rPr lang="en-GB" sz="1200" kern="1200" dirty="0">
                <a:solidFill>
                  <a:schemeClr val="tx1"/>
                </a:solidFill>
                <a:effectLst/>
                <a:latin typeface="+mn-lt"/>
                <a:ea typeface="+mn-ea"/>
                <a:cs typeface="+mn-cs"/>
              </a:rPr>
              <a:t>And researchers often have questions such as:</a:t>
            </a:r>
          </a:p>
          <a:p>
            <a:pPr lvl="1"/>
            <a:r>
              <a:rPr lang="en-GB" sz="1100" kern="1200" dirty="0">
                <a:solidFill>
                  <a:schemeClr val="tx1"/>
                </a:solidFill>
                <a:effectLst/>
                <a:latin typeface="+mn-lt"/>
                <a:ea typeface="+mn-ea"/>
                <a:cs typeface="+mn-cs"/>
              </a:rPr>
              <a:t> </a:t>
            </a:r>
            <a:r>
              <a:rPr lang="en-GB" sz="1200" b="1" kern="1200" dirty="0">
                <a:solidFill>
                  <a:schemeClr val="tx1"/>
                </a:solidFill>
                <a:effectLst/>
                <a:latin typeface="+mn-lt"/>
                <a:ea typeface="+mn-ea"/>
                <a:cs typeface="+mn-cs"/>
              </a:rPr>
              <a:t>[CLICK] </a:t>
            </a:r>
            <a:r>
              <a:rPr lang="en-GB" sz="1200" kern="1200" dirty="0">
                <a:solidFill>
                  <a:schemeClr val="tx1"/>
                </a:solidFill>
                <a:effectLst/>
                <a:latin typeface="+mn-lt"/>
                <a:ea typeface="+mn-ea"/>
                <a:cs typeface="+mn-cs"/>
              </a:rPr>
              <a:t>“Am I allowed to use AI to research, or to write my article?” </a:t>
            </a:r>
            <a:endParaRPr lang="en-GB" sz="11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 </a:t>
            </a:r>
          </a:p>
          <a:p>
            <a:pPr lvl="1"/>
            <a:r>
              <a:rPr lang="en-GB" sz="1200" b="1" kern="1200" dirty="0">
                <a:solidFill>
                  <a:schemeClr val="tx1"/>
                </a:solidFill>
                <a:effectLst/>
                <a:latin typeface="+mn-lt"/>
                <a:ea typeface="+mn-ea"/>
                <a:cs typeface="+mn-cs"/>
              </a:rPr>
              <a:t>[CLICK] </a:t>
            </a:r>
            <a:r>
              <a:rPr lang="en-GB" sz="1200" kern="1200" dirty="0">
                <a:solidFill>
                  <a:schemeClr val="tx1"/>
                </a:solidFill>
                <a:effectLst/>
                <a:latin typeface="+mn-lt"/>
                <a:ea typeface="+mn-ea"/>
                <a:cs typeface="+mn-cs"/>
              </a:rPr>
              <a:t>“How do I disclose AI use?”</a:t>
            </a:r>
            <a:endParaRPr lang="en-GB" sz="11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 </a:t>
            </a:r>
          </a:p>
          <a:p>
            <a:r>
              <a:rPr lang="en-GB" sz="1200" kern="1200" dirty="0">
                <a:solidFill>
                  <a:schemeClr val="tx1"/>
                </a:solidFill>
                <a:effectLst/>
                <a:latin typeface="+mn-lt"/>
                <a:ea typeface="+mn-ea"/>
                <a:cs typeface="+mn-cs"/>
              </a:rPr>
              <a:t> </a:t>
            </a:r>
          </a:p>
          <a:p>
            <a:pPr lvl="1"/>
            <a:r>
              <a:rPr lang="en-GB" sz="1200" b="1" kern="1200" dirty="0">
                <a:solidFill>
                  <a:schemeClr val="tx1"/>
                </a:solidFill>
                <a:effectLst/>
                <a:latin typeface="+mn-lt"/>
                <a:ea typeface="+mn-ea"/>
                <a:cs typeface="+mn-cs"/>
              </a:rPr>
              <a:t>[CLICK] </a:t>
            </a:r>
            <a:r>
              <a:rPr lang="en-GB" sz="1200" kern="1200" dirty="0">
                <a:solidFill>
                  <a:schemeClr val="tx1"/>
                </a:solidFill>
                <a:effectLst/>
                <a:latin typeface="+mn-lt"/>
                <a:ea typeface="+mn-ea"/>
                <a:cs typeface="+mn-cs"/>
              </a:rPr>
              <a:t>“Should I lost AI as a co-author on my paper?” </a:t>
            </a:r>
            <a:endParaRPr lang="en-GB" sz="1100" kern="1200" dirty="0">
              <a:solidFill>
                <a:schemeClr val="tx1"/>
              </a:solidFill>
              <a:effectLst/>
              <a:latin typeface="+mn-lt"/>
              <a:ea typeface="+mn-ea"/>
              <a:cs typeface="+mn-cs"/>
            </a:endParaRPr>
          </a:p>
          <a:p>
            <a:pPr marL="0" marR="0">
              <a:lnSpc>
                <a:spcPct val="107000"/>
              </a:lnSpc>
              <a:spcBef>
                <a:spcPts val="0"/>
              </a:spcBef>
              <a:spcAft>
                <a:spcPts val="800"/>
              </a:spcAft>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43C7B-F938-4CE9-A268-32817172635B}"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0524810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dirty="0"/>
          </a:p>
        </p:txBody>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Calibri" panose="020F0502020204030204" pitchFamily="34" charset="0"/>
              </a:rPr>
              <a:t>Our own policies on GenAI that we developed and launched in 2023 are broadly aligned with other industry stakeholders. </a:t>
            </a:r>
            <a:endParaRPr lang="en-US" sz="12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endParaRPr lang="en-US" sz="1200" kern="100" dirty="0">
              <a:effectLst/>
              <a:latin typeface="Calibri" panose="020F0502020204030204" pitchFamily="34" charset="0"/>
              <a:ea typeface="Calibri" panose="020F0502020204030204" pitchFamily="34" charset="0"/>
              <a:cs typeface="Calibri" panose="020F0502020204030204" pitchFamily="34" charset="0"/>
            </a:endParaRPr>
          </a:p>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Calibri" panose="020F0502020204030204" pitchFamily="34" charset="0"/>
              </a:rPr>
              <a:t>The </a:t>
            </a:r>
            <a:r>
              <a:rPr lang="en-US" sz="1200" b="1" kern="100" dirty="0">
                <a:effectLst/>
                <a:latin typeface="Calibri" panose="020F0502020204030204" pitchFamily="34" charset="0"/>
                <a:ea typeface="Calibri" panose="020F0502020204030204" pitchFamily="34" charset="0"/>
                <a:cs typeface="Calibri" panose="020F0502020204030204" pitchFamily="34" charset="0"/>
              </a:rPr>
              <a:t>author policy</a:t>
            </a:r>
            <a:r>
              <a:rPr lang="en-US" sz="1200" kern="100" dirty="0">
                <a:effectLst/>
                <a:latin typeface="Calibri" panose="020F0502020204030204" pitchFamily="34" charset="0"/>
                <a:ea typeface="Calibri" panose="020F0502020204030204" pitchFamily="34" charset="0"/>
                <a:cs typeface="Calibri" panose="020F0502020204030204" pitchFamily="34" charset="0"/>
              </a:rPr>
              <a:t> refers to the use of GenAI in the writing process, and not to the use of AI as part of the research process.</a:t>
            </a:r>
            <a:endParaRPr lang="en-US" sz="12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endParaRPr lang="en-US" sz="1200" kern="100" dirty="0">
              <a:effectLst/>
              <a:latin typeface="Calibri" panose="020F0502020204030204" pitchFamily="34" charset="0"/>
              <a:ea typeface="Calibri" panose="020F0502020204030204" pitchFamily="34" charset="0"/>
              <a:cs typeface="Calibri" panose="020F0502020204030204" pitchFamily="34" charset="0"/>
            </a:endParaRPr>
          </a:p>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Calibri" panose="020F0502020204030204" pitchFamily="34" charset="0"/>
              </a:rPr>
              <a:t>It states that authors should:</a:t>
            </a:r>
            <a:endParaRPr lang="en-US" sz="12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Only use GenAI to improve language and readability,</a:t>
            </a:r>
            <a:endParaRPr lang="en-US" sz="1400" dirty="0">
              <a:effectLst/>
              <a:latin typeface="Times New Roman" panose="02020603050405020304" pitchFamily="18"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Apply it with human oversight and control,</a:t>
            </a:r>
            <a:endParaRPr lang="en-US" sz="1400" dirty="0">
              <a:effectLst/>
              <a:latin typeface="Times New Roman" panose="02020603050405020304" pitchFamily="18"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Disclose the use of GenAI in the paper, and</a:t>
            </a:r>
            <a:endParaRPr lang="en-US" sz="1400" dirty="0">
              <a:effectLst/>
              <a:latin typeface="Times New Roman" panose="02020603050405020304" pitchFamily="18"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Not list GenAI as a co-author or cite it as an author.</a:t>
            </a:r>
            <a:endParaRPr lang="en-US" sz="1400" dirty="0">
              <a:effectLst/>
              <a:latin typeface="Times New Roman" panose="02020603050405020304" pitchFamily="18" charset="0"/>
              <a:ea typeface="Calibri" panose="020F0502020204030204" pitchFamily="34" charset="0"/>
              <a:cs typeface="Times New Roman" panose="02020603050405020304" pitchFamily="18" charset="0"/>
            </a:endParaRPr>
          </a:p>
          <a:p>
            <a:pPr marL="457200" marR="0">
              <a:spcBef>
                <a:spcPts val="0"/>
              </a:spcBef>
              <a:spcAft>
                <a:spcPts val="0"/>
              </a:spcAft>
            </a:pPr>
            <a:r>
              <a:rPr lang="en-US" sz="1200" dirty="0">
                <a:effectLst/>
                <a:latin typeface="Calibri" panose="020F0502020204030204" pitchFamily="34" charset="0"/>
                <a:ea typeface="Times New Roman" panose="02020603050405020304" pitchFamily="18" charset="0"/>
              </a:rPr>
              <a:t> </a:t>
            </a:r>
            <a:endParaRPr lang="en-US" sz="1400" dirty="0">
              <a:effectLst/>
              <a:latin typeface="Times New Roman" panose="02020603050405020304" pitchFamily="18" charset="0"/>
              <a:ea typeface="Times New Roman" panose="02020603050405020304" pitchFamily="18" charset="0"/>
            </a:endParaRPr>
          </a:p>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Calibri" panose="020F0502020204030204" pitchFamily="34" charset="0"/>
              </a:rPr>
              <a:t>The policy for </a:t>
            </a:r>
            <a:r>
              <a:rPr lang="en-US" sz="1200" b="1" kern="100" dirty="0">
                <a:effectLst/>
                <a:latin typeface="Calibri" panose="020F0502020204030204" pitchFamily="34" charset="0"/>
                <a:ea typeface="Calibri" panose="020F0502020204030204" pitchFamily="34" charset="0"/>
                <a:cs typeface="Calibri" panose="020F0502020204030204" pitchFamily="34" charset="0"/>
              </a:rPr>
              <a:t>reviewers and editors</a:t>
            </a:r>
            <a:r>
              <a:rPr lang="en-US" sz="1200" kern="100" dirty="0">
                <a:effectLst/>
                <a:latin typeface="Calibri" panose="020F0502020204030204" pitchFamily="34" charset="0"/>
                <a:ea typeface="Calibri" panose="020F0502020204030204" pitchFamily="34" charset="0"/>
                <a:cs typeface="Calibri" panose="020F0502020204030204" pitchFamily="34" charset="0"/>
              </a:rPr>
              <a:t> focuses on protecting the author’s rights and keeping the manuscript confidential. So, critically, reviewers and editors should:</a:t>
            </a:r>
            <a:endParaRPr lang="en-US" sz="12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Not upload the manuscript into an AI tool</a:t>
            </a:r>
            <a:endParaRPr lang="en-US" sz="1400" dirty="0">
              <a:effectLst/>
              <a:latin typeface="Times New Roman" panose="02020603050405020304" pitchFamily="18"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And the same goes for other documents that may contain information about the paper, including the peer review report and any editorial notification letters.</a:t>
            </a:r>
            <a:endParaRPr lang="en-US" sz="1400" dirty="0">
              <a:effectLst/>
              <a:latin typeface="Times New Roman" panose="02020603050405020304" pitchFamily="18"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Lastly, we don’t currently allow GenAI to be used by reviewers or editors in the review, evaluation, or decision-making process of the paper. We are actively evaluating and exploring compliant tools that enable safe and secure use, and we may revise this policy in the future.</a:t>
            </a:r>
            <a:endParaRPr lang="en-US" sz="1400" dirty="0">
              <a:effectLst/>
              <a:latin typeface="Times New Roman" panose="02020603050405020304" pitchFamily="18" charset="0"/>
              <a:ea typeface="Calibri" panose="020F0502020204030204" pitchFamily="34" charset="0"/>
              <a:cs typeface="Times New Roman" panose="02020603050405020304" pitchFamily="18" charset="0"/>
            </a:endParaRPr>
          </a:p>
          <a:p>
            <a:pPr marL="457200" marR="0">
              <a:spcBef>
                <a:spcPts val="0"/>
              </a:spcBef>
              <a:spcAft>
                <a:spcPts val="0"/>
              </a:spcAft>
            </a:pPr>
            <a:r>
              <a:rPr lang="en-US" sz="1200" dirty="0">
                <a:effectLst/>
                <a:latin typeface="Calibri" panose="020F0502020204030204" pitchFamily="34" charset="0"/>
                <a:ea typeface="Times New Roman" panose="02020603050405020304" pitchFamily="18" charset="0"/>
              </a:rPr>
              <a:t> </a:t>
            </a:r>
            <a:endParaRPr lang="en-US" sz="1400" dirty="0">
              <a:effectLst/>
              <a:latin typeface="Times New Roman" panose="02020603050405020304" pitchFamily="18" charset="0"/>
              <a:ea typeface="Times New Roman" panose="02020603050405020304" pitchFamily="18" charset="0"/>
            </a:endParaRPr>
          </a:p>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Calibri" panose="020F0502020204030204" pitchFamily="34" charset="0"/>
              </a:rPr>
              <a:t>We also have a </a:t>
            </a:r>
            <a:r>
              <a:rPr lang="en-US" sz="1200" b="1" kern="100" dirty="0">
                <a:effectLst/>
                <a:latin typeface="Calibri" panose="020F0502020204030204" pitchFamily="34" charset="0"/>
                <a:ea typeface="Calibri" panose="020F0502020204030204" pitchFamily="34" charset="0"/>
                <a:cs typeface="Calibri" panose="020F0502020204030204" pitchFamily="34" charset="0"/>
              </a:rPr>
              <a:t>policy for the use of GenAI in artwork</a:t>
            </a:r>
            <a:r>
              <a:rPr lang="en-US" sz="1200" kern="100" dirty="0">
                <a:effectLst/>
                <a:latin typeface="Calibri" panose="020F0502020204030204" pitchFamily="34" charset="0"/>
                <a:ea typeface="Calibri" panose="020F0502020204030204" pitchFamily="34" charset="0"/>
                <a:cs typeface="Calibri" panose="020F0502020204030204" pitchFamily="34" charset="0"/>
              </a:rPr>
              <a:t>, which states that:</a:t>
            </a:r>
            <a:endParaRPr lang="en-US" sz="12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We don’t allow the use of GenAI to create or alter images in submitted manuscripts</a:t>
            </a:r>
            <a:endParaRPr lang="en-US" sz="1400" dirty="0">
              <a:effectLst/>
              <a:latin typeface="Times New Roman" panose="02020603050405020304" pitchFamily="18"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The only exception is when AI is used as part of the research process, as is the case in certain research fields such as biomedical imaging, and in those cases we require a full disclosure.</a:t>
            </a:r>
            <a:endParaRPr lang="en-US" sz="1400" dirty="0">
              <a:effectLst/>
              <a:latin typeface="Times New Roman" panose="02020603050405020304" pitchFamily="18"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The use of GenAI is not permitted in the production of artwork, but in some cases it may be allowed for journal covers.</a:t>
            </a:r>
            <a:endParaRPr lang="en-US" sz="1400" dirty="0">
              <a:effectLst/>
              <a:latin typeface="Times New Roman" panose="02020603050405020304" pitchFamily="18"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Calibri" panose="020F0502020204030204" pitchFamily="34" charset="0"/>
              </a:rPr>
              <a:t> </a:t>
            </a:r>
            <a:endParaRPr lang="en-US" sz="12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Calibri" panose="020F0502020204030204" pitchFamily="34" charset="0"/>
              </a:rPr>
              <a:t>You can find all the details of the policies on our publishing ethics page.</a:t>
            </a:r>
            <a:endParaRPr lang="en-US" sz="12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43C7B-F938-4CE9-A268-32817172635B}"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8219026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1B04B3-ACA6-27C6-8864-487C6BC229F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71A30B8-DAD6-D0C9-D27A-3587B7D14EE7}"/>
              </a:ext>
            </a:extLst>
          </p:cNvPr>
          <p:cNvSpPr>
            <a:spLocks noGrp="1" noRot="1" noChangeAspect="1"/>
          </p:cNvSpPr>
          <p:nvPr>
            <p:ph type="sldImg"/>
          </p:nvPr>
        </p:nvSpPr>
        <p:spPr/>
        <p:txBody>
          <a:bodyPr/>
          <a:lstStyle/>
          <a:p>
            <a:endParaRPr lang="en-GB" dirty="0"/>
          </a:p>
        </p:txBody>
      </p:sp>
      <p:sp>
        <p:nvSpPr>
          <p:cNvPr id="3" name="Notes Placeholder 2">
            <a:extLst>
              <a:ext uri="{FF2B5EF4-FFF2-40B4-BE49-F238E27FC236}">
                <a16:creationId xmlns:a16="http://schemas.microsoft.com/office/drawing/2014/main" id="{383D4078-5132-9BE4-CC15-B6DB79F1165A}"/>
              </a:ext>
            </a:extLst>
          </p:cNvPr>
          <p:cNvSpPr>
            <a:spLocks noGrp="1"/>
          </p:cNvSpPr>
          <p:nvPr>
            <p:ph type="body" idx="1"/>
          </p:nvPr>
        </p:nvSpPr>
        <p:spPr/>
        <p:txBody>
          <a:bodyPr/>
          <a:lstStyle/>
          <a:p>
            <a:r>
              <a:rPr lang="en-GB" sz="1200" b="1" kern="1200" dirty="0">
                <a:solidFill>
                  <a:schemeClr val="tx1"/>
                </a:solidFill>
                <a:effectLst/>
                <a:latin typeface="+mn-lt"/>
                <a:ea typeface="+mn-ea"/>
                <a:cs typeface="+mn-cs"/>
              </a:rPr>
              <a:t>Moving onto the last section now, the submission journal, understanding the assessment , peer review and revisions process </a:t>
            </a:r>
            <a:endParaRPr lang="en-GB" sz="1200" kern="1200" dirty="0">
              <a:solidFill>
                <a:schemeClr val="tx1"/>
              </a:solidFill>
              <a:effectLst/>
              <a:latin typeface="+mn-lt"/>
              <a:ea typeface="+mn-ea"/>
              <a:cs typeface="+mn-cs"/>
            </a:endParaRPr>
          </a:p>
          <a:p>
            <a:pPr marL="171450" indent="-171450">
              <a:buFontTx/>
              <a:buChar char="-"/>
            </a:pPr>
            <a:endParaRPr lang="en-GB" baseline="0" dirty="0"/>
          </a:p>
        </p:txBody>
      </p:sp>
      <p:sp>
        <p:nvSpPr>
          <p:cNvPr id="4" name="Slide Number Placeholder 3">
            <a:extLst>
              <a:ext uri="{FF2B5EF4-FFF2-40B4-BE49-F238E27FC236}">
                <a16:creationId xmlns:a16="http://schemas.microsoft.com/office/drawing/2014/main" id="{F6B192B0-7C89-67C0-8728-18E67E1F2D54}"/>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C755C2-B58D-463F-9666-3FDCBEFAFBDD}" type="slidenum">
              <a:rPr kumimoji="0" lang="en-GB" sz="1800" b="0" i="0" u="none" strike="noStrike" kern="0" cap="none" spc="0" normalizeH="0" baseline="0" noProof="0" smtClean="0">
                <a:ln>
                  <a:noFill/>
                </a:ln>
                <a:solidFill>
                  <a:sysClr val="windowText" lastClr="000000"/>
                </a:solidFill>
                <a:effectLst/>
                <a:uLnTx/>
                <a:uFillTx/>
                <a:latin typeface="Times New Roman"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GB" sz="1800" b="0" i="0" u="none" strike="noStrike" kern="0" cap="none" spc="0" normalizeH="0" baseline="0" noProof="0" dirty="0">
              <a:ln>
                <a:noFill/>
              </a:ln>
              <a:solidFill>
                <a:sysClr val="windowText" lastClr="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369173420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dirty="0"/>
          </a:p>
        </p:txBody>
      </p:sp>
      <p:sp>
        <p:nvSpPr>
          <p:cNvPr id="3" name="Notes Placeholder 2"/>
          <p:cNvSpPr>
            <a:spLocks noGrp="1"/>
          </p:cNvSpPr>
          <p:nvPr>
            <p:ph type="body" idx="1"/>
          </p:nvPr>
        </p:nvSpPr>
        <p:spPr/>
        <p:txBody>
          <a:bodyPr/>
          <a:lstStyle/>
          <a:p>
            <a:pPr lvl="1"/>
            <a:r>
              <a:rPr lang="en-GB" sz="1200" kern="1200" dirty="0">
                <a:solidFill>
                  <a:schemeClr val="tx1"/>
                </a:solidFill>
                <a:effectLst/>
                <a:latin typeface="+mn-lt"/>
                <a:ea typeface="+mn-ea"/>
                <a:cs typeface="+mn-cs"/>
              </a:rPr>
              <a:t>Explain the char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43C7B-F938-4CE9-A268-32817172635B}"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946898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dirty="0"/>
          </a:p>
        </p:txBody>
      </p:sp>
      <p:sp>
        <p:nvSpPr>
          <p:cNvPr id="3" name="Notes Placeholder 2"/>
          <p:cNvSpPr>
            <a:spLocks noGrp="1"/>
          </p:cNvSpPr>
          <p:nvPr>
            <p:ph type="body" idx="1"/>
          </p:nvPr>
        </p:nvSpPr>
        <p:spPr/>
        <p:txBody>
          <a:bodyPr/>
          <a:lstStyle/>
          <a:p>
            <a:pPr marL="0" indent="0">
              <a:buFont typeface="Arial" panose="020B0604020202020204" pitchFamily="34" charset="0"/>
              <a:buNone/>
            </a:pPr>
            <a:r>
              <a:rPr lang="en-GB" baseline="0" dirty="0"/>
              <a:t>Almost all published articles go though various rounds of revision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C755C2-B58D-463F-9666-3FDCBEFAFBDD}" type="slidenum">
              <a:rPr kumimoji="0" lang="en-GB" sz="1800" b="0" i="0" u="none" strike="noStrike" kern="0" cap="none" spc="0" normalizeH="0" baseline="0" noProof="0" smtClean="0">
                <a:ln>
                  <a:noFill/>
                </a:ln>
                <a:solidFill>
                  <a:sysClr val="windowText" lastClr="000000"/>
                </a:solidFill>
                <a:effectLst/>
                <a:uLnTx/>
                <a:uFillTx/>
                <a:latin typeface="Times New Roman"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GB" sz="1800" b="0" i="0" u="none" strike="noStrike" kern="0" cap="none" spc="0" normalizeH="0" baseline="0" noProof="0" dirty="0">
              <a:ln>
                <a:noFill/>
              </a:ln>
              <a:solidFill>
                <a:sysClr val="windowText" lastClr="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366961242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dirty="0"/>
          </a:p>
        </p:txBody>
      </p:sp>
      <p:sp>
        <p:nvSpPr>
          <p:cNvPr id="3" name="Notes Placeholder 2"/>
          <p:cNvSpPr>
            <a:spLocks noGrp="1"/>
          </p:cNvSpPr>
          <p:nvPr>
            <p:ph type="body" idx="1"/>
          </p:nvPr>
        </p:nvSpPr>
        <p:spPr/>
        <p:txBody>
          <a:bodyPr/>
          <a:lstStyle/>
          <a:p>
            <a:pPr marL="0" indent="0">
              <a:buFont typeface="Arial" panose="020B0604020202020204" pitchFamily="34" charset="0"/>
              <a:buNone/>
            </a:pPr>
            <a:r>
              <a:rPr lang="en-GB" baseline="0" dirty="0"/>
              <a:t>Proof read all files carefully again.</a:t>
            </a:r>
          </a:p>
          <a:p>
            <a:pPr marL="0" indent="0">
              <a:buFont typeface="Arial" panose="020B0604020202020204" pitchFamily="34" charset="0"/>
              <a:buNone/>
            </a:pPr>
            <a:r>
              <a:rPr lang="en-GB" baseline="0" dirty="0"/>
              <a:t>Check the letter from the Editor, what is needed with the resubmit Tion – a new covering letter? Draft this in advance also and add in any comments you have for the Editor specifically </a:t>
            </a:r>
          </a:p>
          <a:p>
            <a:pPr marL="0" indent="0">
              <a:buFont typeface="Arial" panose="020B0604020202020204" pitchFamily="34" charset="0"/>
              <a:buNone/>
            </a:pPr>
            <a:endParaRPr lang="en-GB"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C755C2-B58D-463F-9666-3FDCBEFAFBDD}" type="slidenum">
              <a:rPr kumimoji="0" lang="en-GB" sz="1800" b="0" i="0" u="none" strike="noStrike" kern="0" cap="none" spc="0" normalizeH="0" baseline="0" noProof="0" smtClean="0">
                <a:ln>
                  <a:noFill/>
                </a:ln>
                <a:solidFill>
                  <a:sysClr val="windowText" lastClr="000000"/>
                </a:solidFill>
                <a:effectLst/>
                <a:uLnTx/>
                <a:uFillTx/>
                <a:latin typeface="Times New Roman"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GB" sz="1800" b="0" i="0" u="none" strike="noStrike" kern="0" cap="none" spc="0" normalizeH="0" baseline="0" noProof="0" dirty="0">
              <a:ln>
                <a:noFill/>
              </a:ln>
              <a:solidFill>
                <a:sysClr val="windowText" lastClr="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225912568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txBody>
          <a:bodyPr/>
          <a:lstStyle/>
          <a:p>
            <a:endParaRPr lang="en-GB" dirty="0"/>
          </a:p>
        </p:txBody>
      </p:sp>
      <p:sp>
        <p:nvSpPr>
          <p:cNvPr id="3" name="Tijdelijke aanduiding voor notities 2"/>
          <p:cNvSpPr>
            <a:spLocks noGrp="1"/>
          </p:cNvSpPr>
          <p:nvPr>
            <p:ph type="body" idx="1"/>
          </p:nvPr>
        </p:nvSpPr>
        <p:spPr/>
        <p:txBody>
          <a:bodyPr/>
          <a:lstStyle/>
          <a:p>
            <a:pPr eaLnBrk="1" hangingPunct="1">
              <a:buFont typeface="Wingdings" pitchFamily="2" charset="2"/>
              <a:buChar char="Ø"/>
            </a:pPr>
            <a:r>
              <a:rPr lang="en-US" dirty="0"/>
              <a:t>You</a:t>
            </a:r>
            <a:r>
              <a:rPr lang="en-US" baseline="0" dirty="0"/>
              <a:t> are in the center, but make sure the article is not only written for you, but for the reader, the publisher and the Reviewers</a:t>
            </a:r>
            <a:endParaRPr lang="en-US" dirty="0"/>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8B5E41-5FC2-49C5-ADA1-A458E21D9A4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3950858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dirty="0"/>
          </a:p>
        </p:txBody>
      </p:sp>
      <p:sp>
        <p:nvSpPr>
          <p:cNvPr id="3" name="Notes Placeholder 2"/>
          <p:cNvSpPr>
            <a:spLocks noGrp="1"/>
          </p:cNvSpPr>
          <p:nvPr>
            <p:ph type="body" idx="1"/>
          </p:nvPr>
        </p:nvSpPr>
        <p:spPr/>
        <p:txBody>
          <a:bodyPr/>
          <a:lstStyle/>
          <a:p>
            <a:r>
              <a:rPr lang="en-US" dirty="0"/>
              <a:t>Click for </a:t>
            </a:r>
            <a:r>
              <a:rPr lang="en-GB" noProof="0" dirty="0"/>
              <a:t>animat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43C7B-F938-4CE9-A268-32817172635B}"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509884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7443C7B-F938-4CE9-A268-32817172635B}" type="slidenum">
              <a:rPr lang="en-US" smtClean="0"/>
              <a:pPr/>
              <a:t>43</a:t>
            </a:fld>
            <a:endParaRPr lang="en-US" dirty="0"/>
          </a:p>
        </p:txBody>
      </p:sp>
    </p:spTree>
    <p:extLst>
      <p:ext uri="{BB962C8B-B14F-4D97-AF65-F5344CB8AC3E}">
        <p14:creationId xmlns:p14="http://schemas.microsoft.com/office/powerpoint/2010/main" val="389422331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7443C7B-F938-4CE9-A268-32817172635B}" type="slidenum">
              <a:rPr lang="en-US" smtClean="0"/>
              <a:pPr/>
              <a:t>44</a:t>
            </a:fld>
            <a:endParaRPr lang="en-US" dirty="0"/>
          </a:p>
        </p:txBody>
      </p:sp>
    </p:spTree>
    <p:extLst>
      <p:ext uri="{BB962C8B-B14F-4D97-AF65-F5344CB8AC3E}">
        <p14:creationId xmlns:p14="http://schemas.microsoft.com/office/powerpoint/2010/main" val="22119503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dirty="0"/>
          </a:p>
        </p:txBody>
      </p:sp>
      <p:sp>
        <p:nvSpPr>
          <p:cNvPr id="3" name="Notes Placeholder 2"/>
          <p:cNvSpPr>
            <a:spLocks noGrp="1"/>
          </p:cNvSpPr>
          <p:nvPr>
            <p:ph type="body" idx="1"/>
          </p:nvPr>
        </p:nvSpPr>
        <p:spPr/>
        <p:txBody>
          <a:bodyPr/>
          <a:lstStyle/>
          <a:p>
            <a:r>
              <a:rPr lang="en-GB" sz="1200" b="1" kern="1200" dirty="0">
                <a:solidFill>
                  <a:schemeClr val="tx1"/>
                </a:solidFill>
                <a:effectLst/>
                <a:latin typeface="+mn-lt"/>
                <a:ea typeface="+mn-ea"/>
                <a:cs typeface="+mn-cs"/>
              </a:rPr>
              <a:t> </a:t>
            </a:r>
            <a:endParaRPr lang="en-GB"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So, you are all here because you want to know how to successfully publish in an Elsevier journal </a:t>
            </a:r>
            <a:endParaRPr lang="en-GB"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a:t>
            </a:r>
            <a:endParaRPr lang="en-GB"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step one-</a:t>
            </a:r>
            <a:endParaRPr lang="en-GB"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decide which of the many thousands of journals to submit your article to </a:t>
            </a:r>
            <a:endParaRPr lang="en-GB"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a:t>
            </a:r>
            <a:endParaRPr lang="en-GB" sz="1200" kern="1200" dirty="0">
              <a:solidFill>
                <a:schemeClr val="tx1"/>
              </a:solidFill>
              <a:effectLst/>
              <a:latin typeface="+mn-lt"/>
              <a:ea typeface="+mn-ea"/>
              <a:cs typeface="+mn-cs"/>
            </a:endParaRPr>
          </a:p>
          <a:p>
            <a:pPr lvl="0"/>
            <a:r>
              <a:rPr lang="en-US" sz="1200" b="1" kern="1200" dirty="0">
                <a:solidFill>
                  <a:schemeClr val="tx1"/>
                </a:solidFill>
                <a:effectLst/>
                <a:latin typeface="+mn-lt"/>
                <a:ea typeface="+mn-ea"/>
                <a:cs typeface="+mn-cs"/>
              </a:rPr>
              <a:t>Critically, this should be done BEFORE you finish the research and def. before you write up. </a:t>
            </a:r>
            <a:endParaRPr lang="en-GB" sz="1200" kern="1200" dirty="0">
              <a:solidFill>
                <a:schemeClr val="tx1"/>
              </a:solidFill>
              <a:effectLst/>
              <a:latin typeface="+mn-lt"/>
              <a:ea typeface="+mn-ea"/>
              <a:cs typeface="+mn-cs"/>
            </a:endParaRPr>
          </a:p>
          <a:p>
            <a:pPr marL="171450" indent="-171450">
              <a:buFontTx/>
              <a:buChar char="-"/>
            </a:pPr>
            <a:endParaRPr lang="en-GB"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C755C2-B58D-463F-9666-3FDCBEFAFBDD}" type="slidenum">
              <a:rPr kumimoji="0" lang="en-GB" sz="1800" b="0" i="0" u="none" strike="noStrike" kern="0" cap="none" spc="0" normalizeH="0" baseline="0" noProof="0" smtClean="0">
                <a:ln>
                  <a:noFill/>
                </a:ln>
                <a:solidFill>
                  <a:sysClr val="windowText" lastClr="000000"/>
                </a:solidFill>
                <a:effectLst/>
                <a:uLnTx/>
                <a:uFillTx/>
                <a:latin typeface="Times New Roman"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800" b="0" i="0" u="none" strike="noStrike" kern="0" cap="none" spc="0" normalizeH="0" baseline="0" noProof="0" dirty="0">
              <a:ln>
                <a:noFill/>
              </a:ln>
              <a:solidFill>
                <a:sysClr val="windowText" lastClr="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82314309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dirty="0"/>
          </a:p>
        </p:txBody>
      </p:sp>
      <p:sp>
        <p:nvSpPr>
          <p:cNvPr id="3" name="Notes Placeholder 2"/>
          <p:cNvSpPr>
            <a:spLocks noGrp="1"/>
          </p:cNvSpPr>
          <p:nvPr>
            <p:ph type="body" idx="1"/>
          </p:nvPr>
        </p:nvSpPr>
        <p:spPr/>
        <p:txBody>
          <a:bodyPr/>
          <a:lstStyle/>
          <a:p>
            <a:r>
              <a:rPr lang="en-GB" dirty="0"/>
              <a:t>Ukraine Scheme help and links </a:t>
            </a:r>
          </a:p>
        </p:txBody>
      </p:sp>
      <p:sp>
        <p:nvSpPr>
          <p:cNvPr id="4" name="Slide Number Placeholder 3"/>
          <p:cNvSpPr>
            <a:spLocks noGrp="1"/>
          </p:cNvSpPr>
          <p:nvPr>
            <p:ph type="sldNum" sz="quarter" idx="5"/>
          </p:nvPr>
        </p:nvSpPr>
        <p:spPr/>
        <p:txBody>
          <a:bodyPr/>
          <a:lstStyle/>
          <a:p>
            <a:fld id="{6360EEE9-74F8-443E-B943-248CC45FAD3C}" type="slidenum">
              <a:rPr lang="en-NL" smtClean="0"/>
              <a:t>45</a:t>
            </a:fld>
            <a:endParaRPr lang="en-NL"/>
          </a:p>
        </p:txBody>
      </p:sp>
    </p:spTree>
    <p:extLst>
      <p:ext uri="{BB962C8B-B14F-4D97-AF65-F5344CB8AC3E}">
        <p14:creationId xmlns:p14="http://schemas.microsoft.com/office/powerpoint/2010/main" val="232842835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dirty="0"/>
          </a:p>
        </p:txBody>
      </p:sp>
      <p:sp>
        <p:nvSpPr>
          <p:cNvPr id="3" name="Notes Placeholder 2"/>
          <p:cNvSpPr>
            <a:spLocks noGrp="1"/>
          </p:cNvSpPr>
          <p:nvPr>
            <p:ph type="body" idx="1"/>
          </p:nvPr>
        </p:nvSpPr>
        <p:spPr/>
        <p:txBody>
          <a:bodyPr/>
          <a:lstStyle/>
          <a:p>
            <a:r>
              <a:rPr lang="en-GB" dirty="0"/>
              <a:t>Researcher Academy – introduce </a:t>
            </a:r>
          </a:p>
        </p:txBody>
      </p:sp>
      <p:sp>
        <p:nvSpPr>
          <p:cNvPr id="4" name="Slide Number Placeholder 3"/>
          <p:cNvSpPr>
            <a:spLocks noGrp="1"/>
          </p:cNvSpPr>
          <p:nvPr>
            <p:ph type="sldNum" sz="quarter" idx="5"/>
          </p:nvPr>
        </p:nvSpPr>
        <p:spPr/>
        <p:txBody>
          <a:bodyPr/>
          <a:lstStyle/>
          <a:p>
            <a:fld id="{6360EEE9-74F8-443E-B943-248CC45FAD3C}" type="slidenum">
              <a:rPr lang="en-NL" smtClean="0"/>
              <a:t>46</a:t>
            </a:fld>
            <a:endParaRPr lang="en-NL"/>
          </a:p>
        </p:txBody>
      </p:sp>
    </p:spTree>
    <p:extLst>
      <p:ext uri="{BB962C8B-B14F-4D97-AF65-F5344CB8AC3E}">
        <p14:creationId xmlns:p14="http://schemas.microsoft.com/office/powerpoint/2010/main" val="106482427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dirty="0"/>
          </a:p>
        </p:txBody>
      </p:sp>
      <p:sp>
        <p:nvSpPr>
          <p:cNvPr id="3" name="Notes Placeholder 2"/>
          <p:cNvSpPr>
            <a:spLocks noGrp="1"/>
          </p:cNvSpPr>
          <p:nvPr>
            <p:ph type="body" idx="1"/>
          </p:nvPr>
        </p:nvSpPr>
        <p:spPr/>
        <p:txBody>
          <a:bodyPr/>
          <a:lstStyle/>
          <a:p>
            <a:r>
              <a:rPr lang="en-GB" dirty="0"/>
              <a:t>Sections not only on writing and submitting, but the peer review process also </a:t>
            </a:r>
          </a:p>
        </p:txBody>
      </p:sp>
      <p:sp>
        <p:nvSpPr>
          <p:cNvPr id="4" name="Slide Number Placeholder 3"/>
          <p:cNvSpPr>
            <a:spLocks noGrp="1"/>
          </p:cNvSpPr>
          <p:nvPr>
            <p:ph type="sldNum" sz="quarter" idx="5"/>
          </p:nvPr>
        </p:nvSpPr>
        <p:spPr/>
        <p:txBody>
          <a:bodyPr/>
          <a:lstStyle/>
          <a:p>
            <a:fld id="{6360EEE9-74F8-443E-B943-248CC45FAD3C}" type="slidenum">
              <a:rPr lang="en-NL" smtClean="0"/>
              <a:t>47</a:t>
            </a:fld>
            <a:endParaRPr lang="en-NL"/>
          </a:p>
        </p:txBody>
      </p:sp>
    </p:spTree>
    <p:extLst>
      <p:ext uri="{BB962C8B-B14F-4D97-AF65-F5344CB8AC3E}">
        <p14:creationId xmlns:p14="http://schemas.microsoft.com/office/powerpoint/2010/main" val="73179685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dirty="0"/>
          </a:p>
        </p:txBody>
      </p:sp>
      <p:sp>
        <p:nvSpPr>
          <p:cNvPr id="3" name="Notes Placeholder 2"/>
          <p:cNvSpPr>
            <a:spLocks noGrp="1"/>
          </p:cNvSpPr>
          <p:nvPr>
            <p:ph type="body" idx="1"/>
          </p:nvPr>
        </p:nvSpPr>
        <p:spPr/>
        <p:txBody>
          <a:bodyPr/>
          <a:lstStyle/>
          <a:p>
            <a:r>
              <a:rPr lang="en-GB" dirty="0"/>
              <a:t>You can also register to be a reviewer for Elsevier journal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43C7B-F938-4CE9-A268-32817172635B}"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97064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dirty="0"/>
          </a:p>
        </p:txBody>
      </p:sp>
      <p:sp>
        <p:nvSpPr>
          <p:cNvPr id="3" name="Notes Placeholder 2"/>
          <p:cNvSpPr>
            <a:spLocks noGrp="1"/>
          </p:cNvSpPr>
          <p:nvPr>
            <p:ph type="body" idx="1"/>
          </p:nvPr>
        </p:nvSpPr>
        <p:spPr/>
        <p:txBody>
          <a:bodyPr/>
          <a:lstStyle/>
          <a:p>
            <a:r>
              <a:rPr lang="en-US" dirty="0">
                <a:cs typeface="Calibri"/>
              </a:rPr>
              <a:t>As well as offering discounted or waived APCs, Research 4 Life also gives free access to Institutions in Low and Middle income countries to books and journals conten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43C7B-F938-4CE9-A268-32817172635B}"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35234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dirty="0"/>
          </a:p>
        </p:txBody>
      </p:sp>
      <p:sp>
        <p:nvSpPr>
          <p:cNvPr id="3" name="Notes Placeholder 2"/>
          <p:cNvSpPr>
            <a:spLocks noGrp="1"/>
          </p:cNvSpPr>
          <p:nvPr>
            <p:ph type="body" idx="1"/>
          </p:nvPr>
        </p:nvSpPr>
        <p:spPr/>
        <p:txBody>
          <a:bodyPr/>
          <a:lstStyle/>
          <a:p>
            <a:pPr lvl="0"/>
            <a:r>
              <a:rPr lang="en-US" sz="1200" kern="1200" dirty="0">
                <a:solidFill>
                  <a:schemeClr val="tx1"/>
                </a:solidFill>
                <a:effectLst/>
                <a:latin typeface="+mn-lt"/>
                <a:ea typeface="+mn-ea"/>
                <a:cs typeface="+mn-cs"/>
              </a:rPr>
              <a:t> First thing to consider it the Journal type- in terms of the financial model </a:t>
            </a:r>
            <a:endParaRPr lang="en-GB" sz="1200" kern="1200" dirty="0">
              <a:solidFill>
                <a:schemeClr val="tx1"/>
              </a:solidFill>
              <a:effectLst/>
              <a:latin typeface="+mn-lt"/>
              <a:ea typeface="+mn-ea"/>
              <a:cs typeface="+mn-cs"/>
            </a:endParaRPr>
          </a:p>
          <a:p>
            <a:pPr lvl="1"/>
            <a:r>
              <a:rPr lang="en-US" sz="1200" b="1" i="1" kern="1200" dirty="0">
                <a:solidFill>
                  <a:schemeClr val="tx1"/>
                </a:solidFill>
                <a:effectLst/>
                <a:latin typeface="+mn-lt"/>
                <a:ea typeface="+mn-ea"/>
                <a:cs typeface="+mn-cs"/>
              </a:rPr>
              <a:t>Subscription</a:t>
            </a:r>
            <a:r>
              <a:rPr lang="en-US" sz="1200" kern="1200" dirty="0">
                <a:solidFill>
                  <a:schemeClr val="tx1"/>
                </a:solidFill>
                <a:effectLst/>
                <a:latin typeface="+mn-lt"/>
                <a:ea typeface="+mn-ea"/>
                <a:cs typeface="+mn-cs"/>
              </a:rPr>
              <a:t> versus </a:t>
            </a:r>
            <a:r>
              <a:rPr lang="en-US" sz="1200" b="1" i="1" kern="1200" dirty="0">
                <a:solidFill>
                  <a:schemeClr val="tx1"/>
                </a:solidFill>
                <a:effectLst/>
                <a:latin typeface="+mn-lt"/>
                <a:ea typeface="+mn-ea"/>
                <a:cs typeface="+mn-cs"/>
              </a:rPr>
              <a:t>Open Access</a:t>
            </a:r>
            <a:r>
              <a:rPr lang="en-US" sz="1200" kern="1200" dirty="0">
                <a:solidFill>
                  <a:schemeClr val="tx1"/>
                </a:solidFill>
                <a:effectLst/>
                <a:latin typeface="+mn-lt"/>
                <a:ea typeface="+mn-ea"/>
                <a:cs typeface="+mn-cs"/>
              </a:rPr>
              <a:t> or</a:t>
            </a:r>
            <a:r>
              <a:rPr lang="en-US" sz="1200" b="1" i="1" kern="1200" dirty="0">
                <a:solidFill>
                  <a:schemeClr val="tx1"/>
                </a:solidFill>
                <a:effectLst/>
                <a:latin typeface="+mn-lt"/>
                <a:ea typeface="+mn-ea"/>
                <a:cs typeface="+mn-cs"/>
              </a:rPr>
              <a:t> Hybrid</a:t>
            </a:r>
            <a:r>
              <a:rPr lang="en-US" sz="1200" kern="1200" dirty="0">
                <a:solidFill>
                  <a:schemeClr val="tx1"/>
                </a:solidFill>
                <a:effectLst/>
                <a:latin typeface="+mn-lt"/>
                <a:ea typeface="+mn-ea"/>
                <a:cs typeface="+mn-cs"/>
              </a:rPr>
              <a:t> </a:t>
            </a:r>
            <a:endParaRPr lang="en-GB" sz="12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This will always be clear on any journals </a:t>
            </a:r>
            <a:r>
              <a:rPr lang="en-US" sz="1200" b="1" kern="1200" dirty="0">
                <a:solidFill>
                  <a:schemeClr val="tx1"/>
                </a:solidFill>
                <a:effectLst/>
                <a:latin typeface="+mn-lt"/>
                <a:ea typeface="+mn-ea"/>
                <a:cs typeface="+mn-cs"/>
              </a:rPr>
              <a:t>home page</a:t>
            </a:r>
            <a:r>
              <a:rPr lang="en-US" sz="1200" kern="1200" dirty="0">
                <a:solidFill>
                  <a:schemeClr val="tx1"/>
                </a:solidFill>
                <a:effectLst/>
                <a:latin typeface="+mn-lt"/>
                <a:ea typeface="+mn-ea"/>
                <a:cs typeface="+mn-cs"/>
              </a:rPr>
              <a:t> </a:t>
            </a:r>
            <a:endParaRPr lang="en-GB" sz="1200" kern="1200" dirty="0">
              <a:solidFill>
                <a:schemeClr val="tx1"/>
              </a:solidFill>
              <a:effectLst/>
              <a:latin typeface="+mn-lt"/>
              <a:ea typeface="+mn-ea"/>
              <a:cs typeface="+mn-cs"/>
            </a:endParaRPr>
          </a:p>
          <a:p>
            <a:pPr lvl="2"/>
            <a:r>
              <a:rPr lang="en-US" sz="1200" kern="1200" dirty="0">
                <a:solidFill>
                  <a:schemeClr val="tx1"/>
                </a:solidFill>
                <a:effectLst/>
                <a:latin typeface="+mn-lt"/>
                <a:ea typeface="+mn-ea"/>
                <a:cs typeface="+mn-cs"/>
              </a:rPr>
              <a:t>Explain the three models BRIEFLY</a:t>
            </a:r>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43C7B-F938-4CE9-A268-32817172635B}"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55957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dirty="0"/>
          </a:p>
        </p:txBody>
      </p:sp>
      <p:sp>
        <p:nvSpPr>
          <p:cNvPr id="3" name="Notes Placeholder 2"/>
          <p:cNvSpPr>
            <a:spLocks noGrp="1"/>
          </p:cNvSpPr>
          <p:nvPr>
            <p:ph type="body" idx="1"/>
          </p:nvPr>
        </p:nvSpPr>
        <p:spPr/>
        <p:txBody>
          <a:bodyPr/>
          <a:lstStyle/>
          <a:p>
            <a:r>
              <a:rPr lang="en-GB" sz="1200" kern="1200" dirty="0">
                <a:solidFill>
                  <a:schemeClr val="tx1"/>
                </a:solidFill>
                <a:effectLst/>
                <a:latin typeface="+mn-lt"/>
                <a:ea typeface="+mn-ea"/>
                <a:cs typeface="+mn-cs"/>
              </a:rPr>
              <a:t>-</a:t>
            </a:r>
            <a:r>
              <a:rPr lang="en-GB" sz="1200" b="1" kern="1200" dirty="0">
                <a:solidFill>
                  <a:schemeClr val="tx1"/>
                </a:solidFill>
                <a:effectLst/>
                <a:latin typeface="+mn-lt"/>
                <a:ea typeface="+mn-ea"/>
                <a:cs typeface="+mn-cs"/>
              </a:rPr>
              <a:t>Importantly for this audience, Elsevier is currently waive APCs</a:t>
            </a:r>
            <a:r>
              <a:rPr lang="en-GB" sz="1200" kern="1200" dirty="0">
                <a:solidFill>
                  <a:schemeClr val="tx1"/>
                </a:solidFill>
                <a:effectLst/>
                <a:latin typeface="+mn-lt"/>
                <a:ea typeface="+mn-ea"/>
                <a:cs typeface="+mn-cs"/>
              </a:rPr>
              <a:t> for articles submitted to gold open access journals that have a </a:t>
            </a:r>
            <a:r>
              <a:rPr lang="en-GB" sz="1200" b="1" kern="1200" dirty="0">
                <a:solidFill>
                  <a:schemeClr val="tx1"/>
                </a:solidFill>
                <a:effectLst/>
                <a:latin typeface="+mn-lt"/>
                <a:ea typeface="+mn-ea"/>
                <a:cs typeface="+mn-cs"/>
              </a:rPr>
              <a:t>corresponding author with a Ukrainian affiliation</a:t>
            </a:r>
            <a:r>
              <a:rPr lang="en-GB" sz="1200" kern="1200" dirty="0">
                <a:solidFill>
                  <a:schemeClr val="tx1"/>
                </a:solidFill>
                <a:effectLst/>
                <a:latin typeface="+mn-lt"/>
                <a:ea typeface="+mn-ea"/>
                <a:cs typeface="+mn-cs"/>
              </a:rPr>
              <a:t>. The waiving is done automatically, and we will communicate that clearly to the author during the publication process.</a:t>
            </a:r>
          </a:p>
          <a:p>
            <a:r>
              <a:rPr lang="en-GB" sz="1200" b="1" kern="1200" dirty="0">
                <a:solidFill>
                  <a:schemeClr val="tx1"/>
                </a:solidFill>
                <a:effectLst/>
                <a:latin typeface="+mn-lt"/>
                <a:ea typeface="+mn-ea"/>
                <a:cs typeface="+mn-cs"/>
              </a:rPr>
              <a:t>                                                                                                                          </a:t>
            </a:r>
            <a:endParaRPr lang="en-GB" sz="1200" kern="1200" dirty="0">
              <a:solidFill>
                <a:schemeClr val="tx1"/>
              </a:solidFill>
              <a:effectLst/>
              <a:latin typeface="+mn-lt"/>
              <a:ea typeface="+mn-ea"/>
              <a:cs typeface="+mn-cs"/>
            </a:endParaRP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Green</a:t>
            </a:r>
            <a:r>
              <a:rPr lang="en-US" sz="1200" kern="1200" dirty="0">
                <a:solidFill>
                  <a:schemeClr val="tx1"/>
                </a:solidFill>
                <a:effectLst/>
                <a:latin typeface="+mn-lt"/>
                <a:ea typeface="+mn-ea"/>
                <a:cs typeface="+mn-cs"/>
              </a:rPr>
              <a:t> open access</a:t>
            </a:r>
            <a:endParaRPr lang="en-GB"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A </a:t>
            </a:r>
            <a:r>
              <a:rPr lang="en-US" sz="1200" b="1" kern="1200" dirty="0">
                <a:solidFill>
                  <a:schemeClr val="tx1"/>
                </a:solidFill>
                <a:effectLst/>
                <a:latin typeface="+mn-lt"/>
                <a:ea typeface="+mn-ea"/>
                <a:cs typeface="+mn-cs"/>
              </a:rPr>
              <a:t>version of a subscription article </a:t>
            </a:r>
            <a:r>
              <a:rPr lang="en-US" sz="1200" kern="1200" dirty="0">
                <a:solidFill>
                  <a:schemeClr val="tx1"/>
                </a:solidFill>
                <a:effectLst/>
                <a:latin typeface="+mn-lt"/>
                <a:ea typeface="+mn-ea"/>
                <a:cs typeface="+mn-cs"/>
              </a:rPr>
              <a:t>is made freely available</a:t>
            </a:r>
            <a:endParaRPr lang="en-GB"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Relies on the subscription model to continue to operate</a:t>
            </a:r>
            <a:endParaRPr lang="en-GB" sz="12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Usually after an </a:t>
            </a:r>
            <a:r>
              <a:rPr lang="en-US" sz="1200" b="1" kern="1200" dirty="0">
                <a:solidFill>
                  <a:schemeClr val="tx1"/>
                </a:solidFill>
                <a:effectLst/>
                <a:latin typeface="+mn-lt"/>
                <a:ea typeface="+mn-ea"/>
                <a:cs typeface="+mn-cs"/>
              </a:rPr>
              <a:t>embargo period</a:t>
            </a:r>
            <a:endParaRPr lang="en-GB" sz="12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Normally a draft copy of the article</a:t>
            </a:r>
            <a:endParaRPr lang="en-GB" sz="1200" kern="1200" dirty="0">
              <a:solidFill>
                <a:schemeClr val="tx1"/>
              </a:solidFill>
              <a:effectLst/>
              <a:latin typeface="+mn-lt"/>
              <a:ea typeface="+mn-ea"/>
              <a:cs typeface="+mn-cs"/>
            </a:endParaRPr>
          </a:p>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43C7B-F938-4CE9-A268-32817172635B}"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87536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E4826F-D228-651F-01F3-8F330F8C877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D58DC0-42D1-3CB7-583C-C671286E612C}"/>
              </a:ext>
            </a:extLst>
          </p:cNvPr>
          <p:cNvSpPr>
            <a:spLocks noGrp="1" noRot="1" noChangeAspect="1"/>
          </p:cNvSpPr>
          <p:nvPr>
            <p:ph type="sldImg"/>
          </p:nvPr>
        </p:nvSpPr>
        <p:spPr/>
        <p:txBody>
          <a:bodyPr/>
          <a:lstStyle/>
          <a:p>
            <a:endParaRPr lang="en-GB" dirty="0"/>
          </a:p>
        </p:txBody>
      </p:sp>
      <p:sp>
        <p:nvSpPr>
          <p:cNvPr id="3" name="Notes Placeholder 2">
            <a:extLst>
              <a:ext uri="{FF2B5EF4-FFF2-40B4-BE49-F238E27FC236}">
                <a16:creationId xmlns:a16="http://schemas.microsoft.com/office/drawing/2014/main" id="{B4FD9C9D-569A-F6C8-E868-73FD83D4A040}"/>
              </a:ext>
            </a:extLst>
          </p:cNvPr>
          <p:cNvSpPr>
            <a:spLocks noGrp="1"/>
          </p:cNvSpPr>
          <p:nvPr>
            <p:ph type="body" idx="1"/>
          </p:nvPr>
        </p:nvSpPr>
        <p:spPr/>
        <p:txBody>
          <a:bodyPr/>
          <a:lstStyle/>
          <a:p>
            <a:pPr lvl="0"/>
            <a:r>
              <a:rPr lang="en-GB" sz="1200" kern="1200" dirty="0">
                <a:solidFill>
                  <a:schemeClr val="tx1"/>
                </a:solidFill>
                <a:effectLst/>
                <a:latin typeface="+mn-lt"/>
                <a:ea typeface="+mn-ea"/>
                <a:cs typeface="+mn-cs"/>
              </a:rPr>
              <a:t>First, define your </a:t>
            </a:r>
          </a:p>
          <a:p>
            <a:pPr lvl="1"/>
            <a:r>
              <a:rPr lang="en-GB" sz="1200" b="1" kern="1200" dirty="0">
                <a:solidFill>
                  <a:schemeClr val="tx1"/>
                </a:solidFill>
                <a:effectLst/>
                <a:latin typeface="+mn-lt"/>
                <a:ea typeface="+mn-ea"/>
                <a:cs typeface="+mn-cs"/>
              </a:rPr>
              <a:t>1. Broad subject/discipline</a:t>
            </a:r>
            <a:endParaRPr lang="en-GB" sz="1200" kern="1200" dirty="0">
              <a:solidFill>
                <a:schemeClr val="tx1"/>
              </a:solidFill>
              <a:effectLst/>
              <a:latin typeface="+mn-lt"/>
              <a:ea typeface="+mn-ea"/>
              <a:cs typeface="+mn-cs"/>
            </a:endParaRPr>
          </a:p>
          <a:p>
            <a:pPr lvl="1"/>
            <a:r>
              <a:rPr lang="en-GB" sz="1200" b="1" kern="1200" dirty="0">
                <a:solidFill>
                  <a:schemeClr val="tx1"/>
                </a:solidFill>
                <a:effectLst/>
                <a:latin typeface="+mn-lt"/>
                <a:ea typeface="+mn-ea"/>
                <a:cs typeface="+mn-cs"/>
              </a:rPr>
              <a:t>1.1 Sub-discipline</a:t>
            </a:r>
            <a:endParaRPr lang="en-GB" sz="1200" kern="1200" dirty="0">
              <a:solidFill>
                <a:schemeClr val="tx1"/>
              </a:solidFill>
              <a:effectLst/>
              <a:latin typeface="+mn-lt"/>
              <a:ea typeface="+mn-ea"/>
              <a:cs typeface="+mn-cs"/>
            </a:endParaRPr>
          </a:p>
          <a:p>
            <a:pPr lvl="1"/>
            <a:r>
              <a:rPr lang="en-GB" sz="1200" b="1" kern="1200" dirty="0">
                <a:solidFill>
                  <a:schemeClr val="tx1"/>
                </a:solidFill>
                <a:effectLst/>
                <a:latin typeface="+mn-lt"/>
                <a:ea typeface="+mn-ea"/>
                <a:cs typeface="+mn-cs"/>
              </a:rPr>
              <a:t>2. Article type</a:t>
            </a:r>
            <a:r>
              <a:rPr lang="en-GB" sz="1200" kern="1200" dirty="0">
                <a:solidFill>
                  <a:schemeClr val="tx1"/>
                </a:solidFill>
                <a:effectLst/>
                <a:latin typeface="+mn-lt"/>
                <a:ea typeface="+mn-ea"/>
                <a:cs typeface="+mn-cs"/>
              </a:rPr>
              <a:t> (book review, review article, case-report, standard full length article short communication etc. etc.)</a:t>
            </a:r>
          </a:p>
          <a:p>
            <a:r>
              <a:rPr lang="en-GB" sz="1200" kern="1200" dirty="0">
                <a:solidFill>
                  <a:schemeClr val="tx1"/>
                </a:solidFill>
                <a:effectLst/>
                <a:latin typeface="+mn-lt"/>
                <a:ea typeface="+mn-ea"/>
                <a:cs typeface="+mn-cs"/>
              </a:rPr>
              <a:t> </a:t>
            </a:r>
          </a:p>
          <a:p>
            <a:r>
              <a:rPr lang="en-GB" sz="1200" kern="1200" dirty="0">
                <a:solidFill>
                  <a:schemeClr val="tx1"/>
                </a:solidFill>
                <a:effectLst/>
                <a:latin typeface="+mn-lt"/>
                <a:ea typeface="+mn-ea"/>
                <a:cs typeface="+mn-cs"/>
              </a:rPr>
              <a:t> </a:t>
            </a:r>
          </a:p>
          <a:p>
            <a:pPr lvl="0"/>
            <a:r>
              <a:rPr lang="en-GB" sz="1200" b="1" kern="1200" dirty="0">
                <a:solidFill>
                  <a:schemeClr val="tx1"/>
                </a:solidFill>
                <a:effectLst/>
                <a:latin typeface="+mn-lt"/>
                <a:ea typeface="+mn-ea"/>
                <a:cs typeface="+mn-cs"/>
              </a:rPr>
              <a:t>(1. Discipline)</a:t>
            </a:r>
            <a:endParaRPr lang="en-GB" sz="1200" kern="1200" dirty="0">
              <a:solidFill>
                <a:schemeClr val="tx1"/>
              </a:solidFill>
              <a:effectLst/>
              <a:latin typeface="+mn-lt"/>
              <a:ea typeface="+mn-ea"/>
              <a:cs typeface="+mn-cs"/>
            </a:endParaRPr>
          </a:p>
          <a:p>
            <a:pPr lvl="1"/>
            <a:r>
              <a:rPr lang="en-GB" sz="1200" kern="1200" dirty="0">
                <a:solidFill>
                  <a:schemeClr val="tx1"/>
                </a:solidFill>
                <a:effectLst/>
                <a:latin typeface="+mn-lt"/>
                <a:ea typeface="+mn-ea"/>
                <a:cs typeface="+mn-cs"/>
              </a:rPr>
              <a:t>Some journals will take </a:t>
            </a:r>
            <a:r>
              <a:rPr lang="en-GB" sz="1200" u="sng" kern="1200" dirty="0">
                <a:solidFill>
                  <a:schemeClr val="tx1"/>
                </a:solidFill>
                <a:effectLst/>
                <a:latin typeface="+mn-lt"/>
                <a:ea typeface="+mn-ea"/>
                <a:cs typeface="+mn-cs"/>
              </a:rPr>
              <a:t>all </a:t>
            </a:r>
            <a:r>
              <a:rPr lang="en-GB" sz="1200" kern="1200" dirty="0">
                <a:solidFill>
                  <a:schemeClr val="tx1"/>
                </a:solidFill>
                <a:effectLst/>
                <a:latin typeface="+mn-lt"/>
                <a:ea typeface="+mn-ea"/>
                <a:cs typeface="+mn-cs"/>
              </a:rPr>
              <a:t>Literature ,others will focus on Modern Indian Literature in English, or Feminist Literature for example </a:t>
            </a:r>
          </a:p>
          <a:p>
            <a:pPr lvl="1"/>
            <a:r>
              <a:rPr lang="en-GB" sz="1200" kern="1200" dirty="0">
                <a:solidFill>
                  <a:schemeClr val="tx1"/>
                </a:solidFill>
                <a:effectLst/>
                <a:latin typeface="+mn-lt"/>
                <a:ea typeface="+mn-ea"/>
                <a:cs typeface="+mn-cs"/>
              </a:rPr>
              <a:t>Some journals want interdisciplinary studies, others have a very specific and narrow focus </a:t>
            </a:r>
          </a:p>
          <a:p>
            <a:r>
              <a:rPr lang="en-GB" sz="1200" kern="1200" dirty="0">
                <a:solidFill>
                  <a:schemeClr val="tx1"/>
                </a:solidFill>
                <a:effectLst/>
                <a:latin typeface="+mn-lt"/>
                <a:ea typeface="+mn-ea"/>
                <a:cs typeface="+mn-cs"/>
              </a:rPr>
              <a:t> </a:t>
            </a:r>
          </a:p>
          <a:p>
            <a:pPr lvl="0"/>
            <a:r>
              <a:rPr lang="en-GB" sz="1200" b="1" kern="1200" dirty="0">
                <a:solidFill>
                  <a:schemeClr val="tx1"/>
                </a:solidFill>
                <a:effectLst/>
                <a:latin typeface="+mn-lt"/>
                <a:ea typeface="+mn-ea"/>
                <a:cs typeface="+mn-cs"/>
              </a:rPr>
              <a:t>(2. Study type)</a:t>
            </a:r>
            <a:endParaRPr lang="en-GB" sz="1200" kern="1200" dirty="0">
              <a:solidFill>
                <a:schemeClr val="tx1"/>
              </a:solidFill>
              <a:effectLst/>
              <a:latin typeface="+mn-lt"/>
              <a:ea typeface="+mn-ea"/>
              <a:cs typeface="+mn-cs"/>
            </a:endParaRPr>
          </a:p>
          <a:p>
            <a:pPr lvl="1"/>
            <a:r>
              <a:rPr lang="en-GB" sz="1200" b="1" kern="1200" dirty="0">
                <a:solidFill>
                  <a:schemeClr val="tx1"/>
                </a:solidFill>
                <a:effectLst/>
                <a:latin typeface="+mn-lt"/>
                <a:ea typeface="+mn-ea"/>
                <a:cs typeface="+mn-cs"/>
              </a:rPr>
              <a:t> </a:t>
            </a:r>
            <a:r>
              <a:rPr lang="en-GB" sz="1200" kern="1200" dirty="0">
                <a:solidFill>
                  <a:schemeClr val="tx1"/>
                </a:solidFill>
                <a:effectLst/>
                <a:latin typeface="+mn-lt"/>
                <a:ea typeface="+mn-ea"/>
                <a:cs typeface="+mn-cs"/>
              </a:rPr>
              <a:t>Is your research a Review Article, is it quantitative or qualitative? </a:t>
            </a:r>
          </a:p>
          <a:p>
            <a:pPr lvl="1"/>
            <a:r>
              <a:rPr lang="en-GB" sz="1200" kern="1200" dirty="0">
                <a:solidFill>
                  <a:schemeClr val="tx1"/>
                </a:solidFill>
                <a:effectLst/>
                <a:latin typeface="+mn-lt"/>
                <a:ea typeface="+mn-ea"/>
                <a:cs typeface="+mn-cs"/>
              </a:rPr>
              <a:t>Again, different journals accept different study types only </a:t>
            </a:r>
          </a:p>
          <a:p>
            <a:r>
              <a:rPr lang="en-GB" sz="1200" kern="1200" dirty="0">
                <a:solidFill>
                  <a:schemeClr val="tx1"/>
                </a:solidFill>
                <a:effectLst/>
                <a:latin typeface="+mn-lt"/>
                <a:ea typeface="+mn-ea"/>
                <a:cs typeface="+mn-cs"/>
              </a:rPr>
              <a:t> </a:t>
            </a:r>
          </a:p>
          <a:p>
            <a:r>
              <a:rPr lang="en-GB" sz="1200" kern="1200" dirty="0">
                <a:solidFill>
                  <a:schemeClr val="tx1"/>
                </a:solidFill>
                <a:effectLst/>
                <a:latin typeface="+mn-lt"/>
                <a:ea typeface="+mn-ea"/>
                <a:cs typeface="+mn-cs"/>
              </a:rPr>
              <a:t>Once you have this, narrow down the options </a:t>
            </a:r>
          </a:p>
          <a:p>
            <a:r>
              <a:rPr lang="en-GB" sz="1200" kern="1200" dirty="0">
                <a:solidFill>
                  <a:schemeClr val="tx1"/>
                </a:solidFill>
                <a:effectLst/>
                <a:latin typeface="+mn-lt"/>
                <a:ea typeface="+mn-ea"/>
                <a:cs typeface="+mn-cs"/>
              </a:rPr>
              <a:t>	 </a:t>
            </a:r>
          </a:p>
          <a:p>
            <a:r>
              <a:rPr lang="en-GB" sz="1200" kern="1200" dirty="0">
                <a:solidFill>
                  <a:schemeClr val="tx1"/>
                </a:solidFill>
                <a:effectLst/>
                <a:latin typeface="+mn-lt"/>
                <a:ea typeface="+mn-ea"/>
                <a:cs typeface="+mn-cs"/>
              </a:rPr>
              <a:t> </a:t>
            </a:r>
          </a:p>
          <a:p>
            <a:pPr lvl="0"/>
            <a:r>
              <a:rPr lang="en-GB" sz="1200" b="1" kern="1200" dirty="0">
                <a:solidFill>
                  <a:schemeClr val="tx1"/>
                </a:solidFill>
                <a:effectLst/>
                <a:latin typeface="+mn-lt"/>
                <a:ea typeface="+mn-ea"/>
                <a:cs typeface="+mn-cs"/>
              </a:rPr>
              <a:t>How to narrow down the options:	 </a:t>
            </a:r>
            <a:endParaRPr lang="en-GB" sz="1200" kern="1200" dirty="0">
              <a:solidFill>
                <a:schemeClr val="tx1"/>
              </a:solidFill>
              <a:effectLst/>
              <a:latin typeface="+mn-lt"/>
              <a:ea typeface="+mn-ea"/>
              <a:cs typeface="+mn-cs"/>
            </a:endParaRPr>
          </a:p>
          <a:p>
            <a:pPr lvl="1"/>
            <a:r>
              <a:rPr lang="en-GB" sz="1200" kern="1200" dirty="0">
                <a:solidFill>
                  <a:schemeClr val="tx1"/>
                </a:solidFill>
                <a:effectLst/>
                <a:latin typeface="+mn-lt"/>
                <a:ea typeface="+mn-ea"/>
                <a:cs typeface="+mn-cs"/>
              </a:rPr>
              <a:t>Look at the journals you usually use for your research, in your teaching, ask colleagues, peers, supervisors for their recommendations on where to publish your study </a:t>
            </a:r>
          </a:p>
          <a:p>
            <a:pPr lvl="2"/>
            <a:r>
              <a:rPr lang="en-GB" sz="1200" kern="1200" dirty="0">
                <a:solidFill>
                  <a:schemeClr val="tx1"/>
                </a:solidFill>
                <a:effectLst/>
                <a:latin typeface="+mn-lt"/>
                <a:ea typeface="+mn-ea"/>
                <a:cs typeface="+mn-cs"/>
              </a:rPr>
              <a:t> Considering the type and scope of your research </a:t>
            </a:r>
          </a:p>
          <a:p>
            <a:r>
              <a:rPr lang="en-GB" sz="1200" kern="1200" dirty="0">
                <a:solidFill>
                  <a:schemeClr val="tx1"/>
                </a:solidFill>
                <a:effectLst/>
                <a:latin typeface="+mn-lt"/>
                <a:ea typeface="+mn-ea"/>
                <a:cs typeface="+mn-cs"/>
              </a:rPr>
              <a:t> </a:t>
            </a:r>
          </a:p>
          <a:p>
            <a:pPr lvl="1"/>
            <a:r>
              <a:rPr lang="en-GB" sz="1200" kern="1200" dirty="0">
                <a:solidFill>
                  <a:schemeClr val="tx1"/>
                </a:solidFill>
                <a:effectLst/>
                <a:latin typeface="+mn-lt"/>
                <a:ea typeface="+mn-ea"/>
                <a:cs typeface="+mn-cs"/>
              </a:rPr>
              <a:t>Use the Elsevier journal finder to filter for options also </a:t>
            </a:r>
          </a:p>
          <a:p>
            <a:pPr lvl="2"/>
            <a:r>
              <a:rPr lang="en-GB" sz="1200" kern="1200" dirty="0">
                <a:solidFill>
                  <a:schemeClr val="tx1"/>
                </a:solidFill>
                <a:effectLst/>
                <a:latin typeface="+mn-lt"/>
                <a:ea typeface="+mn-ea"/>
                <a:cs typeface="+mn-cs"/>
              </a:rPr>
              <a:t> Do need to scrutinise the results </a:t>
            </a:r>
          </a:p>
          <a:p>
            <a:r>
              <a:rPr lang="en-GB" sz="1200" kern="1200" dirty="0">
                <a:solidFill>
                  <a:schemeClr val="tx1"/>
                </a:solidFill>
                <a:effectLst/>
                <a:latin typeface="+mn-lt"/>
                <a:ea typeface="+mn-ea"/>
                <a:cs typeface="+mn-cs"/>
              </a:rPr>
              <a:t> </a:t>
            </a:r>
          </a:p>
          <a:p>
            <a:r>
              <a:rPr lang="en-GB" sz="1200" b="1" kern="1200" dirty="0">
                <a:solidFill>
                  <a:schemeClr val="tx1"/>
                </a:solidFill>
                <a:effectLst/>
                <a:latin typeface="+mn-lt"/>
                <a:ea typeface="+mn-ea"/>
                <a:cs typeface="+mn-cs"/>
              </a:rPr>
              <a:t> </a:t>
            </a:r>
            <a:endParaRPr lang="en-GB" sz="1200" kern="1200" dirty="0">
              <a:solidFill>
                <a:schemeClr val="tx1"/>
              </a:solidFill>
              <a:effectLst/>
              <a:latin typeface="+mn-lt"/>
              <a:ea typeface="+mn-ea"/>
              <a:cs typeface="+mn-cs"/>
            </a:endParaRPr>
          </a:p>
          <a:p>
            <a:r>
              <a:rPr lang="en-GB" sz="1200" b="1" kern="1200" dirty="0">
                <a:solidFill>
                  <a:schemeClr val="tx1"/>
                </a:solidFill>
                <a:effectLst/>
                <a:latin typeface="+mn-lt"/>
                <a:ea typeface="+mn-ea"/>
                <a:cs typeface="+mn-cs"/>
              </a:rPr>
              <a:t>Then…..</a:t>
            </a:r>
            <a:endParaRPr lang="en-GB" sz="1200" kern="1200" dirty="0">
              <a:solidFill>
                <a:schemeClr val="tx1"/>
              </a:solidFill>
              <a:effectLst/>
              <a:latin typeface="+mn-lt"/>
              <a:ea typeface="+mn-ea"/>
              <a:cs typeface="+mn-cs"/>
            </a:endParaRPr>
          </a:p>
        </p:txBody>
      </p:sp>
      <p:sp>
        <p:nvSpPr>
          <p:cNvPr id="4" name="Slide Number Placeholder 3">
            <a:extLst>
              <a:ext uri="{FF2B5EF4-FFF2-40B4-BE49-F238E27FC236}">
                <a16:creationId xmlns:a16="http://schemas.microsoft.com/office/drawing/2014/main" id="{B5EBB195-5336-93CF-1EAD-C3908733559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43C7B-F938-4CE9-A268-32817172635B}"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63355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601EC4-B9B7-2784-0B8C-B522E712F6A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A382CF0-210F-CCCD-0C90-3CC6BFE3A709}"/>
              </a:ext>
            </a:extLst>
          </p:cNvPr>
          <p:cNvSpPr>
            <a:spLocks noGrp="1" noRot="1" noChangeAspect="1"/>
          </p:cNvSpPr>
          <p:nvPr>
            <p:ph type="sldImg"/>
          </p:nvPr>
        </p:nvSpPr>
        <p:spPr/>
        <p:txBody>
          <a:bodyPr/>
          <a:lstStyle/>
          <a:p>
            <a:endParaRPr lang="en-GB" dirty="0"/>
          </a:p>
        </p:txBody>
      </p:sp>
      <p:sp>
        <p:nvSpPr>
          <p:cNvPr id="3" name="Notes Placeholder 2">
            <a:extLst>
              <a:ext uri="{FF2B5EF4-FFF2-40B4-BE49-F238E27FC236}">
                <a16:creationId xmlns:a16="http://schemas.microsoft.com/office/drawing/2014/main" id="{EE8F7442-B33A-6F27-B16C-2E49BA48963B}"/>
              </a:ext>
            </a:extLst>
          </p:cNvPr>
          <p:cNvSpPr>
            <a:spLocks noGrp="1"/>
          </p:cNvSpPr>
          <p:nvPr>
            <p:ph type="body" idx="1"/>
          </p:nvPr>
        </p:nvSpPr>
        <p:spPr/>
        <p:txBody>
          <a:bodyPr/>
          <a:lstStyle/>
          <a:p>
            <a:r>
              <a:rPr lang="en-US" dirty="0">
                <a:cs typeface="Calibri"/>
              </a:rPr>
              <a:t>Draw up a short list, then look at each individually – aims and scope, frequency of issues, 0-OA or subscription) </a:t>
            </a:r>
          </a:p>
        </p:txBody>
      </p:sp>
      <p:sp>
        <p:nvSpPr>
          <p:cNvPr id="4" name="Slide Number Placeholder 3">
            <a:extLst>
              <a:ext uri="{FF2B5EF4-FFF2-40B4-BE49-F238E27FC236}">
                <a16:creationId xmlns:a16="http://schemas.microsoft.com/office/drawing/2014/main" id="{CE9A414D-7F5D-374E-AB25-8191EF70C93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43C7B-F938-4CE9-A268-32817172635B}"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42642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97642F-6C29-4438-15E7-E6C7EB3B2EB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61508CF-DFBF-F196-D7DC-A4A808F71EB8}"/>
              </a:ext>
            </a:extLst>
          </p:cNvPr>
          <p:cNvSpPr>
            <a:spLocks noGrp="1" noRot="1" noChangeAspect="1"/>
          </p:cNvSpPr>
          <p:nvPr>
            <p:ph type="sldImg"/>
          </p:nvPr>
        </p:nvSpPr>
        <p:spPr/>
        <p:txBody>
          <a:bodyPr/>
          <a:lstStyle/>
          <a:p>
            <a:endParaRPr lang="en-GB" dirty="0"/>
          </a:p>
        </p:txBody>
      </p:sp>
      <p:sp>
        <p:nvSpPr>
          <p:cNvPr id="3" name="Notes Placeholder 2">
            <a:extLst>
              <a:ext uri="{FF2B5EF4-FFF2-40B4-BE49-F238E27FC236}">
                <a16:creationId xmlns:a16="http://schemas.microsoft.com/office/drawing/2014/main" id="{C7FCA518-6508-6DD2-ACA7-CBA34014BAED}"/>
              </a:ext>
            </a:extLst>
          </p:cNvPr>
          <p:cNvSpPr>
            <a:spLocks noGrp="1"/>
          </p:cNvSpPr>
          <p:nvPr>
            <p:ph type="body" idx="1"/>
          </p:nvPr>
        </p:nvSpPr>
        <p:spPr/>
        <p:txBody>
          <a:bodyPr/>
          <a:lstStyle/>
          <a:p>
            <a:r>
              <a:rPr lang="en-US" dirty="0">
                <a:cs typeface="Calibri"/>
              </a:rPr>
              <a:t>Draw up a short list, then look at each individually – aims and scope, frequency of issues, 0-OA or subscription) </a:t>
            </a:r>
          </a:p>
        </p:txBody>
      </p:sp>
      <p:sp>
        <p:nvSpPr>
          <p:cNvPr id="4" name="Slide Number Placeholder 3">
            <a:extLst>
              <a:ext uri="{FF2B5EF4-FFF2-40B4-BE49-F238E27FC236}">
                <a16:creationId xmlns:a16="http://schemas.microsoft.com/office/drawing/2014/main" id="{A65D54EF-D356-013E-1DA5-B7C8D78DC20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43C7B-F938-4CE9-A268-32817172635B}"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151744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emf"/><Relationship Id="rId1" Type="http://schemas.openxmlformats.org/officeDocument/2006/relationships/slideMaster" Target="../slideMasters/slideMaster4.xml"/><Relationship Id="rId4" Type="http://schemas.openxmlformats.org/officeDocument/2006/relationships/image" Target="../media/image12.png"/></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4.xml"/><Relationship Id="rId4" Type="http://schemas.openxmlformats.org/officeDocument/2006/relationships/image" Target="../media/image14.png"/></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12.png"/></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5.svg"/></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2.xml"/><Relationship Id="rId5" Type="http://schemas.openxmlformats.org/officeDocument/2006/relationships/image" Target="../media/image17.png"/><Relationship Id="rId4" Type="http://schemas.openxmlformats.org/officeDocument/2006/relationships/image" Target="../media/image16.emf"/></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3.xml"/><Relationship Id="rId5" Type="http://schemas.openxmlformats.org/officeDocument/2006/relationships/image" Target="../media/image17.png"/><Relationship Id="rId4" Type="http://schemas.openxmlformats.org/officeDocument/2006/relationships/image" Target="../media/image16.em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5.xml"/><Relationship Id="rId5" Type="http://schemas.openxmlformats.org/officeDocument/2006/relationships/image" Target="../media/image17.png"/><Relationship Id="rId4" Type="http://schemas.openxmlformats.org/officeDocument/2006/relationships/image" Target="../media/image16.emf"/></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7.xml"/><Relationship Id="rId4" Type="http://schemas.openxmlformats.org/officeDocument/2006/relationships/image" Target="../media/image3.svg"/></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emf"/><Relationship Id="rId1" Type="http://schemas.openxmlformats.org/officeDocument/2006/relationships/slideMaster" Target="../slideMasters/slideMaster3.xml"/><Relationship Id="rId4" Type="http://schemas.openxmlformats.org/officeDocument/2006/relationships/image" Target="../media/image12.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3.xml"/><Relationship Id="rId4" Type="http://schemas.openxmlformats.org/officeDocument/2006/relationships/image" Target="../media/image14.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3.xml"/><Relationship Id="rId4" Type="http://schemas.openxmlformats.org/officeDocument/2006/relationships/image" Target="../media/image12.png"/></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7E221E-4E07-9EA1-351A-193FA5A021D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NL"/>
          </a:p>
        </p:txBody>
      </p:sp>
      <p:sp>
        <p:nvSpPr>
          <p:cNvPr id="3" name="Subtitle 2">
            <a:extLst>
              <a:ext uri="{FF2B5EF4-FFF2-40B4-BE49-F238E27FC236}">
                <a16:creationId xmlns:a16="http://schemas.microsoft.com/office/drawing/2014/main" id="{6BDD741B-9F6C-B34E-1754-86C2B27EA92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NL"/>
          </a:p>
        </p:txBody>
      </p:sp>
      <p:sp>
        <p:nvSpPr>
          <p:cNvPr id="4" name="Date Placeholder 3">
            <a:extLst>
              <a:ext uri="{FF2B5EF4-FFF2-40B4-BE49-F238E27FC236}">
                <a16:creationId xmlns:a16="http://schemas.microsoft.com/office/drawing/2014/main" id="{88436ED3-6896-20B0-F591-0EAC8C0AC7FF}"/>
              </a:ext>
            </a:extLst>
          </p:cNvPr>
          <p:cNvSpPr>
            <a:spLocks noGrp="1"/>
          </p:cNvSpPr>
          <p:nvPr>
            <p:ph type="dt" sz="half" idx="10"/>
          </p:nvPr>
        </p:nvSpPr>
        <p:spPr/>
        <p:txBody>
          <a:bodyPr/>
          <a:lstStyle/>
          <a:p>
            <a:fld id="{036B0891-7476-4D8C-837F-BB2F6F398C80}" type="datetimeFigureOut">
              <a:rPr lang="en-NL" smtClean="0"/>
              <a:t>10/23/2025</a:t>
            </a:fld>
            <a:endParaRPr lang="en-NL"/>
          </a:p>
        </p:txBody>
      </p:sp>
      <p:sp>
        <p:nvSpPr>
          <p:cNvPr id="5" name="Footer Placeholder 4">
            <a:extLst>
              <a:ext uri="{FF2B5EF4-FFF2-40B4-BE49-F238E27FC236}">
                <a16:creationId xmlns:a16="http://schemas.microsoft.com/office/drawing/2014/main" id="{3E18470E-28B1-EB4A-9DF4-0279B44F8BBA}"/>
              </a:ext>
            </a:extLst>
          </p:cNvPr>
          <p:cNvSpPr>
            <a:spLocks noGrp="1"/>
          </p:cNvSpPr>
          <p:nvPr>
            <p:ph type="ftr" sz="quarter" idx="11"/>
          </p:nvPr>
        </p:nvSpPr>
        <p:spPr/>
        <p:txBody>
          <a:bodyPr/>
          <a:lstStyle/>
          <a:p>
            <a:endParaRPr lang="en-NL"/>
          </a:p>
        </p:txBody>
      </p:sp>
      <p:sp>
        <p:nvSpPr>
          <p:cNvPr id="6" name="Slide Number Placeholder 5">
            <a:extLst>
              <a:ext uri="{FF2B5EF4-FFF2-40B4-BE49-F238E27FC236}">
                <a16:creationId xmlns:a16="http://schemas.microsoft.com/office/drawing/2014/main" id="{0753D53C-CC61-A07F-066E-30DD374B77DE}"/>
              </a:ext>
            </a:extLst>
          </p:cNvPr>
          <p:cNvSpPr>
            <a:spLocks noGrp="1"/>
          </p:cNvSpPr>
          <p:nvPr>
            <p:ph type="sldNum" sz="quarter" idx="12"/>
          </p:nvPr>
        </p:nvSpPr>
        <p:spPr/>
        <p:txBody>
          <a:bodyPr/>
          <a:lstStyle/>
          <a:p>
            <a:fld id="{A4C5E35F-323C-4AC9-A193-D482FFFB2350}" type="slidenum">
              <a:rPr lang="en-NL" smtClean="0"/>
              <a:t>‹#›</a:t>
            </a:fld>
            <a:endParaRPr lang="en-NL"/>
          </a:p>
        </p:txBody>
      </p:sp>
    </p:spTree>
    <p:extLst>
      <p:ext uri="{BB962C8B-B14F-4D97-AF65-F5344CB8AC3E}">
        <p14:creationId xmlns:p14="http://schemas.microsoft.com/office/powerpoint/2010/main" val="22820266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C4CCBF-4D19-193E-A76C-34C5238219A1}"/>
              </a:ext>
            </a:extLst>
          </p:cNvPr>
          <p:cNvSpPr>
            <a:spLocks noGrp="1"/>
          </p:cNvSpPr>
          <p:nvPr>
            <p:ph type="title"/>
          </p:nvPr>
        </p:nvSpPr>
        <p:spPr/>
        <p:txBody>
          <a:bodyPr/>
          <a:lstStyle/>
          <a:p>
            <a:r>
              <a:rPr lang="en-US"/>
              <a:t>Click to edit Master title style</a:t>
            </a:r>
            <a:endParaRPr lang="en-NL"/>
          </a:p>
        </p:txBody>
      </p:sp>
      <p:sp>
        <p:nvSpPr>
          <p:cNvPr id="3" name="Vertical Text Placeholder 2">
            <a:extLst>
              <a:ext uri="{FF2B5EF4-FFF2-40B4-BE49-F238E27FC236}">
                <a16:creationId xmlns:a16="http://schemas.microsoft.com/office/drawing/2014/main" id="{F1931E73-56C7-1952-EA75-1D3707173E8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
        <p:nvSpPr>
          <p:cNvPr id="4" name="Date Placeholder 3">
            <a:extLst>
              <a:ext uri="{FF2B5EF4-FFF2-40B4-BE49-F238E27FC236}">
                <a16:creationId xmlns:a16="http://schemas.microsoft.com/office/drawing/2014/main" id="{F93F71B6-4962-667E-227A-F10CA179DF4D}"/>
              </a:ext>
            </a:extLst>
          </p:cNvPr>
          <p:cNvSpPr>
            <a:spLocks noGrp="1"/>
          </p:cNvSpPr>
          <p:nvPr>
            <p:ph type="dt" sz="half" idx="10"/>
          </p:nvPr>
        </p:nvSpPr>
        <p:spPr/>
        <p:txBody>
          <a:bodyPr/>
          <a:lstStyle/>
          <a:p>
            <a:fld id="{036B0891-7476-4D8C-837F-BB2F6F398C80}" type="datetimeFigureOut">
              <a:rPr lang="en-NL" smtClean="0"/>
              <a:t>10/23/2025</a:t>
            </a:fld>
            <a:endParaRPr lang="en-NL"/>
          </a:p>
        </p:txBody>
      </p:sp>
      <p:sp>
        <p:nvSpPr>
          <p:cNvPr id="5" name="Footer Placeholder 4">
            <a:extLst>
              <a:ext uri="{FF2B5EF4-FFF2-40B4-BE49-F238E27FC236}">
                <a16:creationId xmlns:a16="http://schemas.microsoft.com/office/drawing/2014/main" id="{F08BFDE5-65A3-A615-56CD-38302836200D}"/>
              </a:ext>
            </a:extLst>
          </p:cNvPr>
          <p:cNvSpPr>
            <a:spLocks noGrp="1"/>
          </p:cNvSpPr>
          <p:nvPr>
            <p:ph type="ftr" sz="quarter" idx="11"/>
          </p:nvPr>
        </p:nvSpPr>
        <p:spPr/>
        <p:txBody>
          <a:bodyPr/>
          <a:lstStyle/>
          <a:p>
            <a:endParaRPr lang="en-NL"/>
          </a:p>
        </p:txBody>
      </p:sp>
      <p:sp>
        <p:nvSpPr>
          <p:cNvPr id="6" name="Slide Number Placeholder 5">
            <a:extLst>
              <a:ext uri="{FF2B5EF4-FFF2-40B4-BE49-F238E27FC236}">
                <a16:creationId xmlns:a16="http://schemas.microsoft.com/office/drawing/2014/main" id="{A9868808-227C-20B3-64AE-232A64EEC8F2}"/>
              </a:ext>
            </a:extLst>
          </p:cNvPr>
          <p:cNvSpPr>
            <a:spLocks noGrp="1"/>
          </p:cNvSpPr>
          <p:nvPr>
            <p:ph type="sldNum" sz="quarter" idx="12"/>
          </p:nvPr>
        </p:nvSpPr>
        <p:spPr/>
        <p:txBody>
          <a:bodyPr/>
          <a:lstStyle/>
          <a:p>
            <a:fld id="{A4C5E35F-323C-4AC9-A193-D482FFFB2350}" type="slidenum">
              <a:rPr lang="en-NL" smtClean="0"/>
              <a:t>‹#›</a:t>
            </a:fld>
            <a:endParaRPr lang="en-NL"/>
          </a:p>
        </p:txBody>
      </p:sp>
    </p:spTree>
    <p:extLst>
      <p:ext uri="{BB962C8B-B14F-4D97-AF65-F5344CB8AC3E}">
        <p14:creationId xmlns:p14="http://schemas.microsoft.com/office/powerpoint/2010/main" val="194197454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p:cSld name="Quote (white text - on dark image)">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0" y="0"/>
            <a:ext cx="12192000" cy="6858000"/>
          </a:xfrm>
          <a:prstGeom prst="rect">
            <a:avLst/>
          </a:prstGeom>
          <a:solidFill>
            <a:schemeClr val="accent6"/>
          </a:solidFill>
        </p:spPr>
        <p:txBody>
          <a:bodyPr/>
          <a:lstStyle>
            <a:lvl1pPr marL="0" indent="0" algn="ctr">
              <a:lnSpc>
                <a:spcPct val="100000"/>
              </a:lnSpc>
              <a:buNone/>
              <a:defRPr sz="2133"/>
            </a:lvl1pPr>
          </a:lstStyle>
          <a:p>
            <a:r>
              <a:rPr lang="en-US" noProof="0" dirty="0"/>
              <a:t>Drag picture into placeholder</a:t>
            </a:r>
          </a:p>
        </p:txBody>
      </p:sp>
      <p:sp>
        <p:nvSpPr>
          <p:cNvPr id="2" name="Date Placeholder 1">
            <a:extLst>
              <a:ext uri="{FF2B5EF4-FFF2-40B4-BE49-F238E27FC236}">
                <a16:creationId xmlns:a16="http://schemas.microsoft.com/office/drawing/2014/main" id="{095FDA8F-E5DE-42B3-BE10-7B8BCDC83F25}"/>
              </a:ext>
            </a:extLst>
          </p:cNvPr>
          <p:cNvSpPr>
            <a:spLocks noGrp="1"/>
          </p:cNvSpPr>
          <p:nvPr>
            <p:ph type="dt" sz="half" idx="14"/>
          </p:nvPr>
        </p:nvSpPr>
        <p:spPr/>
        <p:txBody>
          <a:bodyPr/>
          <a:lstStyle/>
          <a:p>
            <a:endParaRPr lang="en-US" dirty="0"/>
          </a:p>
        </p:txBody>
      </p:sp>
      <p:sp>
        <p:nvSpPr>
          <p:cNvPr id="3" name="Footer Placeholder 2">
            <a:extLst>
              <a:ext uri="{FF2B5EF4-FFF2-40B4-BE49-F238E27FC236}">
                <a16:creationId xmlns:a16="http://schemas.microsoft.com/office/drawing/2014/main" id="{ED6D733F-B7CE-451D-A09C-370A3D494B34}"/>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394006D7-7C1F-4025-93C7-D6BFDD015ACE}"/>
              </a:ext>
            </a:extLst>
          </p:cNvPr>
          <p:cNvSpPr>
            <a:spLocks noGrp="1"/>
          </p:cNvSpPr>
          <p:nvPr>
            <p:ph type="sldNum" sz="quarter" idx="16"/>
          </p:nvPr>
        </p:nvSpPr>
        <p:spPr/>
        <p:txBody>
          <a:bodyPr/>
          <a:lstStyle/>
          <a:p>
            <a:fld id="{82F89014-7F8D-47C1-8D79-17A715C9D2BB}" type="slidenum">
              <a:rPr lang="en-US" smtClean="0"/>
              <a:pPr/>
              <a:t>‹#›</a:t>
            </a:fld>
            <a:endParaRPr lang="en-US" dirty="0"/>
          </a:p>
        </p:txBody>
      </p:sp>
      <p:sp>
        <p:nvSpPr>
          <p:cNvPr id="7" name="Title 1">
            <a:extLst>
              <a:ext uri="{FF2B5EF4-FFF2-40B4-BE49-F238E27FC236}">
                <a16:creationId xmlns:a16="http://schemas.microsoft.com/office/drawing/2014/main" id="{C8A7EB86-3F9E-4A42-81FA-F215DE6BC51F}"/>
              </a:ext>
            </a:extLst>
          </p:cNvPr>
          <p:cNvSpPr>
            <a:spLocks noGrp="1"/>
          </p:cNvSpPr>
          <p:nvPr>
            <p:ph type="title" hasCustomPrompt="1"/>
          </p:nvPr>
        </p:nvSpPr>
        <p:spPr>
          <a:xfrm>
            <a:off x="768349" y="1113365"/>
            <a:ext cx="7987200" cy="4224000"/>
          </a:xfrm>
          <a:prstGeom prst="rect">
            <a:avLst/>
          </a:prstGeom>
        </p:spPr>
        <p:txBody>
          <a:bodyPr lIns="0" tIns="0" rIns="0">
            <a:normAutofit/>
          </a:bodyPr>
          <a:lstStyle>
            <a:lvl1pPr marL="235194" indent="-235194">
              <a:lnSpc>
                <a:spcPct val="100000"/>
              </a:lnSpc>
              <a:spcAft>
                <a:spcPts val="1600"/>
              </a:spcAft>
              <a:defRPr sz="4800" baseline="0">
                <a:solidFill>
                  <a:schemeClr val="bg1"/>
                </a:solidFill>
              </a:defRPr>
            </a:lvl1pPr>
          </a:lstStyle>
          <a:p>
            <a:r>
              <a:rPr lang="en-US"/>
              <a:t>“Quote”</a:t>
            </a:r>
          </a:p>
        </p:txBody>
      </p:sp>
    </p:spTree>
    <p:extLst>
      <p:ext uri="{BB962C8B-B14F-4D97-AF65-F5344CB8AC3E}">
        <p14:creationId xmlns:p14="http://schemas.microsoft.com/office/powerpoint/2010/main" val="2908164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p:cSld name="Quote (dark text - on light image)">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0" y="0"/>
            <a:ext cx="12192000" cy="6858000"/>
          </a:xfrm>
          <a:prstGeom prst="rect">
            <a:avLst/>
          </a:prstGeom>
          <a:solidFill>
            <a:schemeClr val="accent6"/>
          </a:solidFill>
        </p:spPr>
        <p:txBody>
          <a:bodyPr/>
          <a:lstStyle>
            <a:lvl1pPr marL="0" indent="0" algn="ctr">
              <a:lnSpc>
                <a:spcPct val="100000"/>
              </a:lnSpc>
              <a:buNone/>
              <a:defRPr sz="2133"/>
            </a:lvl1pPr>
          </a:lstStyle>
          <a:p>
            <a:r>
              <a:rPr lang="en-US" dirty="0"/>
              <a:t>Drag </a:t>
            </a:r>
            <a:r>
              <a:rPr lang="en-US" noProof="0" dirty="0"/>
              <a:t>picture</a:t>
            </a:r>
            <a:r>
              <a:rPr lang="en-US" dirty="0"/>
              <a:t> into placeholder</a:t>
            </a:r>
          </a:p>
        </p:txBody>
      </p:sp>
      <p:sp>
        <p:nvSpPr>
          <p:cNvPr id="2" name="Date Placeholder 1">
            <a:extLst>
              <a:ext uri="{FF2B5EF4-FFF2-40B4-BE49-F238E27FC236}">
                <a16:creationId xmlns:a16="http://schemas.microsoft.com/office/drawing/2014/main" id="{BB5D03DB-E24A-4B52-B9D9-B3D6DF213897}"/>
              </a:ext>
            </a:extLst>
          </p:cNvPr>
          <p:cNvSpPr>
            <a:spLocks noGrp="1"/>
          </p:cNvSpPr>
          <p:nvPr>
            <p:ph type="dt" sz="half" idx="14"/>
          </p:nvPr>
        </p:nvSpPr>
        <p:spPr/>
        <p:txBody>
          <a:bodyPr/>
          <a:lstStyle/>
          <a:p>
            <a:endParaRPr lang="en-US" dirty="0"/>
          </a:p>
        </p:txBody>
      </p:sp>
      <p:sp>
        <p:nvSpPr>
          <p:cNvPr id="3" name="Footer Placeholder 2">
            <a:extLst>
              <a:ext uri="{FF2B5EF4-FFF2-40B4-BE49-F238E27FC236}">
                <a16:creationId xmlns:a16="http://schemas.microsoft.com/office/drawing/2014/main" id="{F08D1E53-7D02-44DA-8691-6E53E6200A05}"/>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433AB17E-1E0B-4FA0-982D-17BEFEF8771F}"/>
              </a:ext>
            </a:extLst>
          </p:cNvPr>
          <p:cNvSpPr>
            <a:spLocks noGrp="1"/>
          </p:cNvSpPr>
          <p:nvPr>
            <p:ph type="sldNum" sz="quarter" idx="16"/>
          </p:nvPr>
        </p:nvSpPr>
        <p:spPr/>
        <p:txBody>
          <a:bodyPr/>
          <a:lstStyle/>
          <a:p>
            <a:fld id="{82F89014-7F8D-47C1-8D79-17A715C9D2BB}" type="slidenum">
              <a:rPr lang="en-US" smtClean="0"/>
              <a:pPr/>
              <a:t>‹#›</a:t>
            </a:fld>
            <a:endParaRPr lang="en-US" dirty="0"/>
          </a:p>
        </p:txBody>
      </p:sp>
      <p:sp>
        <p:nvSpPr>
          <p:cNvPr id="7" name="Title 1">
            <a:extLst>
              <a:ext uri="{FF2B5EF4-FFF2-40B4-BE49-F238E27FC236}">
                <a16:creationId xmlns:a16="http://schemas.microsoft.com/office/drawing/2014/main" id="{628E9124-E359-49E6-A14A-2497E35E512E}"/>
              </a:ext>
            </a:extLst>
          </p:cNvPr>
          <p:cNvSpPr>
            <a:spLocks noGrp="1"/>
          </p:cNvSpPr>
          <p:nvPr>
            <p:ph type="title" hasCustomPrompt="1"/>
          </p:nvPr>
        </p:nvSpPr>
        <p:spPr>
          <a:xfrm>
            <a:off x="768349" y="1113365"/>
            <a:ext cx="7987200" cy="4224000"/>
          </a:xfrm>
          <a:prstGeom prst="rect">
            <a:avLst/>
          </a:prstGeom>
        </p:spPr>
        <p:txBody>
          <a:bodyPr lIns="0" tIns="0" rIns="0">
            <a:normAutofit/>
          </a:bodyPr>
          <a:lstStyle>
            <a:lvl1pPr marL="235194" indent="-235194">
              <a:lnSpc>
                <a:spcPct val="100000"/>
              </a:lnSpc>
              <a:spcAft>
                <a:spcPts val="1600"/>
              </a:spcAft>
              <a:defRPr sz="4800" baseline="0">
                <a:solidFill>
                  <a:schemeClr val="tx1"/>
                </a:solidFill>
              </a:defRPr>
            </a:lvl1pPr>
          </a:lstStyle>
          <a:p>
            <a:r>
              <a:rPr lang="en-US"/>
              <a:t>“Quote”</a:t>
            </a:r>
          </a:p>
        </p:txBody>
      </p:sp>
    </p:spTree>
    <p:extLst>
      <p:ext uri="{BB962C8B-B14F-4D97-AF65-F5344CB8AC3E}">
        <p14:creationId xmlns:p14="http://schemas.microsoft.com/office/powerpoint/2010/main" val="752577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4226F7B-C707-4C07-B686-02CD29F0CADB}"/>
              </a:ext>
            </a:extLst>
          </p:cNvPr>
          <p:cNvSpPr>
            <a:spLocks noGrp="1"/>
          </p:cNvSpPr>
          <p:nvPr>
            <p:ph type="body" sz="quarter" idx="15" hasCustomPrompt="1"/>
          </p:nvPr>
        </p:nvSpPr>
        <p:spPr>
          <a:xfrm>
            <a:off x="768351" y="2593184"/>
            <a:ext cx="4944533" cy="2125837"/>
          </a:xfrm>
        </p:spPr>
        <p:txBody>
          <a:bodyPr/>
          <a:lstStyle>
            <a:lvl1pPr marL="0" indent="0">
              <a:buNone/>
              <a:tabLst/>
              <a:defRPr lang="en-US" sz="6667" kern="1200" dirty="0" smtClean="0">
                <a:solidFill>
                  <a:schemeClr val="tx1"/>
                </a:solidFill>
                <a:latin typeface="+mj-lt"/>
                <a:ea typeface="+mj-ea"/>
                <a:cs typeface="+mj-cs"/>
              </a:defRPr>
            </a:lvl1pPr>
          </a:lstStyle>
          <a:p>
            <a:pPr lvl="0"/>
            <a:r>
              <a:rPr lang="en-US"/>
              <a:t>Closing line</a:t>
            </a:r>
          </a:p>
        </p:txBody>
      </p:sp>
      <p:sp>
        <p:nvSpPr>
          <p:cNvPr id="12" name="Text Placeholder 11"/>
          <p:cNvSpPr>
            <a:spLocks noGrp="1"/>
          </p:cNvSpPr>
          <p:nvPr>
            <p:ph type="body" sz="quarter" idx="14" hasCustomPrompt="1"/>
          </p:nvPr>
        </p:nvSpPr>
        <p:spPr>
          <a:xfrm>
            <a:off x="768352" y="5774267"/>
            <a:ext cx="6816945" cy="598488"/>
          </a:xfrm>
          <a:prstGeom prst="rect">
            <a:avLst/>
          </a:prstGeom>
        </p:spPr>
        <p:txBody>
          <a:bodyPr lIns="0" tIns="0" rIns="0" bIns="0">
            <a:noAutofit/>
          </a:bodyPr>
          <a:lstStyle>
            <a:lvl1pPr marL="0" indent="0">
              <a:lnSpc>
                <a:spcPct val="100000"/>
              </a:lnSpc>
              <a:spcBef>
                <a:spcPts val="0"/>
              </a:spcBef>
              <a:buNone/>
              <a:defRPr sz="1867">
                <a:solidFill>
                  <a:schemeClr val="tx1"/>
                </a:solidFill>
              </a:defRPr>
            </a:lvl1pPr>
            <a:lvl2pPr marL="0" indent="0">
              <a:buNone/>
              <a:defRPr sz="1333"/>
            </a:lvl2pPr>
            <a:lvl3pPr marL="0" indent="0">
              <a:buNone/>
              <a:defRPr sz="1333"/>
            </a:lvl3pPr>
            <a:lvl4pPr marL="0" indent="0">
              <a:buNone/>
              <a:defRPr sz="1333"/>
            </a:lvl4pPr>
            <a:lvl5pPr marL="0" indent="0">
              <a:buNone/>
              <a:defRPr sz="1333"/>
            </a:lvl5pPr>
          </a:lstStyle>
          <a:p>
            <a:pPr lvl="0"/>
            <a:r>
              <a:rPr lang="en-US"/>
              <a:t>Department</a:t>
            </a:r>
            <a:br>
              <a:rPr lang="en-US"/>
            </a:br>
            <a:r>
              <a:rPr lang="en-US"/>
              <a:t>Date</a:t>
            </a:r>
          </a:p>
        </p:txBody>
      </p:sp>
      <p:pic>
        <p:nvPicPr>
          <p:cNvPr id="9" name="Picture 8">
            <a:extLst>
              <a:ext uri="{FF2B5EF4-FFF2-40B4-BE49-F238E27FC236}">
                <a16:creationId xmlns:a16="http://schemas.microsoft.com/office/drawing/2014/main" id="{8ED1E7E9-0B74-D54C-8C9A-067E1D0C0E9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45571" y="1711571"/>
            <a:ext cx="5146429" cy="5146429"/>
          </a:xfrm>
          <a:prstGeom prst="rect">
            <a:avLst/>
          </a:prstGeom>
        </p:spPr>
      </p:pic>
      <p:sp>
        <p:nvSpPr>
          <p:cNvPr id="7" name="Text Placeholder 9">
            <a:extLst>
              <a:ext uri="{FF2B5EF4-FFF2-40B4-BE49-F238E27FC236}">
                <a16:creationId xmlns:a16="http://schemas.microsoft.com/office/drawing/2014/main" id="{6A798CCC-F599-47BC-84EE-8CAA3D22063C}"/>
              </a:ext>
            </a:extLst>
          </p:cNvPr>
          <p:cNvSpPr>
            <a:spLocks noGrp="1"/>
          </p:cNvSpPr>
          <p:nvPr>
            <p:ph type="body" sz="quarter" idx="16" hasCustomPrompt="1"/>
          </p:nvPr>
        </p:nvSpPr>
        <p:spPr>
          <a:xfrm>
            <a:off x="768351" y="493184"/>
            <a:ext cx="736600" cy="812800"/>
          </a:xfrm>
          <a:prstGeom prst="rect">
            <a:avLst/>
          </a:prstGeom>
          <a:blipFill dpi="0"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p:spPr>
        <p:txBody>
          <a:bodyPr>
            <a:noAutofit/>
          </a:bodyPr>
          <a:lstStyle>
            <a:lvl1pPr marL="0" indent="0">
              <a:buNone/>
              <a:defRPr sz="133"/>
            </a:lvl1pPr>
          </a:lstStyle>
          <a:p>
            <a:pPr lvl="0"/>
            <a:r>
              <a:rPr lang="en-US"/>
              <a:t>.</a:t>
            </a:r>
          </a:p>
        </p:txBody>
      </p:sp>
    </p:spTree>
    <p:extLst>
      <p:ext uri="{BB962C8B-B14F-4D97-AF65-F5344CB8AC3E}">
        <p14:creationId xmlns:p14="http://schemas.microsoft.com/office/powerpoint/2010/main" val="2025066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7" name="Rectangle 6"/>
          <p:cNvSpPr/>
          <p:nvPr userDrawn="1"/>
        </p:nvSpPr>
        <p:spPr>
          <a:xfrm>
            <a:off x="0" y="107513"/>
            <a:ext cx="12192000" cy="471423"/>
          </a:xfrm>
          <a:prstGeom prst="rect">
            <a:avLst/>
          </a:prstGeom>
          <a:solidFill>
            <a:schemeClr val="bg1"/>
          </a:solidFill>
          <a:ln>
            <a:noFill/>
          </a:ln>
          <a:effectLst>
            <a:reflection endPos="0" dir="5400000" sy="-100000" algn="bl" rotWithShape="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3" name="Content Placeholder 2"/>
          <p:cNvSpPr>
            <a:spLocks noGrp="1"/>
          </p:cNvSpPr>
          <p:nvPr>
            <p:ph sz="half" idx="1"/>
          </p:nvPr>
        </p:nvSpPr>
        <p:spPr>
          <a:xfrm>
            <a:off x="609600" y="1500109"/>
            <a:ext cx="10984424" cy="4898147"/>
          </a:xfrm>
          <a:prstGeom prst="rect">
            <a:avLst/>
          </a:prstGeom>
        </p:spPr>
        <p:txBody>
          <a:bodyPr/>
          <a:lstStyle>
            <a:lvl1pPr>
              <a:defRPr sz="2000">
                <a:solidFill>
                  <a:srgbClr val="505050"/>
                </a:solidFill>
                <a:latin typeface="Arial"/>
                <a:cs typeface="Arial"/>
              </a:defRPr>
            </a:lvl1pPr>
            <a:lvl2pPr>
              <a:defRPr sz="1800">
                <a:solidFill>
                  <a:srgbClr val="505050"/>
                </a:solidFill>
                <a:latin typeface="Arial"/>
                <a:cs typeface="Arial"/>
              </a:defRPr>
            </a:lvl2pPr>
            <a:lvl3pPr>
              <a:defRPr sz="1600">
                <a:solidFill>
                  <a:srgbClr val="505050"/>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6" name="Title Placeholder 1"/>
          <p:cNvSpPr>
            <a:spLocks noGrp="1"/>
          </p:cNvSpPr>
          <p:nvPr>
            <p:ph type="title"/>
          </p:nvPr>
        </p:nvSpPr>
        <p:spPr>
          <a:xfrm>
            <a:off x="609601" y="835743"/>
            <a:ext cx="10984425" cy="380587"/>
          </a:xfrm>
          <a:prstGeom prst="rect">
            <a:avLst/>
          </a:prstGeom>
        </p:spPr>
        <p:txBody>
          <a:bodyPr vert="horz" lIns="91440" tIns="45720" rIns="91440" bIns="45720" rtlCol="0" anchor="ctr">
            <a:noAutofit/>
          </a:bodyPr>
          <a:lstStyle>
            <a:lvl1pPr algn="l">
              <a:defRPr sz="2600" b="0">
                <a:solidFill>
                  <a:srgbClr val="3AABF0"/>
                </a:solidFill>
                <a:latin typeface="+mj-lt"/>
              </a:defRPr>
            </a:lvl1pPr>
          </a:lstStyle>
          <a:p>
            <a:r>
              <a:rPr lang="en-US"/>
              <a:t>Title of Slide</a:t>
            </a:r>
          </a:p>
        </p:txBody>
      </p:sp>
      <p:sp>
        <p:nvSpPr>
          <p:cNvPr id="5" name="Slide Number Placeholder 7"/>
          <p:cNvSpPr txBox="1">
            <a:spLocks/>
          </p:cNvSpPr>
          <p:nvPr userDrawn="1"/>
        </p:nvSpPr>
        <p:spPr>
          <a:xfrm>
            <a:off x="11051653" y="6398258"/>
            <a:ext cx="783712" cy="336599"/>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800" dirty="0">
                <a:solidFill>
                  <a:srgbClr val="505050"/>
                </a:solidFill>
              </a:rPr>
              <a:t>  |  </a:t>
            </a:r>
            <a:fld id="{DA15E891-66B8-4B28-AB8F-05A4B1DE573C}" type="slidenum">
              <a:rPr lang="en-US" sz="800" smtClean="0">
                <a:solidFill>
                  <a:srgbClr val="505050"/>
                </a:solidFill>
              </a:rPr>
              <a:pPr/>
              <a:t>‹#›</a:t>
            </a:fld>
            <a:endParaRPr lang="en-US" sz="800" dirty="0">
              <a:solidFill>
                <a:srgbClr val="505050"/>
              </a:solidFill>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5053" y="96987"/>
            <a:ext cx="2694488" cy="459288"/>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24389" y="162699"/>
            <a:ext cx="1735191" cy="332743"/>
          </a:xfrm>
          <a:prstGeom prst="rect">
            <a:avLst/>
          </a:prstGeom>
        </p:spPr>
      </p:pic>
    </p:spTree>
    <p:extLst>
      <p:ext uri="{BB962C8B-B14F-4D97-AF65-F5344CB8AC3E}">
        <p14:creationId xmlns:p14="http://schemas.microsoft.com/office/powerpoint/2010/main" val="368935253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3_Title Slide 5">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609601" y="1286234"/>
            <a:ext cx="10125695" cy="1255087"/>
          </a:xfrm>
          <a:prstGeom prst="rect">
            <a:avLst/>
          </a:prstGeom>
          <a:ln>
            <a:noFill/>
          </a:ln>
        </p:spPr>
        <p:txBody>
          <a:bodyPr anchor="t"/>
          <a:lstStyle>
            <a:lvl1pPr marL="0" indent="0" algn="l">
              <a:lnSpc>
                <a:spcPct val="100000"/>
              </a:lnSpc>
              <a:buNone/>
              <a:defRPr sz="3600" baseline="0">
                <a:solidFill>
                  <a:srgbClr val="3AABF0"/>
                </a:solidFill>
                <a:latin typeface="Arial"/>
                <a:cs typeface="Aria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over Slide Title With Room For Second Line If Necessary</a:t>
            </a:r>
          </a:p>
        </p:txBody>
      </p:sp>
      <p:sp>
        <p:nvSpPr>
          <p:cNvPr id="6" name="Text Placeholder 5"/>
          <p:cNvSpPr>
            <a:spLocks noGrp="1"/>
          </p:cNvSpPr>
          <p:nvPr>
            <p:ph type="body" sz="quarter" idx="11" hasCustomPrompt="1"/>
          </p:nvPr>
        </p:nvSpPr>
        <p:spPr>
          <a:xfrm>
            <a:off x="609601" y="2816017"/>
            <a:ext cx="7296151" cy="374700"/>
          </a:xfrm>
          <a:prstGeom prst="rect">
            <a:avLst/>
          </a:prstGeom>
        </p:spPr>
        <p:txBody>
          <a:bodyPr vert="horz"/>
          <a:lstStyle>
            <a:lvl1pPr marL="0" indent="0" algn="l">
              <a:buNone/>
              <a:defRPr sz="1800">
                <a:solidFill>
                  <a:schemeClr val="bg1">
                    <a:lumMod val="95000"/>
                  </a:schemeClr>
                </a:solidFill>
              </a:defRPr>
            </a:lvl1pPr>
          </a:lstStyle>
          <a:p>
            <a:pPr lvl="0"/>
            <a:r>
              <a:rPr lang="en-US"/>
              <a:t>Subtitle of Presentation</a:t>
            </a:r>
          </a:p>
        </p:txBody>
      </p:sp>
      <p:sp>
        <p:nvSpPr>
          <p:cNvPr id="13" name="Text Placeholder 4"/>
          <p:cNvSpPr>
            <a:spLocks noGrp="1"/>
          </p:cNvSpPr>
          <p:nvPr>
            <p:ph type="body" sz="quarter" idx="12" hasCustomPrompt="1"/>
          </p:nvPr>
        </p:nvSpPr>
        <p:spPr>
          <a:xfrm>
            <a:off x="609599" y="4679770"/>
            <a:ext cx="2771344" cy="268617"/>
          </a:xfrm>
          <a:prstGeom prst="rect">
            <a:avLst/>
          </a:prstGeom>
        </p:spPr>
        <p:txBody>
          <a:bodyPr vert="horz"/>
          <a:lstStyle>
            <a:lvl1pPr marL="0" indent="0" algn="l">
              <a:buNone/>
              <a:defRPr sz="1100">
                <a:solidFill>
                  <a:schemeClr val="accent6">
                    <a:lumMod val="60000"/>
                    <a:lumOff val="40000"/>
                  </a:schemeClr>
                </a:solidFill>
                <a:latin typeface="Arial"/>
                <a:cs typeface="Arial"/>
              </a:defRPr>
            </a:lvl1pPr>
          </a:lstStyle>
          <a:p>
            <a:pPr lvl="0"/>
            <a:r>
              <a:rPr lang="en-US"/>
              <a:t>Date XX_XX_XX</a:t>
            </a:r>
          </a:p>
        </p:txBody>
      </p:sp>
      <p:sp>
        <p:nvSpPr>
          <p:cNvPr id="19" name="Text Placeholder 6"/>
          <p:cNvSpPr>
            <a:spLocks noGrp="1"/>
          </p:cNvSpPr>
          <p:nvPr>
            <p:ph type="body" sz="quarter" idx="10" hasCustomPrompt="1"/>
          </p:nvPr>
        </p:nvSpPr>
        <p:spPr>
          <a:xfrm>
            <a:off x="609599" y="4291842"/>
            <a:ext cx="5217584" cy="272407"/>
          </a:xfrm>
          <a:prstGeom prst="rect">
            <a:avLst/>
          </a:prstGeom>
        </p:spPr>
        <p:txBody>
          <a:bodyPr/>
          <a:lstStyle>
            <a:lvl1pPr marL="0" indent="0" algn="l">
              <a:buNone/>
              <a:defRPr sz="1100">
                <a:solidFill>
                  <a:schemeClr val="accent6">
                    <a:lumMod val="60000"/>
                    <a:lumOff val="40000"/>
                  </a:schemeClr>
                </a:solidFill>
                <a:latin typeface="Arial"/>
                <a:cs typeface="Arial"/>
              </a:defRPr>
            </a:lvl1pPr>
            <a:lvl2pPr marL="457189" indent="0">
              <a:buNone/>
              <a:defRPr/>
            </a:lvl2pPr>
            <a:lvl3pPr marL="914377" indent="0">
              <a:buNone/>
              <a:defRPr/>
            </a:lvl3pPr>
            <a:lvl4pPr marL="1371566" indent="0">
              <a:buNone/>
              <a:defRPr/>
            </a:lvl4pPr>
            <a:lvl5pPr marL="1828754" indent="0">
              <a:buNone/>
              <a:defRPr/>
            </a:lvl5pPr>
          </a:lstStyle>
          <a:p>
            <a:pPr lvl="0"/>
            <a:r>
              <a:rPr lang="en-US"/>
              <a:t>Presented by </a:t>
            </a:r>
            <a:r>
              <a:rPr lang="en-US" err="1"/>
              <a:t>Firstname</a:t>
            </a:r>
            <a:r>
              <a:rPr lang="en-US"/>
              <a:t> </a:t>
            </a:r>
            <a:r>
              <a:rPr lang="en-US" err="1"/>
              <a:t>Lastname</a:t>
            </a:r>
            <a:endParaRPr lang="en-US"/>
          </a:p>
        </p:txBody>
      </p:sp>
      <p:pic>
        <p:nvPicPr>
          <p:cNvPr id="33" name="Picture 32"/>
          <p:cNvPicPr>
            <a:picLocks noChangeAspect="1"/>
          </p:cNvPicPr>
          <p:nvPr userDrawn="1"/>
        </p:nvPicPr>
        <p:blipFill>
          <a:blip r:embed="rId2"/>
          <a:stretch>
            <a:fillRect/>
          </a:stretch>
        </p:blipFill>
        <p:spPr>
          <a:xfrm>
            <a:off x="740226" y="228043"/>
            <a:ext cx="2857113" cy="226995"/>
          </a:xfrm>
          <a:prstGeom prst="rect">
            <a:avLst/>
          </a:prstGeom>
        </p:spPr>
      </p:pic>
      <p:pic>
        <p:nvPicPr>
          <p:cNvPr id="36" name="Picture 35"/>
          <p:cNvPicPr>
            <a:picLocks noChangeAspect="1"/>
          </p:cNvPicPr>
          <p:nvPr userDrawn="1"/>
        </p:nvPicPr>
        <p:blipFill>
          <a:blip r:embed="rId3"/>
          <a:stretch>
            <a:fillRect/>
          </a:stretch>
        </p:blipFill>
        <p:spPr>
          <a:xfrm>
            <a:off x="10575416" y="249860"/>
            <a:ext cx="1314509" cy="147147"/>
          </a:xfrm>
          <a:prstGeom prst="rect">
            <a:avLst/>
          </a:prstGeom>
        </p:spPr>
      </p:pic>
      <p:cxnSp>
        <p:nvCxnSpPr>
          <p:cNvPr id="10" name="Straight Connector 9"/>
          <p:cNvCxnSpPr/>
          <p:nvPr userDrawn="1"/>
        </p:nvCxnSpPr>
        <p:spPr>
          <a:xfrm>
            <a:off x="0" y="6546639"/>
            <a:ext cx="12192000" cy="0"/>
          </a:xfrm>
          <a:prstGeom prst="line">
            <a:avLst/>
          </a:prstGeom>
          <a:ln w="19050">
            <a:solidFill>
              <a:srgbClr val="3AABF0"/>
            </a:solidFill>
          </a:ln>
        </p:spPr>
        <p:style>
          <a:lnRef idx="1">
            <a:schemeClr val="accent6"/>
          </a:lnRef>
          <a:fillRef idx="0">
            <a:schemeClr val="accent6"/>
          </a:fillRef>
          <a:effectRef idx="0">
            <a:schemeClr val="accent6"/>
          </a:effectRef>
          <a:fontRef idx="minor">
            <a:schemeClr val="tx1"/>
          </a:fontRef>
        </p:style>
      </p:cxnSp>
      <p:pic>
        <p:nvPicPr>
          <p:cNvPr id="11" name="Picture 10"/>
          <p:cNvPicPr>
            <a:picLocks noChangeAspect="1"/>
          </p:cNvPicPr>
          <p:nvPr userDrawn="1"/>
        </p:nvPicPr>
        <p:blipFill rotWithShape="1">
          <a:blip r:embed="rId4">
            <a:extLst>
              <a:ext uri="{28A0092B-C50C-407E-A947-70E740481C1C}">
                <a14:useLocalDpi xmlns:a14="http://schemas.microsoft.com/office/drawing/2010/main" val="0"/>
              </a:ext>
            </a:extLst>
          </a:blip>
          <a:srcRect b="38185"/>
          <a:stretch/>
        </p:blipFill>
        <p:spPr>
          <a:xfrm>
            <a:off x="0" y="5253573"/>
            <a:ext cx="12192000" cy="1604427"/>
          </a:xfrm>
          <a:prstGeom prst="rect">
            <a:avLst/>
          </a:prstGeom>
        </p:spPr>
      </p:pic>
    </p:spTree>
    <p:extLst>
      <p:ext uri="{BB962C8B-B14F-4D97-AF65-F5344CB8AC3E}">
        <p14:creationId xmlns:p14="http://schemas.microsoft.com/office/powerpoint/2010/main" val="3303628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5_Title Slide 5">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609601" y="1286234"/>
            <a:ext cx="10125695" cy="1255087"/>
          </a:xfrm>
          <a:prstGeom prst="rect">
            <a:avLst/>
          </a:prstGeom>
          <a:ln>
            <a:noFill/>
          </a:ln>
        </p:spPr>
        <p:txBody>
          <a:bodyPr anchor="t"/>
          <a:lstStyle>
            <a:lvl1pPr marL="0" indent="0" algn="l">
              <a:lnSpc>
                <a:spcPct val="100000"/>
              </a:lnSpc>
              <a:buNone/>
              <a:defRPr sz="3600" baseline="0">
                <a:solidFill>
                  <a:srgbClr val="3AABF0"/>
                </a:solidFill>
                <a:latin typeface="Arial"/>
                <a:cs typeface="Aria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over Slide Title With Room For Second Line If Necessary</a:t>
            </a:r>
          </a:p>
        </p:txBody>
      </p:sp>
      <p:sp>
        <p:nvSpPr>
          <p:cNvPr id="6" name="Text Placeholder 5"/>
          <p:cNvSpPr>
            <a:spLocks noGrp="1"/>
          </p:cNvSpPr>
          <p:nvPr>
            <p:ph type="body" sz="quarter" idx="11" hasCustomPrompt="1"/>
          </p:nvPr>
        </p:nvSpPr>
        <p:spPr>
          <a:xfrm>
            <a:off x="609601" y="2816017"/>
            <a:ext cx="7296151" cy="374700"/>
          </a:xfrm>
          <a:prstGeom prst="rect">
            <a:avLst/>
          </a:prstGeom>
        </p:spPr>
        <p:txBody>
          <a:bodyPr vert="horz"/>
          <a:lstStyle>
            <a:lvl1pPr marL="0" indent="0" algn="l">
              <a:buNone/>
              <a:defRPr sz="1800">
                <a:solidFill>
                  <a:schemeClr val="bg1">
                    <a:lumMod val="95000"/>
                  </a:schemeClr>
                </a:solidFill>
              </a:defRPr>
            </a:lvl1pPr>
          </a:lstStyle>
          <a:p>
            <a:pPr lvl="0"/>
            <a:r>
              <a:rPr lang="en-US"/>
              <a:t>Subtitle of Presentation</a:t>
            </a:r>
          </a:p>
        </p:txBody>
      </p:sp>
      <p:sp>
        <p:nvSpPr>
          <p:cNvPr id="13" name="Text Placeholder 4"/>
          <p:cNvSpPr>
            <a:spLocks noGrp="1"/>
          </p:cNvSpPr>
          <p:nvPr>
            <p:ph type="body" sz="quarter" idx="12" hasCustomPrompt="1"/>
          </p:nvPr>
        </p:nvSpPr>
        <p:spPr>
          <a:xfrm>
            <a:off x="609599" y="4679770"/>
            <a:ext cx="2771344" cy="268617"/>
          </a:xfrm>
          <a:prstGeom prst="rect">
            <a:avLst/>
          </a:prstGeom>
        </p:spPr>
        <p:txBody>
          <a:bodyPr vert="horz"/>
          <a:lstStyle>
            <a:lvl1pPr marL="0" indent="0" algn="l">
              <a:buNone/>
              <a:defRPr sz="1100">
                <a:solidFill>
                  <a:schemeClr val="bg1"/>
                </a:solidFill>
                <a:latin typeface="Arial"/>
                <a:cs typeface="Arial"/>
              </a:defRPr>
            </a:lvl1pPr>
          </a:lstStyle>
          <a:p>
            <a:pPr lvl="0"/>
            <a:r>
              <a:rPr lang="en-US"/>
              <a:t>Date XX_XX_XX</a:t>
            </a:r>
          </a:p>
        </p:txBody>
      </p:sp>
      <p:sp>
        <p:nvSpPr>
          <p:cNvPr id="19" name="Text Placeholder 6"/>
          <p:cNvSpPr>
            <a:spLocks noGrp="1"/>
          </p:cNvSpPr>
          <p:nvPr>
            <p:ph type="body" sz="quarter" idx="10" hasCustomPrompt="1"/>
          </p:nvPr>
        </p:nvSpPr>
        <p:spPr>
          <a:xfrm>
            <a:off x="609599" y="4291842"/>
            <a:ext cx="5217584" cy="272407"/>
          </a:xfrm>
          <a:prstGeom prst="rect">
            <a:avLst/>
          </a:prstGeom>
        </p:spPr>
        <p:txBody>
          <a:bodyPr/>
          <a:lstStyle>
            <a:lvl1pPr marL="0" indent="0" algn="l">
              <a:buNone/>
              <a:defRPr sz="1100">
                <a:solidFill>
                  <a:schemeClr val="bg1"/>
                </a:solidFill>
                <a:latin typeface="Arial"/>
                <a:cs typeface="Arial"/>
              </a:defRPr>
            </a:lvl1pPr>
            <a:lvl2pPr marL="457189" indent="0">
              <a:buNone/>
              <a:defRPr/>
            </a:lvl2pPr>
            <a:lvl3pPr marL="914377" indent="0">
              <a:buNone/>
              <a:defRPr/>
            </a:lvl3pPr>
            <a:lvl4pPr marL="1371566" indent="0">
              <a:buNone/>
              <a:defRPr/>
            </a:lvl4pPr>
            <a:lvl5pPr marL="1828754" indent="0">
              <a:buNone/>
              <a:defRPr/>
            </a:lvl5pPr>
          </a:lstStyle>
          <a:p>
            <a:pPr lvl="0"/>
            <a:r>
              <a:rPr lang="en-US"/>
              <a:t>Presented by </a:t>
            </a:r>
            <a:r>
              <a:rPr lang="en-US" err="1"/>
              <a:t>Firstname</a:t>
            </a:r>
            <a:r>
              <a:rPr lang="en-US"/>
              <a:t> </a:t>
            </a:r>
            <a:r>
              <a:rPr lang="en-US" err="1"/>
              <a:t>Lastname</a:t>
            </a:r>
            <a:endParaRPr lang="en-US"/>
          </a:p>
        </p:txBody>
      </p:sp>
      <p:cxnSp>
        <p:nvCxnSpPr>
          <p:cNvPr id="30" name="Straight Connector 29"/>
          <p:cNvCxnSpPr/>
          <p:nvPr userDrawn="1"/>
        </p:nvCxnSpPr>
        <p:spPr>
          <a:xfrm>
            <a:off x="0" y="6546639"/>
            <a:ext cx="12192000" cy="0"/>
          </a:xfrm>
          <a:prstGeom prst="line">
            <a:avLst/>
          </a:prstGeom>
          <a:ln w="19050">
            <a:solidFill>
              <a:srgbClr val="3AABF0"/>
            </a:solidFill>
          </a:ln>
        </p:spPr>
        <p:style>
          <a:lnRef idx="1">
            <a:schemeClr val="accent6"/>
          </a:lnRef>
          <a:fillRef idx="0">
            <a:schemeClr val="accent6"/>
          </a:fillRef>
          <a:effectRef idx="0">
            <a:schemeClr val="accent6"/>
          </a:effectRef>
          <a:fontRef idx="minor">
            <a:schemeClr val="tx1"/>
          </a:fontRef>
        </p:style>
      </p:cxnSp>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b="38185"/>
          <a:stretch/>
        </p:blipFill>
        <p:spPr>
          <a:xfrm>
            <a:off x="0" y="5253573"/>
            <a:ext cx="12192000" cy="1604427"/>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66684" y="165879"/>
            <a:ext cx="1731203" cy="331979"/>
          </a:xfrm>
          <a:prstGeom prst="rect">
            <a:avLst/>
          </a:prstGeom>
        </p:spPr>
      </p:pic>
      <p:pic>
        <p:nvPicPr>
          <p:cNvPr id="15" name="Picture 1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73069" y="65375"/>
            <a:ext cx="3198688" cy="545231"/>
          </a:xfrm>
          <a:prstGeom prst="rect">
            <a:avLst/>
          </a:prstGeom>
        </p:spPr>
      </p:pic>
    </p:spTree>
    <p:extLst>
      <p:ext uri="{BB962C8B-B14F-4D97-AF65-F5344CB8AC3E}">
        <p14:creationId xmlns:p14="http://schemas.microsoft.com/office/powerpoint/2010/main" val="3136139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11" name="Text Placeholder 10"/>
          <p:cNvSpPr>
            <a:spLocks noGrp="1"/>
          </p:cNvSpPr>
          <p:nvPr>
            <p:ph type="body" sz="quarter" idx="12" hasCustomPrompt="1"/>
          </p:nvPr>
        </p:nvSpPr>
        <p:spPr>
          <a:xfrm>
            <a:off x="609599" y="3354315"/>
            <a:ext cx="5433483" cy="474288"/>
          </a:xfrm>
          <a:prstGeom prst="rect">
            <a:avLst/>
          </a:prstGeom>
        </p:spPr>
        <p:txBody>
          <a:bodyPr vert="horz"/>
          <a:lstStyle>
            <a:lvl1pPr marL="342891" marR="0" indent="-256026" algn="l" defTabSz="457189" rtl="0" eaLnBrk="1" fontAlgn="auto" latinLnBrk="0" hangingPunct="1">
              <a:lnSpc>
                <a:spcPct val="100000"/>
              </a:lnSpc>
              <a:spcBef>
                <a:spcPct val="20000"/>
              </a:spcBef>
              <a:spcAft>
                <a:spcPts val="0"/>
              </a:spcAft>
              <a:buClrTx/>
              <a:buSzTx/>
              <a:buFont typeface="Arial"/>
              <a:buNone/>
              <a:tabLst/>
              <a:defRPr sz="1600" b="1" baseline="0">
                <a:solidFill>
                  <a:schemeClr val="bg1"/>
                </a:solidFill>
              </a:defRPr>
            </a:lvl1pPr>
            <a:lvl2pPr>
              <a:buNone/>
              <a:defRPr sz="1600"/>
            </a:lvl2pPr>
            <a:lvl3pPr>
              <a:buNone/>
              <a:defRPr sz="1600"/>
            </a:lvl3pPr>
            <a:lvl4pPr>
              <a:buNone/>
              <a:defRPr sz="1600"/>
            </a:lvl4pPr>
            <a:lvl5pPr>
              <a:buNone/>
              <a:defRPr sz="1600"/>
            </a:lvl5pPr>
          </a:lstStyle>
          <a:p>
            <a:pPr lvl="0"/>
            <a:r>
              <a:rPr lang="en-US"/>
              <a:t>Questions? Get in touch.</a:t>
            </a:r>
          </a:p>
          <a:p>
            <a:pPr lvl="0"/>
            <a:endParaRPr lang="en-US"/>
          </a:p>
          <a:p>
            <a:pPr marL="342891" marR="0" lvl="0" indent="-256026" algn="l" defTabSz="457189" rtl="0" eaLnBrk="1" fontAlgn="auto" latinLnBrk="0" hangingPunct="1">
              <a:lnSpc>
                <a:spcPct val="100000"/>
              </a:lnSpc>
              <a:spcBef>
                <a:spcPct val="20000"/>
              </a:spcBef>
              <a:spcAft>
                <a:spcPts val="0"/>
              </a:spcAft>
              <a:buClrTx/>
              <a:buSzTx/>
              <a:buFont typeface="Arial"/>
              <a:buNone/>
              <a:tabLst/>
              <a:defRPr/>
            </a:pPr>
            <a:endParaRPr lang="en-US"/>
          </a:p>
        </p:txBody>
      </p:sp>
      <p:sp>
        <p:nvSpPr>
          <p:cNvPr id="10" name="Subtitle 2"/>
          <p:cNvSpPr>
            <a:spLocks noGrp="1"/>
          </p:cNvSpPr>
          <p:nvPr>
            <p:ph type="subTitle" idx="1" hasCustomPrompt="1"/>
          </p:nvPr>
        </p:nvSpPr>
        <p:spPr>
          <a:xfrm>
            <a:off x="609601" y="1286232"/>
            <a:ext cx="8479417" cy="1445093"/>
          </a:xfrm>
          <a:prstGeom prst="rect">
            <a:avLst/>
          </a:prstGeom>
          <a:ln>
            <a:noFill/>
          </a:ln>
        </p:spPr>
        <p:txBody>
          <a:bodyPr anchor="t">
            <a:normAutofit/>
          </a:bodyPr>
          <a:lstStyle>
            <a:lvl1pPr marL="0" indent="0" algn="l">
              <a:lnSpc>
                <a:spcPct val="100000"/>
              </a:lnSpc>
              <a:buNone/>
              <a:defRPr sz="4800" baseline="0">
                <a:solidFill>
                  <a:srgbClr val="3AABF0"/>
                </a:solidFill>
                <a:latin typeface="Arial"/>
                <a:cs typeface="Aria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Thank you.</a:t>
            </a:r>
          </a:p>
        </p:txBody>
      </p:sp>
      <p:sp>
        <p:nvSpPr>
          <p:cNvPr id="15" name="Text Placeholder 10"/>
          <p:cNvSpPr>
            <a:spLocks noGrp="1"/>
          </p:cNvSpPr>
          <p:nvPr>
            <p:ph type="body" sz="quarter" idx="13" hasCustomPrompt="1"/>
          </p:nvPr>
        </p:nvSpPr>
        <p:spPr>
          <a:xfrm>
            <a:off x="609599" y="3835184"/>
            <a:ext cx="5433483" cy="975389"/>
          </a:xfrm>
          <a:prstGeom prst="rect">
            <a:avLst/>
          </a:prstGeom>
        </p:spPr>
        <p:txBody>
          <a:bodyPr vert="horz"/>
          <a:lstStyle>
            <a:lvl1pPr marL="86866" marR="0" indent="0" algn="l" defTabSz="457189" rtl="0" eaLnBrk="1" fontAlgn="auto" latinLnBrk="0" hangingPunct="1">
              <a:lnSpc>
                <a:spcPct val="100000"/>
              </a:lnSpc>
              <a:spcBef>
                <a:spcPct val="20000"/>
              </a:spcBef>
              <a:spcAft>
                <a:spcPts val="0"/>
              </a:spcAft>
              <a:buClrTx/>
              <a:buSzTx/>
              <a:buFont typeface="Arial"/>
              <a:buNone/>
              <a:tabLst/>
              <a:defRPr kumimoji="0" lang="en-US" sz="1600" b="0" i="0" u="none" strike="noStrike" kern="1200" cap="none" spc="0" normalizeH="0" baseline="0" noProof="0">
                <a:cs typeface="Arial"/>
              </a:defRPr>
            </a:lvl1pPr>
            <a:lvl2pPr>
              <a:buNone/>
              <a:defRPr sz="1600"/>
            </a:lvl2pPr>
            <a:lvl3pPr>
              <a:buNone/>
              <a:defRPr sz="1600"/>
            </a:lvl3pPr>
            <a:lvl4pPr>
              <a:buNone/>
              <a:defRPr sz="1600"/>
            </a:lvl4pPr>
            <a:lvl5pPr>
              <a:buNone/>
              <a:defRPr sz="1600"/>
            </a:lvl5pPr>
          </a:lstStyle>
          <a:p>
            <a:pPr marL="86866" marR="0" lvl="0" indent="0" algn="l" defTabSz="457189" rtl="0" eaLnBrk="1" fontAlgn="auto" latinLnBrk="0" hangingPunct="1">
              <a:lnSpc>
                <a:spcPct val="100000"/>
              </a:lnSpc>
              <a:spcBef>
                <a:spcPct val="20000"/>
              </a:spcBef>
              <a:spcAft>
                <a:spcPts val="0"/>
              </a:spcAft>
              <a:buClrTx/>
              <a:buSzTx/>
              <a:buFont typeface="Arial"/>
              <a:buNone/>
              <a:tabLst/>
              <a:defRPr/>
            </a:pPr>
            <a:r>
              <a:rPr kumimoji="0" lang="en-US" sz="1600" b="0" i="0" u="none" strike="noStrike" kern="1200" cap="none" spc="0" normalizeH="0" baseline="0" noProof="0">
                <a:ln>
                  <a:noFill/>
                </a:ln>
                <a:solidFill>
                  <a:schemeClr val="bg1"/>
                </a:solidFill>
                <a:effectLst/>
                <a:uLnTx/>
                <a:uFillTx/>
                <a:latin typeface="+mn-lt"/>
                <a:ea typeface="+mn-ea"/>
                <a:cs typeface="Arial"/>
              </a:rPr>
              <a:t>First Last Name</a:t>
            </a:r>
          </a:p>
          <a:p>
            <a:pPr marL="86866" marR="0" lvl="0" indent="0" algn="l" defTabSz="457189" rtl="0" eaLnBrk="1" fontAlgn="auto" latinLnBrk="0" hangingPunct="1">
              <a:lnSpc>
                <a:spcPct val="100000"/>
              </a:lnSpc>
              <a:spcBef>
                <a:spcPct val="20000"/>
              </a:spcBef>
              <a:spcAft>
                <a:spcPts val="0"/>
              </a:spcAft>
              <a:buClrTx/>
              <a:buSzTx/>
              <a:buFont typeface="Arial"/>
              <a:buNone/>
              <a:tabLst/>
              <a:defRPr/>
            </a:pPr>
            <a:r>
              <a:rPr kumimoji="0" lang="en-US" sz="1600" b="0" i="0" u="none" strike="noStrike" kern="1200" cap="none" spc="0" normalizeH="0" baseline="0" noProof="0" err="1">
                <a:ln>
                  <a:noFill/>
                </a:ln>
                <a:solidFill>
                  <a:schemeClr val="bg1"/>
                </a:solidFill>
                <a:effectLst/>
                <a:uLnTx/>
                <a:uFillTx/>
                <a:latin typeface="+mn-lt"/>
                <a:ea typeface="+mn-ea"/>
                <a:cs typeface="Arial"/>
              </a:rPr>
              <a:t>email@email.com</a:t>
            </a:r>
            <a:endParaRPr kumimoji="0" lang="en-US" sz="1600" b="0" i="0" u="none" strike="noStrike" kern="1200" cap="none" spc="0" normalizeH="0" baseline="0" noProof="0">
              <a:ln>
                <a:noFill/>
              </a:ln>
              <a:solidFill>
                <a:schemeClr val="bg1"/>
              </a:solidFill>
              <a:effectLst/>
              <a:uLnTx/>
              <a:uFillTx/>
              <a:latin typeface="+mn-lt"/>
              <a:ea typeface="+mn-ea"/>
              <a:cs typeface="Arial"/>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66684" y="165879"/>
            <a:ext cx="1731203" cy="331979"/>
          </a:xfrm>
          <a:prstGeom prst="rect">
            <a:avLst/>
          </a:prstGeom>
        </p:spPr>
      </p:pic>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73069" y="65375"/>
            <a:ext cx="3198688" cy="545231"/>
          </a:xfrm>
          <a:prstGeom prst="rect">
            <a:avLst/>
          </a:prstGeom>
        </p:spPr>
      </p:pic>
      <p:cxnSp>
        <p:nvCxnSpPr>
          <p:cNvPr id="13" name="Straight Connector 12"/>
          <p:cNvCxnSpPr/>
          <p:nvPr userDrawn="1"/>
        </p:nvCxnSpPr>
        <p:spPr>
          <a:xfrm>
            <a:off x="0" y="6546639"/>
            <a:ext cx="12192000" cy="0"/>
          </a:xfrm>
          <a:prstGeom prst="line">
            <a:avLst/>
          </a:prstGeom>
          <a:ln w="19050">
            <a:solidFill>
              <a:srgbClr val="3AABF0"/>
            </a:solidFill>
          </a:ln>
        </p:spPr>
        <p:style>
          <a:lnRef idx="1">
            <a:schemeClr val="accent6"/>
          </a:lnRef>
          <a:fillRef idx="0">
            <a:schemeClr val="accent6"/>
          </a:fillRef>
          <a:effectRef idx="0">
            <a:schemeClr val="accent6"/>
          </a:effectRef>
          <a:fontRef idx="minor">
            <a:schemeClr val="tx1"/>
          </a:fontRef>
        </p:style>
      </p:cxnSp>
      <p:pic>
        <p:nvPicPr>
          <p:cNvPr id="14" name="Picture 13"/>
          <p:cNvPicPr>
            <a:picLocks noChangeAspect="1"/>
          </p:cNvPicPr>
          <p:nvPr userDrawn="1"/>
        </p:nvPicPr>
        <p:blipFill rotWithShape="1">
          <a:blip r:embed="rId4">
            <a:extLst>
              <a:ext uri="{28A0092B-C50C-407E-A947-70E740481C1C}">
                <a14:useLocalDpi xmlns:a14="http://schemas.microsoft.com/office/drawing/2010/main" val="0"/>
              </a:ext>
            </a:extLst>
          </a:blip>
          <a:srcRect b="38185"/>
          <a:stretch/>
        </p:blipFill>
        <p:spPr>
          <a:xfrm>
            <a:off x="0" y="5253573"/>
            <a:ext cx="12192000" cy="1604427"/>
          </a:xfrm>
          <a:prstGeom prst="rect">
            <a:avLst/>
          </a:prstGeom>
        </p:spPr>
      </p:pic>
    </p:spTree>
    <p:extLst>
      <p:ext uri="{BB962C8B-B14F-4D97-AF65-F5344CB8AC3E}">
        <p14:creationId xmlns:p14="http://schemas.microsoft.com/office/powerpoint/2010/main" val="4263834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609601" y="705204"/>
            <a:ext cx="10984425" cy="418645"/>
          </a:xfrm>
          <a:prstGeom prst="rect">
            <a:avLst/>
          </a:prstGeom>
        </p:spPr>
        <p:txBody>
          <a:bodyPr vert="horz" lIns="91440" tIns="45720" rIns="91440" bIns="45720" rtlCol="0" anchor="ctr">
            <a:noAutofit/>
          </a:bodyPr>
          <a:lstStyle>
            <a:lvl1pPr>
              <a:defRPr b="1"/>
            </a:lvl1pPr>
          </a:lstStyle>
          <a:p>
            <a:r>
              <a:rPr lang="en-US"/>
              <a:t>Title of Slide</a:t>
            </a:r>
          </a:p>
        </p:txBody>
      </p:sp>
      <p:sp>
        <p:nvSpPr>
          <p:cNvPr id="5" name="Content Placeholder 1"/>
          <p:cNvSpPr>
            <a:spLocks noGrp="1"/>
          </p:cNvSpPr>
          <p:nvPr>
            <p:ph idx="1"/>
          </p:nvPr>
        </p:nvSpPr>
        <p:spPr>
          <a:xfrm>
            <a:off x="609600" y="1500109"/>
            <a:ext cx="10984425" cy="4898147"/>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7" name="Text Placeholder 22"/>
          <p:cNvSpPr>
            <a:spLocks noGrp="1"/>
          </p:cNvSpPr>
          <p:nvPr>
            <p:ph type="body" sz="quarter" idx="16" hasCustomPrompt="1"/>
          </p:nvPr>
        </p:nvSpPr>
        <p:spPr>
          <a:xfrm>
            <a:off x="264799" y="6511447"/>
            <a:ext cx="8896351"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a:t>Sources &amp; Notes:</a:t>
            </a:r>
          </a:p>
        </p:txBody>
      </p:sp>
    </p:spTree>
    <p:extLst>
      <p:ext uri="{BB962C8B-B14F-4D97-AF65-F5344CB8AC3E}">
        <p14:creationId xmlns:p14="http://schemas.microsoft.com/office/powerpoint/2010/main" val="1800586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_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68354" y="493835"/>
            <a:ext cx="10655300" cy="617012"/>
          </a:xfrm>
          <a:prstGeom prst="rect">
            <a:avLst/>
          </a:prstGeom>
        </p:spPr>
        <p:txBody>
          <a:bodyPr>
            <a:noAutofit/>
          </a:bodyPr>
          <a:lstStyle>
            <a:lvl1pPr>
              <a:lnSpc>
                <a:spcPct val="100000"/>
              </a:lnSpc>
              <a:defRPr sz="2800"/>
            </a:lvl1pPr>
          </a:lstStyle>
          <a:p>
            <a:r>
              <a:rPr lang="en-US"/>
              <a:t>Agenda</a:t>
            </a:r>
            <a:endParaRPr lang="de-DE"/>
          </a:p>
        </p:txBody>
      </p:sp>
      <p:cxnSp>
        <p:nvCxnSpPr>
          <p:cNvPr id="10" name="Straight Connector 9"/>
          <p:cNvCxnSpPr/>
          <p:nvPr userDrawn="1"/>
        </p:nvCxnSpPr>
        <p:spPr>
          <a:xfrm flipV="1">
            <a:off x="768354" y="5924553"/>
            <a:ext cx="10655300"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5" name="Date Placeholder 4"/>
          <p:cNvSpPr>
            <a:spLocks noGrp="1"/>
          </p:cNvSpPr>
          <p:nvPr>
            <p:ph type="dt" sz="half" idx="14"/>
          </p:nvPr>
        </p:nvSpPr>
        <p:spPr/>
        <p:txBody>
          <a:bodyPr/>
          <a:lstStyle/>
          <a:p>
            <a:fld id="{37FFCD0F-6FD7-423A-A678-0AA8290E11CF}" type="datetimeFigureOut">
              <a:rPr lang="de-DE" smtClean="0"/>
              <a:pPr/>
              <a:t>23.10.2025</a:t>
            </a:fld>
            <a:endParaRPr lang="de-DE"/>
          </a:p>
        </p:txBody>
      </p:sp>
      <p:sp>
        <p:nvSpPr>
          <p:cNvPr id="6" name="Footer Placeholder 5"/>
          <p:cNvSpPr>
            <a:spLocks noGrp="1"/>
          </p:cNvSpPr>
          <p:nvPr>
            <p:ph type="ftr" sz="quarter" idx="15"/>
          </p:nvPr>
        </p:nvSpPr>
        <p:spPr/>
        <p:txBody>
          <a:bodyPr/>
          <a:lstStyle/>
          <a:p>
            <a:endParaRPr lang="de-DE"/>
          </a:p>
        </p:txBody>
      </p:sp>
      <p:sp>
        <p:nvSpPr>
          <p:cNvPr id="18" name="Text Placeholder 1"/>
          <p:cNvSpPr>
            <a:spLocks noGrp="1"/>
          </p:cNvSpPr>
          <p:nvPr>
            <p:ph type="body" sz="quarter" idx="13"/>
          </p:nvPr>
        </p:nvSpPr>
        <p:spPr>
          <a:xfrm>
            <a:off x="768353" y="1419806"/>
            <a:ext cx="10655300" cy="4353063"/>
          </a:xfrm>
          <a:prstGeom prst="rect">
            <a:avLst/>
          </a:prstGeom>
        </p:spPr>
        <p:txBody>
          <a:bodyPr vert="horz" lIns="91440" tIns="0" rIns="91440" bIns="45720" rtlCol="0">
            <a:normAutofit/>
          </a:bodyPr>
          <a:lstStyle>
            <a:lvl1pPr>
              <a:defRPr lang="en-GB" dirty="0"/>
            </a:lvl1pPr>
          </a:lstStyle>
          <a:p>
            <a:pPr marL="285744" lvl="0" indent="-285744">
              <a:lnSpc>
                <a:spcPct val="100000"/>
              </a:lnSpc>
            </a:pPr>
            <a:endParaRPr lang="en-GB"/>
          </a:p>
        </p:txBody>
      </p:sp>
    </p:spTree>
    <p:extLst>
      <p:ext uri="{BB962C8B-B14F-4D97-AF65-F5344CB8AC3E}">
        <p14:creationId xmlns:p14="http://schemas.microsoft.com/office/powerpoint/2010/main" val="611748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63">
          <p15:clr>
            <a:srgbClr val="FBAE40"/>
          </p15:clr>
        </p15:guide>
        <p15:guide id="2" pos="2880">
          <p15:clr>
            <a:srgbClr val="FBAE40"/>
          </p15:clr>
        </p15:guide>
        <p15:guide id="3" pos="2699">
          <p15:clr>
            <a:srgbClr val="FBAE40"/>
          </p15:clr>
        </p15:guide>
        <p15:guide id="4" pos="3061">
          <p15:clr>
            <a:srgbClr val="FBAE40"/>
          </p15:clr>
        </p15:guide>
        <p15:guide id="5" pos="5397">
          <p15:clr>
            <a:srgbClr val="FBAE40"/>
          </p15:clr>
        </p15:guide>
        <p15:guide id="6" orient="horz" pos="373">
          <p15:clr>
            <a:srgbClr val="FBAE40"/>
          </p15:clr>
        </p15:guide>
        <p15:guide id="7" orient="horz" pos="2799">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2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609597" y="1943072"/>
            <a:ext cx="10984427" cy="3765589"/>
          </a:xfrm>
        </p:spPr>
        <p:txBody>
          <a:bodyPr/>
          <a:lstStyle>
            <a:lvl1pPr marL="0" indent="0">
              <a:buNone/>
              <a:defRPr>
                <a:solidFill>
                  <a:srgbClr val="53565A"/>
                </a:solidFill>
              </a:defRPr>
            </a:lvl1pPr>
          </a:lstStyle>
          <a:p>
            <a:pPr lvl="0"/>
            <a:r>
              <a:rPr lang="en-US"/>
              <a:t>Click to edit Master text styles</a:t>
            </a:r>
          </a:p>
          <a:p>
            <a:endParaRPr lang="en-US"/>
          </a:p>
        </p:txBody>
      </p:sp>
      <p:sp>
        <p:nvSpPr>
          <p:cNvPr id="8" name="Slide Number Placeholder 7"/>
          <p:cNvSpPr txBox="1">
            <a:spLocks/>
          </p:cNvSpPr>
          <p:nvPr userDrawn="1"/>
        </p:nvSpPr>
        <p:spPr>
          <a:xfrm>
            <a:off x="11299117" y="-7655"/>
            <a:ext cx="783712" cy="354523"/>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pPr>
            <a:r>
              <a:rPr lang="en-US" sz="700" b="0" dirty="0">
                <a:solidFill>
                  <a:prstClr val="white"/>
                </a:solidFill>
              </a:rPr>
              <a:t>  |  </a:t>
            </a:r>
            <a:fld id="{DA15E891-66B8-4B28-AB8F-05A4B1DE573C}" type="slidenum">
              <a:rPr lang="en-US" sz="700" b="0" smtClean="0">
                <a:solidFill>
                  <a:prstClr val="white"/>
                </a:solidFill>
              </a:rPr>
              <a:pPr fontAlgn="auto">
                <a:spcBef>
                  <a:spcPts val="0"/>
                </a:spcBef>
                <a:spcAft>
                  <a:spcPts val="0"/>
                </a:spcAft>
              </a:pPr>
              <a:t>‹#›</a:t>
            </a:fld>
            <a:endParaRPr lang="en-US" sz="700" b="0" dirty="0">
              <a:solidFill>
                <a:prstClr val="white"/>
              </a:solidFill>
            </a:endParaRPr>
          </a:p>
        </p:txBody>
      </p:sp>
      <p:sp>
        <p:nvSpPr>
          <p:cNvPr id="14" name="Title Placeholder 1"/>
          <p:cNvSpPr>
            <a:spLocks noGrp="1"/>
          </p:cNvSpPr>
          <p:nvPr>
            <p:ph type="title"/>
          </p:nvPr>
        </p:nvSpPr>
        <p:spPr>
          <a:xfrm>
            <a:off x="609601" y="705204"/>
            <a:ext cx="10984425"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a:t>Title of Slide</a:t>
            </a:r>
          </a:p>
        </p:txBody>
      </p:sp>
      <p:sp>
        <p:nvSpPr>
          <p:cNvPr id="5" name="Text Placeholder 4"/>
          <p:cNvSpPr>
            <a:spLocks noGrp="1"/>
          </p:cNvSpPr>
          <p:nvPr>
            <p:ph type="body" sz="quarter" idx="10" hasCustomPrompt="1"/>
          </p:nvPr>
        </p:nvSpPr>
        <p:spPr>
          <a:xfrm>
            <a:off x="609600" y="1241714"/>
            <a:ext cx="10984424" cy="350591"/>
          </a:xfrm>
        </p:spPr>
        <p:txBody>
          <a:bodyPr>
            <a:normAutofit/>
          </a:bodyPr>
          <a:lstStyle>
            <a:lvl1pPr marL="0" marR="0" indent="0" algn="l" defTabSz="457189"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a:t>Subtitle of Slide</a:t>
            </a:r>
          </a:p>
        </p:txBody>
      </p:sp>
      <p:sp>
        <p:nvSpPr>
          <p:cNvPr id="9" name="Text Placeholder 8"/>
          <p:cNvSpPr>
            <a:spLocks noGrp="1"/>
          </p:cNvSpPr>
          <p:nvPr>
            <p:ph type="body" sz="quarter" idx="11" hasCustomPrompt="1"/>
          </p:nvPr>
        </p:nvSpPr>
        <p:spPr>
          <a:xfrm>
            <a:off x="609597" y="5794655"/>
            <a:ext cx="10984427" cy="370435"/>
          </a:xfrm>
        </p:spPr>
        <p:txBody>
          <a:bodyPr>
            <a:normAutofit/>
          </a:bodyPr>
          <a:lstStyle>
            <a:lvl1pPr marL="0" indent="0">
              <a:buNone/>
              <a:defRPr sz="1300">
                <a:solidFill>
                  <a:srgbClr val="A7A8AA"/>
                </a:solidFill>
              </a:defRPr>
            </a:lvl1pPr>
            <a:lvl2pPr marL="457189" indent="0">
              <a:buNone/>
              <a:defRPr sz="1600">
                <a:latin typeface="Arial"/>
                <a:cs typeface="Arial"/>
              </a:defRPr>
            </a:lvl2pPr>
          </a:lstStyle>
          <a:p>
            <a:pPr lvl="0"/>
            <a:r>
              <a:rPr lang="en-US"/>
              <a:t>Author Name</a:t>
            </a:r>
          </a:p>
        </p:txBody>
      </p:sp>
      <p:sp>
        <p:nvSpPr>
          <p:cNvPr id="18" name="Text Placeholder 17"/>
          <p:cNvSpPr>
            <a:spLocks noGrp="1"/>
          </p:cNvSpPr>
          <p:nvPr>
            <p:ph type="body" sz="quarter" idx="12" hasCustomPrompt="1"/>
          </p:nvPr>
        </p:nvSpPr>
        <p:spPr>
          <a:xfrm>
            <a:off x="609597" y="6165091"/>
            <a:ext cx="10984424" cy="357432"/>
          </a:xfrm>
        </p:spPr>
        <p:txBody>
          <a:bodyPr>
            <a:normAutofit/>
          </a:bodyPr>
          <a:lstStyle>
            <a:lvl1pPr marL="0" indent="0">
              <a:buNone/>
              <a:defRPr sz="1300">
                <a:solidFill>
                  <a:srgbClr val="A7A8AA"/>
                </a:solidFill>
              </a:defRPr>
            </a:lvl1pPr>
          </a:lstStyle>
          <a:p>
            <a:pPr lvl="0"/>
            <a:r>
              <a:rPr lang="en-US"/>
              <a:t>©</a:t>
            </a:r>
          </a:p>
        </p:txBody>
      </p:sp>
    </p:spTree>
    <p:extLst>
      <p:ext uri="{BB962C8B-B14F-4D97-AF65-F5344CB8AC3E}">
        <p14:creationId xmlns:p14="http://schemas.microsoft.com/office/powerpoint/2010/main" val="8531865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4250B58-5551-9F46-A276-C483BB641501}"/>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NL"/>
          </a:p>
        </p:txBody>
      </p:sp>
      <p:sp>
        <p:nvSpPr>
          <p:cNvPr id="3" name="Vertical Text Placeholder 2">
            <a:extLst>
              <a:ext uri="{FF2B5EF4-FFF2-40B4-BE49-F238E27FC236}">
                <a16:creationId xmlns:a16="http://schemas.microsoft.com/office/drawing/2014/main" id="{D6F42118-9205-6D28-AE92-2AE25839D2F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
        <p:nvSpPr>
          <p:cNvPr id="4" name="Date Placeholder 3">
            <a:extLst>
              <a:ext uri="{FF2B5EF4-FFF2-40B4-BE49-F238E27FC236}">
                <a16:creationId xmlns:a16="http://schemas.microsoft.com/office/drawing/2014/main" id="{DF9CC69F-4145-B788-DDE9-4422B8A644C6}"/>
              </a:ext>
            </a:extLst>
          </p:cNvPr>
          <p:cNvSpPr>
            <a:spLocks noGrp="1"/>
          </p:cNvSpPr>
          <p:nvPr>
            <p:ph type="dt" sz="half" idx="10"/>
          </p:nvPr>
        </p:nvSpPr>
        <p:spPr/>
        <p:txBody>
          <a:bodyPr/>
          <a:lstStyle/>
          <a:p>
            <a:fld id="{036B0891-7476-4D8C-837F-BB2F6F398C80}" type="datetimeFigureOut">
              <a:rPr lang="en-NL" smtClean="0"/>
              <a:t>10/23/2025</a:t>
            </a:fld>
            <a:endParaRPr lang="en-NL"/>
          </a:p>
        </p:txBody>
      </p:sp>
      <p:sp>
        <p:nvSpPr>
          <p:cNvPr id="5" name="Footer Placeholder 4">
            <a:extLst>
              <a:ext uri="{FF2B5EF4-FFF2-40B4-BE49-F238E27FC236}">
                <a16:creationId xmlns:a16="http://schemas.microsoft.com/office/drawing/2014/main" id="{74B89E3E-FC0A-99EF-85FC-A00C4268E63C}"/>
              </a:ext>
            </a:extLst>
          </p:cNvPr>
          <p:cNvSpPr>
            <a:spLocks noGrp="1"/>
          </p:cNvSpPr>
          <p:nvPr>
            <p:ph type="ftr" sz="quarter" idx="11"/>
          </p:nvPr>
        </p:nvSpPr>
        <p:spPr/>
        <p:txBody>
          <a:bodyPr/>
          <a:lstStyle/>
          <a:p>
            <a:endParaRPr lang="en-NL"/>
          </a:p>
        </p:txBody>
      </p:sp>
      <p:sp>
        <p:nvSpPr>
          <p:cNvPr id="6" name="Slide Number Placeholder 5">
            <a:extLst>
              <a:ext uri="{FF2B5EF4-FFF2-40B4-BE49-F238E27FC236}">
                <a16:creationId xmlns:a16="http://schemas.microsoft.com/office/drawing/2014/main" id="{23E2C678-9519-ED9E-5096-85FC094784FE}"/>
              </a:ext>
            </a:extLst>
          </p:cNvPr>
          <p:cNvSpPr>
            <a:spLocks noGrp="1"/>
          </p:cNvSpPr>
          <p:nvPr>
            <p:ph type="sldNum" sz="quarter" idx="12"/>
          </p:nvPr>
        </p:nvSpPr>
        <p:spPr/>
        <p:txBody>
          <a:bodyPr/>
          <a:lstStyle/>
          <a:p>
            <a:fld id="{A4C5E35F-323C-4AC9-A193-D482FFFB2350}" type="slidenum">
              <a:rPr lang="en-NL" smtClean="0"/>
              <a:t>‹#›</a:t>
            </a:fld>
            <a:endParaRPr lang="en-NL"/>
          </a:p>
        </p:txBody>
      </p:sp>
    </p:spTree>
    <p:extLst>
      <p:ext uri="{BB962C8B-B14F-4D97-AF65-F5344CB8AC3E}">
        <p14:creationId xmlns:p14="http://schemas.microsoft.com/office/powerpoint/2010/main" val="325356064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effectLst/>
        </p:spPr>
        <p:txBody>
          <a:bodyPr/>
          <a:lstStyle>
            <a:lvl1pPr>
              <a:defRPr sz="3200">
                <a:latin typeface="Calibri" pitchFamily="34" charset="0"/>
              </a:defRPr>
            </a:lvl1pPr>
          </a:lstStyle>
          <a:p>
            <a:r>
              <a:rPr lang="en-US"/>
              <a:t>Click to edit Master title style</a:t>
            </a:r>
            <a:endParaRPr lang="en-GB"/>
          </a:p>
        </p:txBody>
      </p:sp>
      <p:sp>
        <p:nvSpPr>
          <p:cNvPr id="3" name="Content Placeholder 2"/>
          <p:cNvSpPr>
            <a:spLocks noGrp="1"/>
          </p:cNvSpPr>
          <p:nvPr>
            <p:ph idx="1"/>
          </p:nvPr>
        </p:nvSpPr>
        <p:spPr/>
        <p:txBody>
          <a:bodyPr/>
          <a:lstStyle>
            <a:lvl1pPr>
              <a:defRPr>
                <a:latin typeface="Calibri" pitchFamily="34" charset="0"/>
              </a:defRPr>
            </a:lvl1pPr>
            <a:lvl2pPr>
              <a:defRPr>
                <a:latin typeface="Calibri" pitchFamily="34" charset="0"/>
              </a:defRPr>
            </a:lvl2pPr>
            <a:lvl3pPr>
              <a:defRPr>
                <a:latin typeface="Calibri" pitchFamily="34" charset="0"/>
              </a:defRPr>
            </a:lvl3pPr>
            <a:lvl4pPr>
              <a:defRPr>
                <a:latin typeface="Calibri" pitchFamily="34" charset="0"/>
              </a:defRPr>
            </a:lvl4pPr>
            <a:lvl5pPr>
              <a:defRPr>
                <a:latin typeface="Calibr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19"/>
          <p:cNvSpPr>
            <a:spLocks noGrp="1" noChangeArrowheads="1"/>
          </p:cNvSpPr>
          <p:nvPr>
            <p:ph type="ftr" sz="quarter" idx="10"/>
          </p:nvPr>
        </p:nvSpPr>
        <p:spPr>
          <a:xfrm>
            <a:off x="914400" y="6400800"/>
            <a:ext cx="7112000" cy="381000"/>
          </a:xfrm>
          <a:prstGeom prst="rect">
            <a:avLst/>
          </a:prstGeom>
          <a:ln/>
        </p:spPr>
        <p:txBody>
          <a:bodyPr/>
          <a:lstStyle>
            <a:lvl1pPr>
              <a:defRPr/>
            </a:lvl1pPr>
          </a:lstStyle>
          <a:p>
            <a:pPr>
              <a:defRPr/>
            </a:pPr>
            <a:endParaRPr lang="en-GB" dirty="0"/>
          </a:p>
        </p:txBody>
      </p:sp>
    </p:spTree>
    <p:extLst>
      <p:ext uri="{BB962C8B-B14F-4D97-AF65-F5344CB8AC3E}">
        <p14:creationId xmlns:p14="http://schemas.microsoft.com/office/powerpoint/2010/main" val="3666437056"/>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7" name="Rectangle 6"/>
          <p:cNvSpPr/>
          <p:nvPr userDrawn="1"/>
        </p:nvSpPr>
        <p:spPr>
          <a:xfrm>
            <a:off x="0" y="107513"/>
            <a:ext cx="12192000" cy="471423"/>
          </a:xfrm>
          <a:prstGeom prst="rect">
            <a:avLst/>
          </a:prstGeom>
          <a:solidFill>
            <a:schemeClr val="bg1"/>
          </a:solidFill>
          <a:ln>
            <a:noFill/>
          </a:ln>
          <a:effectLst>
            <a:reflection endPos="0" dir="5400000" sy="-100000" algn="bl" rotWithShape="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3" name="Content Placeholder 2"/>
          <p:cNvSpPr>
            <a:spLocks noGrp="1"/>
          </p:cNvSpPr>
          <p:nvPr>
            <p:ph sz="half" idx="1"/>
          </p:nvPr>
        </p:nvSpPr>
        <p:spPr>
          <a:xfrm>
            <a:off x="609600" y="1500109"/>
            <a:ext cx="10984424" cy="4898147"/>
          </a:xfrm>
          <a:prstGeom prst="rect">
            <a:avLst/>
          </a:prstGeom>
        </p:spPr>
        <p:txBody>
          <a:bodyPr/>
          <a:lstStyle>
            <a:lvl1pPr>
              <a:defRPr sz="2000">
                <a:solidFill>
                  <a:srgbClr val="505050"/>
                </a:solidFill>
                <a:latin typeface="Arial"/>
                <a:cs typeface="Arial"/>
              </a:defRPr>
            </a:lvl1pPr>
            <a:lvl2pPr>
              <a:defRPr sz="1800">
                <a:solidFill>
                  <a:srgbClr val="505050"/>
                </a:solidFill>
                <a:latin typeface="Arial"/>
                <a:cs typeface="Arial"/>
              </a:defRPr>
            </a:lvl2pPr>
            <a:lvl3pPr>
              <a:defRPr sz="1600">
                <a:solidFill>
                  <a:srgbClr val="505050"/>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6" name="Title Placeholder 1"/>
          <p:cNvSpPr>
            <a:spLocks noGrp="1"/>
          </p:cNvSpPr>
          <p:nvPr>
            <p:ph type="title"/>
          </p:nvPr>
        </p:nvSpPr>
        <p:spPr>
          <a:xfrm>
            <a:off x="609601" y="835743"/>
            <a:ext cx="10984425" cy="380587"/>
          </a:xfrm>
          <a:prstGeom prst="rect">
            <a:avLst/>
          </a:prstGeom>
        </p:spPr>
        <p:txBody>
          <a:bodyPr vert="horz" lIns="91440" tIns="45720" rIns="91440" bIns="45720" rtlCol="0" anchor="ctr">
            <a:noAutofit/>
          </a:bodyPr>
          <a:lstStyle>
            <a:lvl1pPr algn="l">
              <a:defRPr sz="2600" b="0">
                <a:solidFill>
                  <a:srgbClr val="3AABF0"/>
                </a:solidFill>
                <a:latin typeface="+mj-lt"/>
              </a:defRPr>
            </a:lvl1pPr>
          </a:lstStyle>
          <a:p>
            <a:r>
              <a:rPr lang="en-US"/>
              <a:t>Title of Slide</a:t>
            </a:r>
          </a:p>
        </p:txBody>
      </p:sp>
      <p:sp>
        <p:nvSpPr>
          <p:cNvPr id="5" name="Slide Number Placeholder 7"/>
          <p:cNvSpPr txBox="1">
            <a:spLocks/>
          </p:cNvSpPr>
          <p:nvPr userDrawn="1"/>
        </p:nvSpPr>
        <p:spPr>
          <a:xfrm>
            <a:off x="11051653" y="6398258"/>
            <a:ext cx="783712" cy="336599"/>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800" dirty="0">
                <a:solidFill>
                  <a:srgbClr val="505050"/>
                </a:solidFill>
              </a:rPr>
              <a:t>  |  </a:t>
            </a:r>
            <a:fld id="{DA15E891-66B8-4B28-AB8F-05A4B1DE573C}" type="slidenum">
              <a:rPr lang="en-US" sz="800" smtClean="0">
                <a:solidFill>
                  <a:srgbClr val="505050"/>
                </a:solidFill>
              </a:rPr>
              <a:pPr/>
              <a:t>‹#›</a:t>
            </a:fld>
            <a:endParaRPr lang="en-US" sz="800" dirty="0">
              <a:solidFill>
                <a:srgbClr val="505050"/>
              </a:solidFill>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5053" y="96987"/>
            <a:ext cx="2694488" cy="459288"/>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24389" y="162699"/>
            <a:ext cx="1735191" cy="332743"/>
          </a:xfrm>
          <a:prstGeom prst="rect">
            <a:avLst/>
          </a:prstGeom>
        </p:spPr>
      </p:pic>
    </p:spTree>
    <p:extLst>
      <p:ext uri="{BB962C8B-B14F-4D97-AF65-F5344CB8AC3E}">
        <p14:creationId xmlns:p14="http://schemas.microsoft.com/office/powerpoint/2010/main" val="1906107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1_Quot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EEE115E-9A03-449B-92F1-3CD40794A0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77200" y="2743200"/>
            <a:ext cx="4114800" cy="4114800"/>
          </a:xfrm>
          <a:prstGeom prst="rect">
            <a:avLst/>
          </a:prstGeom>
        </p:spPr>
      </p:pic>
      <p:sp>
        <p:nvSpPr>
          <p:cNvPr id="7" name="Title 1"/>
          <p:cNvSpPr>
            <a:spLocks noGrp="1"/>
          </p:cNvSpPr>
          <p:nvPr>
            <p:ph type="title" hasCustomPrompt="1"/>
          </p:nvPr>
        </p:nvSpPr>
        <p:spPr>
          <a:xfrm>
            <a:off x="768349" y="1113365"/>
            <a:ext cx="7987200" cy="4224000"/>
          </a:xfrm>
          <a:prstGeom prst="rect">
            <a:avLst/>
          </a:prstGeom>
        </p:spPr>
        <p:txBody>
          <a:bodyPr lIns="0" tIns="0" rIns="0">
            <a:normAutofit/>
          </a:bodyPr>
          <a:lstStyle>
            <a:lvl1pPr marL="0" indent="0">
              <a:lnSpc>
                <a:spcPct val="100000"/>
              </a:lnSpc>
              <a:defRPr sz="4800" baseline="0">
                <a:solidFill>
                  <a:schemeClr val="bg1"/>
                </a:solidFill>
              </a:defRPr>
            </a:lvl1pPr>
          </a:lstStyle>
          <a:p>
            <a:r>
              <a:rPr lang="en-US"/>
              <a:t>“Quote”</a:t>
            </a:r>
          </a:p>
        </p:txBody>
      </p:sp>
      <p:sp>
        <p:nvSpPr>
          <p:cNvPr id="4" name="Date Placeholder 3">
            <a:extLst>
              <a:ext uri="{FF2B5EF4-FFF2-40B4-BE49-F238E27FC236}">
                <a16:creationId xmlns:a16="http://schemas.microsoft.com/office/drawing/2014/main" id="{B0A140A6-5D0E-4488-95CA-4733486F593B}"/>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8B200B3A-B3FB-4A32-A145-4E221A432DD0}"/>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97DC275C-83AD-4E74-9F99-2A21F1C78853}"/>
              </a:ext>
            </a:extLst>
          </p:cNvPr>
          <p:cNvSpPr>
            <a:spLocks noGrp="1"/>
          </p:cNvSpPr>
          <p:nvPr>
            <p:ph type="sldNum" sz="quarter" idx="12"/>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335564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C6D14BDE-CF2C-4F4F-BA5E-ABFDD7316E23}" type="datetimeFigureOut">
              <a:rPr lang="en-GB" smtClean="0"/>
              <a:t>23/10/2025</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7791FC90-5776-4435-B661-DD37C52ACFA9}" type="slidenum">
              <a:rPr lang="en-GB" smtClean="0"/>
              <a:t>‹#›</a:t>
            </a:fld>
            <a:endParaRPr lang="en-GB" dirty="0"/>
          </a:p>
        </p:txBody>
      </p:sp>
    </p:spTree>
    <p:extLst>
      <p:ext uri="{BB962C8B-B14F-4D97-AF65-F5344CB8AC3E}">
        <p14:creationId xmlns:p14="http://schemas.microsoft.com/office/powerpoint/2010/main" val="332984541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C6D14BDE-CF2C-4F4F-BA5E-ABFDD7316E23}" type="datetimeFigureOut">
              <a:rPr lang="en-GB" smtClean="0"/>
              <a:t>23/10/2025</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7791FC90-5776-4435-B661-DD37C52ACFA9}" type="slidenum">
              <a:rPr lang="en-GB" smtClean="0"/>
              <a:t>‹#›</a:t>
            </a:fld>
            <a:endParaRPr lang="en-GB" dirty="0"/>
          </a:p>
        </p:txBody>
      </p:sp>
    </p:spTree>
    <p:extLst>
      <p:ext uri="{BB962C8B-B14F-4D97-AF65-F5344CB8AC3E}">
        <p14:creationId xmlns:p14="http://schemas.microsoft.com/office/powerpoint/2010/main" val="177519603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6D14BDE-CF2C-4F4F-BA5E-ABFDD7316E23}" type="datetimeFigureOut">
              <a:rPr lang="en-GB" smtClean="0"/>
              <a:t>23/10/2025</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7791FC90-5776-4435-B661-DD37C52ACFA9}" type="slidenum">
              <a:rPr lang="en-GB" smtClean="0"/>
              <a:t>‹#›</a:t>
            </a:fld>
            <a:endParaRPr lang="en-GB" dirty="0"/>
          </a:p>
        </p:txBody>
      </p:sp>
    </p:spTree>
    <p:extLst>
      <p:ext uri="{BB962C8B-B14F-4D97-AF65-F5344CB8AC3E}">
        <p14:creationId xmlns:p14="http://schemas.microsoft.com/office/powerpoint/2010/main" val="187269166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C6D14BDE-CF2C-4F4F-BA5E-ABFDD7316E23}" type="datetimeFigureOut">
              <a:rPr lang="en-GB" smtClean="0"/>
              <a:t>23/10/2025</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7791FC90-5776-4435-B661-DD37C52ACFA9}" type="slidenum">
              <a:rPr lang="en-GB" smtClean="0"/>
              <a:t>‹#›</a:t>
            </a:fld>
            <a:endParaRPr lang="en-GB" dirty="0"/>
          </a:p>
        </p:txBody>
      </p:sp>
    </p:spTree>
    <p:extLst>
      <p:ext uri="{BB962C8B-B14F-4D97-AF65-F5344CB8AC3E}">
        <p14:creationId xmlns:p14="http://schemas.microsoft.com/office/powerpoint/2010/main" val="241687363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C6D14BDE-CF2C-4F4F-BA5E-ABFDD7316E23}" type="datetimeFigureOut">
              <a:rPr lang="en-GB" smtClean="0"/>
              <a:t>23/10/2025</a:t>
            </a:fld>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nvPr>
        </p:nvSpPr>
        <p:spPr/>
        <p:txBody>
          <a:bodyPr/>
          <a:lstStyle/>
          <a:p>
            <a:fld id="{7791FC90-5776-4435-B661-DD37C52ACFA9}" type="slidenum">
              <a:rPr lang="en-GB" smtClean="0"/>
              <a:t>‹#›</a:t>
            </a:fld>
            <a:endParaRPr lang="en-GB" dirty="0"/>
          </a:p>
        </p:txBody>
      </p:sp>
    </p:spTree>
    <p:extLst>
      <p:ext uri="{BB962C8B-B14F-4D97-AF65-F5344CB8AC3E}">
        <p14:creationId xmlns:p14="http://schemas.microsoft.com/office/powerpoint/2010/main" val="39050804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C6D14BDE-CF2C-4F4F-BA5E-ABFDD7316E23}" type="datetimeFigureOut">
              <a:rPr lang="en-GB" smtClean="0"/>
              <a:t>23/10/2025</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791FC90-5776-4435-B661-DD37C52ACFA9}" type="slidenum">
              <a:rPr lang="en-GB" smtClean="0"/>
              <a:t>‹#›</a:t>
            </a:fld>
            <a:endParaRPr lang="en-GB" dirty="0"/>
          </a:p>
        </p:txBody>
      </p:sp>
    </p:spTree>
    <p:extLst>
      <p:ext uri="{BB962C8B-B14F-4D97-AF65-F5344CB8AC3E}">
        <p14:creationId xmlns:p14="http://schemas.microsoft.com/office/powerpoint/2010/main" val="146349977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6D14BDE-CF2C-4F4F-BA5E-ABFDD7316E23}" type="datetimeFigureOut">
              <a:rPr lang="en-GB" smtClean="0"/>
              <a:t>23/10/2025</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7791FC90-5776-4435-B661-DD37C52ACFA9}" type="slidenum">
              <a:rPr lang="en-GB" smtClean="0"/>
              <a:t>‹#›</a:t>
            </a:fld>
            <a:endParaRPr lang="en-GB" dirty="0"/>
          </a:p>
        </p:txBody>
      </p:sp>
    </p:spTree>
    <p:extLst>
      <p:ext uri="{BB962C8B-B14F-4D97-AF65-F5344CB8AC3E}">
        <p14:creationId xmlns:p14="http://schemas.microsoft.com/office/powerpoint/2010/main" val="14348272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Main title slide with subtitle">
    <p:spTree>
      <p:nvGrpSpPr>
        <p:cNvPr id="1" name=""/>
        <p:cNvGrpSpPr/>
        <p:nvPr/>
      </p:nvGrpSpPr>
      <p:grpSpPr>
        <a:xfrm>
          <a:off x="0" y="0"/>
          <a:ext cx="0" cy="0"/>
          <a:chOff x="0" y="0"/>
          <a:chExt cx="0" cy="0"/>
        </a:xfrm>
      </p:grpSpPr>
      <p:sp>
        <p:nvSpPr>
          <p:cNvPr id="18" name="Text Placeholder 11"/>
          <p:cNvSpPr>
            <a:spLocks noGrp="1"/>
          </p:cNvSpPr>
          <p:nvPr>
            <p:ph type="body" sz="quarter" idx="14" hasCustomPrompt="1"/>
          </p:nvPr>
        </p:nvSpPr>
        <p:spPr>
          <a:xfrm>
            <a:off x="768352" y="5881637"/>
            <a:ext cx="6816945" cy="653335"/>
          </a:xfrm>
          <a:prstGeom prst="rect">
            <a:avLst/>
          </a:prstGeom>
        </p:spPr>
        <p:txBody>
          <a:bodyPr lIns="0" tIns="0" rIns="0" bIns="0">
            <a:normAutofit/>
          </a:bodyPr>
          <a:lstStyle>
            <a:lvl1pPr marL="0" indent="0" algn="l">
              <a:lnSpc>
                <a:spcPct val="100000"/>
              </a:lnSpc>
              <a:spcBef>
                <a:spcPts val="0"/>
              </a:spcBef>
              <a:spcAft>
                <a:spcPts val="0"/>
              </a:spcAft>
              <a:buFont typeface="Arial" charset="0"/>
              <a:buNone/>
              <a:defRPr sz="1733"/>
            </a:lvl1pPr>
            <a:lvl2pPr marL="0" indent="0">
              <a:buNone/>
              <a:defRPr sz="1333"/>
            </a:lvl2pPr>
            <a:lvl3pPr marL="0" indent="0">
              <a:buNone/>
              <a:defRPr sz="1333"/>
            </a:lvl3pPr>
            <a:lvl4pPr marL="0" indent="0">
              <a:buNone/>
              <a:defRPr sz="1333"/>
            </a:lvl4pPr>
            <a:lvl5pPr marL="0" indent="0">
              <a:buNone/>
              <a:defRPr sz="1333"/>
            </a:lvl5pPr>
          </a:lstStyle>
          <a:p>
            <a:pPr lvl="0"/>
            <a:r>
              <a:rPr lang="en-US" dirty="0"/>
              <a:t>Month, year</a:t>
            </a:r>
            <a:br>
              <a:rPr lang="en-US" dirty="0"/>
            </a:br>
            <a:r>
              <a:rPr lang="en-US" dirty="0"/>
              <a:t>Name presenter</a:t>
            </a:r>
          </a:p>
        </p:txBody>
      </p:sp>
      <p:sp>
        <p:nvSpPr>
          <p:cNvPr id="8" name="Title 1"/>
          <p:cNvSpPr>
            <a:spLocks noGrp="1"/>
          </p:cNvSpPr>
          <p:nvPr>
            <p:ph type="ctrTitle" hasCustomPrompt="1"/>
          </p:nvPr>
        </p:nvSpPr>
        <p:spPr>
          <a:xfrm>
            <a:off x="768352" y="2212623"/>
            <a:ext cx="6816945" cy="2325511"/>
          </a:xfrm>
          <a:prstGeom prst="rect">
            <a:avLst/>
          </a:prstGeom>
        </p:spPr>
        <p:txBody>
          <a:bodyPr lIns="0" tIns="0" rIns="0" bIns="0" anchor="t" anchorCtr="0">
            <a:normAutofit/>
          </a:bodyPr>
          <a:lstStyle>
            <a:lvl1pPr algn="l">
              <a:lnSpc>
                <a:spcPct val="100000"/>
              </a:lnSpc>
              <a:defRPr sz="5067">
                <a:solidFill>
                  <a:srgbClr val="53565A"/>
                </a:solidFill>
              </a:defRPr>
            </a:lvl1pPr>
          </a:lstStyle>
          <a:p>
            <a:r>
              <a:rPr lang="en-US" noProof="0" dirty="0"/>
              <a:t>Click to edit title max over 2x lines</a:t>
            </a:r>
          </a:p>
        </p:txBody>
      </p:sp>
      <p:sp>
        <p:nvSpPr>
          <p:cNvPr id="10" name="Text Placeholder 6"/>
          <p:cNvSpPr>
            <a:spLocks noGrp="1"/>
          </p:cNvSpPr>
          <p:nvPr>
            <p:ph type="body" sz="quarter" idx="16" hasCustomPrompt="1"/>
          </p:nvPr>
        </p:nvSpPr>
        <p:spPr>
          <a:xfrm>
            <a:off x="768352" y="4651023"/>
            <a:ext cx="6816945" cy="1016000"/>
          </a:xfrm>
          <a:prstGeom prst="rect">
            <a:avLst/>
          </a:prstGeom>
        </p:spPr>
        <p:txBody>
          <a:bodyPr lIns="0" tIns="0" rIns="0" bIns="0">
            <a:normAutofit/>
          </a:bodyPr>
          <a:lstStyle>
            <a:lvl1pPr marL="0" indent="0">
              <a:lnSpc>
                <a:spcPct val="100000"/>
              </a:lnSpc>
              <a:buNone/>
              <a:defRPr sz="2667">
                <a:solidFill>
                  <a:srgbClr val="FF6C00"/>
                </a:solidFill>
              </a:defRPr>
            </a:lvl1pPr>
            <a:lvl2pPr marL="457189" indent="0">
              <a:lnSpc>
                <a:spcPts val="4800"/>
              </a:lnSpc>
              <a:buNone/>
              <a:defRPr sz="4000">
                <a:solidFill>
                  <a:srgbClr val="FF6C00"/>
                </a:solidFill>
              </a:defRPr>
            </a:lvl2pPr>
            <a:lvl3pPr marL="914377" indent="0">
              <a:lnSpc>
                <a:spcPts val="4800"/>
              </a:lnSpc>
              <a:buNone/>
              <a:defRPr sz="4000">
                <a:solidFill>
                  <a:srgbClr val="FF6C00"/>
                </a:solidFill>
              </a:defRPr>
            </a:lvl3pPr>
            <a:lvl4pPr marL="1371566" indent="0">
              <a:lnSpc>
                <a:spcPts val="4800"/>
              </a:lnSpc>
              <a:buNone/>
              <a:defRPr sz="4000">
                <a:solidFill>
                  <a:srgbClr val="FF6C00"/>
                </a:solidFill>
              </a:defRPr>
            </a:lvl4pPr>
            <a:lvl5pPr marL="1828754" indent="0">
              <a:lnSpc>
                <a:spcPts val="4800"/>
              </a:lnSpc>
              <a:buNone/>
              <a:defRPr sz="4000">
                <a:solidFill>
                  <a:srgbClr val="FF6C00"/>
                </a:solidFill>
              </a:defRPr>
            </a:lvl5pPr>
          </a:lstStyle>
          <a:p>
            <a:pPr lvl="0"/>
            <a:r>
              <a:rPr lang="en-US" dirty="0"/>
              <a:t>Subtitle</a:t>
            </a:r>
          </a:p>
        </p:txBody>
      </p:sp>
      <p:pic>
        <p:nvPicPr>
          <p:cNvPr id="7" name="Picture 6">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045571" y="1711571"/>
            <a:ext cx="5146429" cy="5146429"/>
          </a:xfrm>
          <a:prstGeom prst="rect">
            <a:avLst/>
          </a:prstGeom>
        </p:spPr>
      </p:pic>
      <p:sp>
        <p:nvSpPr>
          <p:cNvPr id="11" name="Text Placeholder 9">
            <a:extLst>
              <a:ext uri="{FF2B5EF4-FFF2-40B4-BE49-F238E27FC236}">
                <a16:creationId xmlns:a16="http://schemas.microsoft.com/office/drawing/2014/main" id="{E8A0C770-19FC-43E2-AEE2-B18B053BEFFE}"/>
              </a:ext>
            </a:extLst>
          </p:cNvPr>
          <p:cNvSpPr>
            <a:spLocks noGrp="1"/>
          </p:cNvSpPr>
          <p:nvPr>
            <p:ph type="body" sz="quarter" idx="13" hasCustomPrompt="1"/>
          </p:nvPr>
        </p:nvSpPr>
        <p:spPr>
          <a:xfrm>
            <a:off x="768351" y="493184"/>
            <a:ext cx="736600" cy="812800"/>
          </a:xfrm>
          <a:prstGeom prst="rect">
            <a:avLst/>
          </a:prstGeom>
          <a:blipFill dpi="0"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p:spPr>
        <p:txBody>
          <a:bodyPr>
            <a:noAutofit/>
          </a:bodyPr>
          <a:lstStyle>
            <a:lvl1pPr marL="0" indent="0">
              <a:buNone/>
              <a:defRPr sz="133"/>
            </a:lvl1pPr>
          </a:lstStyle>
          <a:p>
            <a:pPr lvl="0"/>
            <a:r>
              <a:rPr lang="en-US" dirty="0"/>
              <a:t>.</a:t>
            </a:r>
          </a:p>
        </p:txBody>
      </p:sp>
    </p:spTree>
    <p:extLst>
      <p:ext uri="{BB962C8B-B14F-4D97-AF65-F5344CB8AC3E}">
        <p14:creationId xmlns:p14="http://schemas.microsoft.com/office/powerpoint/2010/main" val="3039930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6D14BDE-CF2C-4F4F-BA5E-ABFDD7316E23}" type="datetimeFigureOut">
              <a:rPr lang="en-GB" smtClean="0"/>
              <a:t>23/10/2025</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7791FC90-5776-4435-B661-DD37C52ACFA9}" type="slidenum">
              <a:rPr lang="en-GB" smtClean="0"/>
              <a:t>‹#›</a:t>
            </a:fld>
            <a:endParaRPr lang="en-GB" dirty="0"/>
          </a:p>
        </p:txBody>
      </p:sp>
    </p:spTree>
    <p:extLst>
      <p:ext uri="{BB962C8B-B14F-4D97-AF65-F5344CB8AC3E}">
        <p14:creationId xmlns:p14="http://schemas.microsoft.com/office/powerpoint/2010/main" val="332377983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6"/>
            <a:ext cx="6172200" cy="4873625"/>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GB" dirty="0"/>
          </a:p>
        </p:txBody>
      </p:sp>
      <p:sp>
        <p:nvSpPr>
          <p:cNvPr id="4" name="Text Placeholder 3"/>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6D14BDE-CF2C-4F4F-BA5E-ABFDD7316E23}" type="datetimeFigureOut">
              <a:rPr lang="en-GB" smtClean="0"/>
              <a:t>23/10/2025</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7791FC90-5776-4435-B661-DD37C52ACFA9}" type="slidenum">
              <a:rPr lang="en-GB" smtClean="0"/>
              <a:t>‹#›</a:t>
            </a:fld>
            <a:endParaRPr lang="en-GB" dirty="0"/>
          </a:p>
        </p:txBody>
      </p:sp>
    </p:spTree>
    <p:extLst>
      <p:ext uri="{BB962C8B-B14F-4D97-AF65-F5344CB8AC3E}">
        <p14:creationId xmlns:p14="http://schemas.microsoft.com/office/powerpoint/2010/main" val="91593812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C6D14BDE-CF2C-4F4F-BA5E-ABFDD7316E23}" type="datetimeFigureOut">
              <a:rPr lang="en-GB" smtClean="0"/>
              <a:t>23/10/2025</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7791FC90-5776-4435-B661-DD37C52ACFA9}" type="slidenum">
              <a:rPr lang="en-GB" smtClean="0"/>
              <a:t>‹#›</a:t>
            </a:fld>
            <a:endParaRPr lang="en-GB" dirty="0"/>
          </a:p>
        </p:txBody>
      </p:sp>
    </p:spTree>
    <p:extLst>
      <p:ext uri="{BB962C8B-B14F-4D97-AF65-F5344CB8AC3E}">
        <p14:creationId xmlns:p14="http://schemas.microsoft.com/office/powerpoint/2010/main" val="112337986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6"/>
            <a:ext cx="2628900" cy="5811839"/>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1" y="365126"/>
            <a:ext cx="7734300" cy="581183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C6D14BDE-CF2C-4F4F-BA5E-ABFDD7316E23}" type="datetimeFigureOut">
              <a:rPr lang="en-GB" smtClean="0"/>
              <a:t>23/10/2025</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7791FC90-5776-4435-B661-DD37C52ACFA9}" type="slidenum">
              <a:rPr lang="en-GB" smtClean="0"/>
              <a:t>‹#›</a:t>
            </a:fld>
            <a:endParaRPr lang="en-GB" dirty="0"/>
          </a:p>
        </p:txBody>
      </p:sp>
    </p:spTree>
    <p:extLst>
      <p:ext uri="{BB962C8B-B14F-4D97-AF65-F5344CB8AC3E}">
        <p14:creationId xmlns:p14="http://schemas.microsoft.com/office/powerpoint/2010/main" val="63163142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userDrawn="1">
  <p:cSld name="Main title slide with subtitle">
    <p:spTree>
      <p:nvGrpSpPr>
        <p:cNvPr id="1" name=""/>
        <p:cNvGrpSpPr/>
        <p:nvPr/>
      </p:nvGrpSpPr>
      <p:grpSpPr>
        <a:xfrm>
          <a:off x="0" y="0"/>
          <a:ext cx="0" cy="0"/>
          <a:chOff x="0" y="0"/>
          <a:chExt cx="0" cy="0"/>
        </a:xfrm>
      </p:grpSpPr>
      <p:sp>
        <p:nvSpPr>
          <p:cNvPr id="18" name="Text Placeholder 11"/>
          <p:cNvSpPr>
            <a:spLocks noGrp="1"/>
          </p:cNvSpPr>
          <p:nvPr>
            <p:ph type="body" sz="quarter" idx="14" hasCustomPrompt="1"/>
          </p:nvPr>
        </p:nvSpPr>
        <p:spPr>
          <a:xfrm>
            <a:off x="768352" y="5881637"/>
            <a:ext cx="6816945" cy="653335"/>
          </a:xfrm>
          <a:prstGeom prst="rect">
            <a:avLst/>
          </a:prstGeom>
        </p:spPr>
        <p:txBody>
          <a:bodyPr lIns="0" tIns="0" rIns="0" bIns="0">
            <a:normAutofit/>
          </a:bodyPr>
          <a:lstStyle>
            <a:lvl1pPr marL="0" indent="0" algn="l">
              <a:lnSpc>
                <a:spcPct val="100000"/>
              </a:lnSpc>
              <a:spcBef>
                <a:spcPts val="0"/>
              </a:spcBef>
              <a:spcAft>
                <a:spcPts val="0"/>
              </a:spcAft>
              <a:buFont typeface="Arial" charset="0"/>
              <a:buNone/>
              <a:defRPr sz="1733"/>
            </a:lvl1pPr>
            <a:lvl2pPr marL="0" indent="0">
              <a:buNone/>
              <a:defRPr sz="1333"/>
            </a:lvl2pPr>
            <a:lvl3pPr marL="0" indent="0">
              <a:buNone/>
              <a:defRPr sz="1333"/>
            </a:lvl3pPr>
            <a:lvl4pPr marL="0" indent="0">
              <a:buNone/>
              <a:defRPr sz="1333"/>
            </a:lvl4pPr>
            <a:lvl5pPr marL="0" indent="0">
              <a:buNone/>
              <a:defRPr sz="1333"/>
            </a:lvl5pPr>
          </a:lstStyle>
          <a:p>
            <a:pPr lvl="0"/>
            <a:r>
              <a:rPr lang="en-US"/>
              <a:t>Month, year</a:t>
            </a:r>
            <a:br>
              <a:rPr lang="en-US"/>
            </a:br>
            <a:r>
              <a:rPr lang="en-US"/>
              <a:t>Name presenter</a:t>
            </a:r>
          </a:p>
        </p:txBody>
      </p:sp>
      <p:sp>
        <p:nvSpPr>
          <p:cNvPr id="8" name="Title 1"/>
          <p:cNvSpPr>
            <a:spLocks noGrp="1"/>
          </p:cNvSpPr>
          <p:nvPr>
            <p:ph type="ctrTitle" hasCustomPrompt="1"/>
          </p:nvPr>
        </p:nvSpPr>
        <p:spPr>
          <a:xfrm>
            <a:off x="768352" y="2212623"/>
            <a:ext cx="6816945" cy="2325511"/>
          </a:xfrm>
          <a:prstGeom prst="rect">
            <a:avLst/>
          </a:prstGeom>
        </p:spPr>
        <p:txBody>
          <a:bodyPr lIns="0" tIns="0" rIns="0" bIns="0" anchor="t" anchorCtr="0">
            <a:normAutofit/>
          </a:bodyPr>
          <a:lstStyle>
            <a:lvl1pPr algn="l">
              <a:lnSpc>
                <a:spcPct val="100000"/>
              </a:lnSpc>
              <a:defRPr sz="5067">
                <a:solidFill>
                  <a:schemeClr val="bg1"/>
                </a:solidFill>
              </a:defRPr>
            </a:lvl1pPr>
          </a:lstStyle>
          <a:p>
            <a:r>
              <a:rPr lang="en-US" noProof="0"/>
              <a:t>Click to edit title max over 2x lines</a:t>
            </a:r>
          </a:p>
        </p:txBody>
      </p:sp>
      <p:sp>
        <p:nvSpPr>
          <p:cNvPr id="10" name="Text Placeholder 6"/>
          <p:cNvSpPr>
            <a:spLocks noGrp="1"/>
          </p:cNvSpPr>
          <p:nvPr>
            <p:ph type="body" sz="quarter" idx="16" hasCustomPrompt="1"/>
          </p:nvPr>
        </p:nvSpPr>
        <p:spPr>
          <a:xfrm>
            <a:off x="768352" y="4651023"/>
            <a:ext cx="6816945" cy="1016000"/>
          </a:xfrm>
          <a:prstGeom prst="rect">
            <a:avLst/>
          </a:prstGeom>
        </p:spPr>
        <p:txBody>
          <a:bodyPr lIns="0" tIns="0" rIns="0" bIns="0">
            <a:normAutofit/>
          </a:bodyPr>
          <a:lstStyle>
            <a:lvl1pPr marL="0" indent="0">
              <a:lnSpc>
                <a:spcPct val="100000"/>
              </a:lnSpc>
              <a:buNone/>
              <a:defRPr sz="2667">
                <a:solidFill>
                  <a:srgbClr val="FF6C00"/>
                </a:solidFill>
              </a:defRPr>
            </a:lvl1pPr>
            <a:lvl2pPr marL="457189" indent="0">
              <a:lnSpc>
                <a:spcPts val="4800"/>
              </a:lnSpc>
              <a:buNone/>
              <a:defRPr sz="4000">
                <a:solidFill>
                  <a:srgbClr val="FF6C00"/>
                </a:solidFill>
              </a:defRPr>
            </a:lvl2pPr>
            <a:lvl3pPr marL="914377" indent="0">
              <a:lnSpc>
                <a:spcPts val="4800"/>
              </a:lnSpc>
              <a:buNone/>
              <a:defRPr sz="4000">
                <a:solidFill>
                  <a:srgbClr val="FF6C00"/>
                </a:solidFill>
              </a:defRPr>
            </a:lvl3pPr>
            <a:lvl4pPr marL="1371566" indent="0">
              <a:lnSpc>
                <a:spcPts val="4800"/>
              </a:lnSpc>
              <a:buNone/>
              <a:defRPr sz="4000">
                <a:solidFill>
                  <a:srgbClr val="FF6C00"/>
                </a:solidFill>
              </a:defRPr>
            </a:lvl4pPr>
            <a:lvl5pPr marL="1828754" indent="0">
              <a:lnSpc>
                <a:spcPts val="4800"/>
              </a:lnSpc>
              <a:buNone/>
              <a:defRPr sz="4000">
                <a:solidFill>
                  <a:srgbClr val="FF6C00"/>
                </a:solidFill>
              </a:defRPr>
            </a:lvl5pPr>
          </a:lstStyle>
          <a:p>
            <a:pPr lvl="0"/>
            <a:r>
              <a:rPr lang="en-US"/>
              <a:t>Subtitle</a:t>
            </a:r>
          </a:p>
        </p:txBody>
      </p:sp>
      <p:pic>
        <p:nvPicPr>
          <p:cNvPr id="7" name="Picture 6">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045571" y="1711571"/>
            <a:ext cx="5146429" cy="5146429"/>
          </a:xfrm>
          <a:prstGeom prst="rect">
            <a:avLst/>
          </a:prstGeom>
        </p:spPr>
      </p:pic>
      <p:sp>
        <p:nvSpPr>
          <p:cNvPr id="9" name="Text Placeholder 9">
            <a:extLst>
              <a:ext uri="{FF2B5EF4-FFF2-40B4-BE49-F238E27FC236}">
                <a16:creationId xmlns:a16="http://schemas.microsoft.com/office/drawing/2014/main" id="{4FCEF2CD-9A3A-421B-94C9-614952CA20BC}"/>
              </a:ext>
            </a:extLst>
          </p:cNvPr>
          <p:cNvSpPr>
            <a:spLocks noGrp="1"/>
          </p:cNvSpPr>
          <p:nvPr>
            <p:ph type="body" sz="quarter" idx="13" hasCustomPrompt="1"/>
          </p:nvPr>
        </p:nvSpPr>
        <p:spPr>
          <a:xfrm>
            <a:off x="768351" y="493184"/>
            <a:ext cx="736600" cy="812800"/>
          </a:xfrm>
          <a:prstGeom prst="rect">
            <a:avLst/>
          </a:prstGeom>
          <a:blipFill dpi="0"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p:spPr>
        <p:txBody>
          <a:bodyPr>
            <a:noAutofit/>
          </a:bodyPr>
          <a:lstStyle>
            <a:lvl1pPr marL="0" indent="0">
              <a:buNone/>
              <a:defRPr sz="133"/>
            </a:lvl1pPr>
          </a:lstStyle>
          <a:p>
            <a:pPr lvl="0"/>
            <a:r>
              <a:rPr lang="en-US"/>
              <a:t>.</a:t>
            </a:r>
          </a:p>
        </p:txBody>
      </p:sp>
    </p:spTree>
    <p:extLst>
      <p:ext uri="{BB962C8B-B14F-4D97-AF65-F5344CB8AC3E}">
        <p14:creationId xmlns:p14="http://schemas.microsoft.com/office/powerpoint/2010/main" val="2335789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Quot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EEE115E-9A03-449B-92F1-3CD40794A0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77200" y="2743200"/>
            <a:ext cx="4114800" cy="4114800"/>
          </a:xfrm>
          <a:prstGeom prst="rect">
            <a:avLst/>
          </a:prstGeom>
        </p:spPr>
      </p:pic>
      <p:sp>
        <p:nvSpPr>
          <p:cNvPr id="7" name="Title 1"/>
          <p:cNvSpPr>
            <a:spLocks noGrp="1"/>
          </p:cNvSpPr>
          <p:nvPr>
            <p:ph type="title" hasCustomPrompt="1"/>
          </p:nvPr>
        </p:nvSpPr>
        <p:spPr>
          <a:xfrm>
            <a:off x="768349" y="1113365"/>
            <a:ext cx="7987200" cy="4224000"/>
          </a:xfrm>
          <a:prstGeom prst="rect">
            <a:avLst/>
          </a:prstGeom>
        </p:spPr>
        <p:txBody>
          <a:bodyPr lIns="0" tIns="0" rIns="0">
            <a:normAutofit/>
          </a:bodyPr>
          <a:lstStyle>
            <a:lvl1pPr marL="0" indent="0">
              <a:lnSpc>
                <a:spcPct val="100000"/>
              </a:lnSpc>
              <a:defRPr sz="4800" baseline="0">
                <a:solidFill>
                  <a:schemeClr val="bg1"/>
                </a:solidFill>
              </a:defRPr>
            </a:lvl1pPr>
          </a:lstStyle>
          <a:p>
            <a:r>
              <a:rPr lang="en-US"/>
              <a:t>“Quote”</a:t>
            </a:r>
          </a:p>
        </p:txBody>
      </p:sp>
      <p:sp>
        <p:nvSpPr>
          <p:cNvPr id="4" name="Date Placeholder 3">
            <a:extLst>
              <a:ext uri="{FF2B5EF4-FFF2-40B4-BE49-F238E27FC236}">
                <a16:creationId xmlns:a16="http://schemas.microsoft.com/office/drawing/2014/main" id="{B0A140A6-5D0E-4488-95CA-4733486F593B}"/>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8B200B3A-B3FB-4A32-A145-4E221A432DD0}"/>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97DC275C-83AD-4E74-9F99-2A21F1C78853}"/>
              </a:ext>
            </a:extLst>
          </p:cNvPr>
          <p:cNvSpPr>
            <a:spLocks noGrp="1"/>
          </p:cNvSpPr>
          <p:nvPr>
            <p:ph type="sldNum" sz="quarter" idx="12"/>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795898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609597" y="1943072"/>
            <a:ext cx="10984427" cy="3765589"/>
          </a:xfrm>
        </p:spPr>
        <p:txBody>
          <a:bodyPr/>
          <a:lstStyle>
            <a:lvl1pPr marL="0" indent="0">
              <a:buNone/>
              <a:defRPr>
                <a:solidFill>
                  <a:srgbClr val="53565A"/>
                </a:solidFill>
              </a:defRPr>
            </a:lvl1pPr>
          </a:lstStyle>
          <a:p>
            <a:pPr lvl="0"/>
            <a:r>
              <a:rPr lang="en-US"/>
              <a:t>Click to edit Master text styles</a:t>
            </a:r>
          </a:p>
          <a:p>
            <a:endParaRPr lang="en-US"/>
          </a:p>
        </p:txBody>
      </p:sp>
      <p:sp>
        <p:nvSpPr>
          <p:cNvPr id="8" name="Slide Number Placeholder 7"/>
          <p:cNvSpPr txBox="1">
            <a:spLocks/>
          </p:cNvSpPr>
          <p:nvPr userDrawn="1"/>
        </p:nvSpPr>
        <p:spPr>
          <a:xfrm>
            <a:off x="11299117" y="-7655"/>
            <a:ext cx="783712" cy="354523"/>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prstClr val="white"/>
                </a:solidFill>
              </a:rPr>
              <a:t>  |  </a:t>
            </a:r>
            <a:fld id="{DA15E891-66B8-4B28-AB8F-05A4B1DE573C}" type="slidenum">
              <a:rPr lang="en-US" sz="700" smtClean="0">
                <a:solidFill>
                  <a:prstClr val="white"/>
                </a:solidFill>
              </a:rPr>
              <a:pPr/>
              <a:t>‹#›</a:t>
            </a:fld>
            <a:endParaRPr lang="en-US" sz="700" dirty="0">
              <a:solidFill>
                <a:prstClr val="white"/>
              </a:solidFill>
            </a:endParaRPr>
          </a:p>
        </p:txBody>
      </p:sp>
      <p:sp>
        <p:nvSpPr>
          <p:cNvPr id="14" name="Title Placeholder 1"/>
          <p:cNvSpPr>
            <a:spLocks noGrp="1"/>
          </p:cNvSpPr>
          <p:nvPr>
            <p:ph type="title"/>
          </p:nvPr>
        </p:nvSpPr>
        <p:spPr>
          <a:xfrm>
            <a:off x="609601" y="705204"/>
            <a:ext cx="10984425"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a:t>Title of Slide</a:t>
            </a:r>
          </a:p>
        </p:txBody>
      </p:sp>
      <p:sp>
        <p:nvSpPr>
          <p:cNvPr id="5" name="Text Placeholder 4"/>
          <p:cNvSpPr>
            <a:spLocks noGrp="1"/>
          </p:cNvSpPr>
          <p:nvPr>
            <p:ph type="body" sz="quarter" idx="10" hasCustomPrompt="1"/>
          </p:nvPr>
        </p:nvSpPr>
        <p:spPr>
          <a:xfrm>
            <a:off x="609600" y="1241714"/>
            <a:ext cx="10984424" cy="350591"/>
          </a:xfrm>
        </p:spPr>
        <p:txBody>
          <a:bodyPr/>
          <a:lstStyle>
            <a:lvl1pPr marL="0" marR="0" indent="0" algn="l" defTabSz="457189"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a:t>Subtitle of Slide</a:t>
            </a:r>
          </a:p>
        </p:txBody>
      </p:sp>
      <p:sp>
        <p:nvSpPr>
          <p:cNvPr id="9" name="Text Placeholder 8"/>
          <p:cNvSpPr>
            <a:spLocks noGrp="1"/>
          </p:cNvSpPr>
          <p:nvPr>
            <p:ph type="body" sz="quarter" idx="11" hasCustomPrompt="1"/>
          </p:nvPr>
        </p:nvSpPr>
        <p:spPr>
          <a:xfrm>
            <a:off x="609597" y="5794655"/>
            <a:ext cx="10984427" cy="370435"/>
          </a:xfrm>
        </p:spPr>
        <p:txBody>
          <a:bodyPr>
            <a:normAutofit/>
          </a:bodyPr>
          <a:lstStyle>
            <a:lvl1pPr marL="0" indent="0">
              <a:buNone/>
              <a:defRPr sz="1300">
                <a:solidFill>
                  <a:srgbClr val="A7A8AA"/>
                </a:solidFill>
              </a:defRPr>
            </a:lvl1pPr>
            <a:lvl2pPr marL="457189" indent="0">
              <a:buNone/>
              <a:defRPr sz="1600">
                <a:latin typeface="Arial"/>
                <a:cs typeface="Arial"/>
              </a:defRPr>
            </a:lvl2pPr>
          </a:lstStyle>
          <a:p>
            <a:pPr lvl="0"/>
            <a:r>
              <a:rPr lang="en-US"/>
              <a:t>Author Name</a:t>
            </a:r>
          </a:p>
        </p:txBody>
      </p:sp>
      <p:sp>
        <p:nvSpPr>
          <p:cNvPr id="18" name="Text Placeholder 17"/>
          <p:cNvSpPr>
            <a:spLocks noGrp="1"/>
          </p:cNvSpPr>
          <p:nvPr>
            <p:ph type="body" sz="quarter" idx="12" hasCustomPrompt="1"/>
          </p:nvPr>
        </p:nvSpPr>
        <p:spPr>
          <a:xfrm>
            <a:off x="609597" y="6165091"/>
            <a:ext cx="10984424" cy="357432"/>
          </a:xfrm>
        </p:spPr>
        <p:txBody>
          <a:bodyPr>
            <a:normAutofit/>
          </a:bodyPr>
          <a:lstStyle>
            <a:lvl1pPr marL="0" indent="0">
              <a:buNone/>
              <a:defRPr sz="1300">
                <a:solidFill>
                  <a:srgbClr val="A7A8AA"/>
                </a:solidFill>
              </a:defRPr>
            </a:lvl1pPr>
          </a:lstStyle>
          <a:p>
            <a:pPr lvl="0"/>
            <a:r>
              <a:rPr lang="en-US"/>
              <a:t>Click to edit text</a:t>
            </a:r>
          </a:p>
        </p:txBody>
      </p:sp>
    </p:spTree>
    <p:extLst>
      <p:ext uri="{BB962C8B-B14F-4D97-AF65-F5344CB8AC3E}">
        <p14:creationId xmlns:p14="http://schemas.microsoft.com/office/powerpoint/2010/main" val="285573256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cSld name="Title and bullets two column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768351" y="1113368"/>
            <a:ext cx="4944533" cy="5196417"/>
          </a:xfrm>
          <a:prstGeom prst="rect">
            <a:avLst/>
          </a:prstGeom>
        </p:spPr>
        <p:txBody>
          <a:bodyPr/>
          <a:lstStyle>
            <a:lvl1pPr marL="380990" indent="-380990">
              <a:lnSpc>
                <a:spcPct val="100000"/>
              </a:lnSpc>
              <a:buFont typeface="Arial" panose="020B0604020202020204" pitchFamily="34" charset="0"/>
              <a:buChar char="•"/>
              <a:defRPr sz="2133" b="0" baseline="0"/>
            </a:lvl1pPr>
            <a:lvl2pPr marL="380990" indent="-380990">
              <a:lnSpc>
                <a:spcPct val="100000"/>
              </a:lnSpc>
              <a:buFont typeface="Arial" panose="020B0604020202020204" pitchFamily="34" charset="0"/>
              <a:buChar char="•"/>
              <a:defRPr sz="1733" b="0"/>
            </a:lvl2pPr>
            <a:lvl3pPr marL="596885" indent="-232828">
              <a:lnSpc>
                <a:spcPct val="100000"/>
              </a:lnSpc>
              <a:buFont typeface="Arial" panose="020B0604020202020204" pitchFamily="34" charset="0"/>
              <a:buChar char="−"/>
              <a:defRPr sz="1867" b="0"/>
            </a:lvl3pPr>
            <a:lvl4pPr marL="831830" indent="-234945">
              <a:lnSpc>
                <a:spcPct val="100000"/>
              </a:lnSpc>
              <a:tabLst/>
              <a:defRPr sz="1867" b="0"/>
            </a:lvl4pPr>
            <a:lvl5pPr marL="1079473" indent="-247644">
              <a:lnSpc>
                <a:spcPct val="100000"/>
              </a:lnSpc>
              <a:defRPr sz="1867" b="0"/>
            </a:lvl5pPr>
            <a:lvl6pPr marL="2285943"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a:p>
        </p:txBody>
      </p:sp>
      <p:sp>
        <p:nvSpPr>
          <p:cNvPr id="9" name="Text Placeholder 8"/>
          <p:cNvSpPr>
            <a:spLocks noGrp="1"/>
          </p:cNvSpPr>
          <p:nvPr>
            <p:ph type="body" sz="quarter" idx="17" hasCustomPrompt="1"/>
          </p:nvPr>
        </p:nvSpPr>
        <p:spPr>
          <a:xfrm>
            <a:off x="6479118" y="1113368"/>
            <a:ext cx="4944533" cy="5196417"/>
          </a:xfrm>
          <a:prstGeom prst="rect">
            <a:avLst/>
          </a:prstGeom>
        </p:spPr>
        <p:txBody>
          <a:bodyPr/>
          <a:lstStyle>
            <a:lvl1pPr marL="380990" indent="-380990">
              <a:lnSpc>
                <a:spcPct val="100000"/>
              </a:lnSpc>
              <a:buFont typeface="Arial" panose="020B0604020202020204" pitchFamily="34" charset="0"/>
              <a:buChar char="•"/>
              <a:defRPr sz="2133" b="0"/>
            </a:lvl1pPr>
            <a:lvl2pPr marL="383108" indent="-383108">
              <a:lnSpc>
                <a:spcPct val="100000"/>
              </a:lnSpc>
              <a:buFont typeface="Arial" panose="020B0604020202020204" pitchFamily="34" charset="0"/>
              <a:buChar char="•"/>
              <a:defRPr sz="1733" b="0"/>
            </a:lvl2pPr>
            <a:lvl3pPr marL="596885" indent="-232828">
              <a:lnSpc>
                <a:spcPct val="100000"/>
              </a:lnSpc>
              <a:buFont typeface="Arial" panose="020B0604020202020204" pitchFamily="34" charset="0"/>
              <a:buChar char="−"/>
              <a:defRPr sz="1867" b="0"/>
            </a:lvl3pPr>
            <a:lvl4pPr marL="831830" indent="-234945">
              <a:lnSpc>
                <a:spcPct val="100000"/>
              </a:lnSpc>
              <a:tabLst/>
              <a:defRPr sz="1867" b="0"/>
            </a:lvl4pPr>
            <a:lvl5pPr marL="1079473" indent="-247644">
              <a:lnSpc>
                <a:spcPct val="100000"/>
              </a:lnSpc>
              <a:defRPr sz="1867" b="0"/>
            </a:lvl5pPr>
          </a:lstStyle>
          <a:p>
            <a:pPr lvl="0"/>
            <a:r>
              <a:rPr lang="en-US"/>
              <a:t>Click to add text</a:t>
            </a:r>
          </a:p>
          <a:p>
            <a:pPr lvl="2"/>
            <a:r>
              <a:rPr lang="en-US"/>
              <a:t>Second level</a:t>
            </a:r>
          </a:p>
          <a:p>
            <a:pPr lvl="3"/>
            <a:r>
              <a:rPr lang="en-US"/>
              <a:t>Third level</a:t>
            </a:r>
          </a:p>
          <a:p>
            <a:pPr lvl="4"/>
            <a:r>
              <a:rPr lang="en-US"/>
              <a:t>Fourth level</a:t>
            </a:r>
          </a:p>
        </p:txBody>
      </p:sp>
      <p:sp>
        <p:nvSpPr>
          <p:cNvPr id="4" name="Titel 3">
            <a:extLst>
              <a:ext uri="{FF2B5EF4-FFF2-40B4-BE49-F238E27FC236}">
                <a16:creationId xmlns:a16="http://schemas.microsoft.com/office/drawing/2014/main" id="{3872E2A8-E205-4778-8440-C86A31617406}"/>
              </a:ext>
            </a:extLst>
          </p:cNvPr>
          <p:cNvSpPr>
            <a:spLocks noGrp="1"/>
          </p:cNvSpPr>
          <p:nvPr>
            <p:ph type="title"/>
          </p:nvPr>
        </p:nvSpPr>
        <p:spPr/>
        <p:txBody>
          <a:bodyPr/>
          <a:lstStyle/>
          <a:p>
            <a:r>
              <a:rPr lang="en-US"/>
              <a:t>Click to edit Master title style</a:t>
            </a:r>
          </a:p>
        </p:txBody>
      </p:sp>
      <p:sp>
        <p:nvSpPr>
          <p:cNvPr id="5" name="Date Placeholder 4">
            <a:extLst>
              <a:ext uri="{FF2B5EF4-FFF2-40B4-BE49-F238E27FC236}">
                <a16:creationId xmlns:a16="http://schemas.microsoft.com/office/drawing/2014/main" id="{ADE4B11B-E592-4BB9-AE34-F70CB195E727}"/>
              </a:ext>
            </a:extLst>
          </p:cNvPr>
          <p:cNvSpPr>
            <a:spLocks noGrp="1"/>
          </p:cNvSpPr>
          <p:nvPr>
            <p:ph type="dt" sz="half" idx="18"/>
          </p:nvPr>
        </p:nvSpPr>
        <p:spPr/>
        <p:txBody>
          <a:bodyPr/>
          <a:lstStyle/>
          <a:p>
            <a:endParaRPr lang="en-US" dirty="0"/>
          </a:p>
        </p:txBody>
      </p:sp>
      <p:sp>
        <p:nvSpPr>
          <p:cNvPr id="7" name="Footer Placeholder 6">
            <a:extLst>
              <a:ext uri="{FF2B5EF4-FFF2-40B4-BE49-F238E27FC236}">
                <a16:creationId xmlns:a16="http://schemas.microsoft.com/office/drawing/2014/main" id="{6F1A4215-8A59-48E0-8F12-9F23CA60220A}"/>
              </a:ext>
            </a:extLst>
          </p:cNvPr>
          <p:cNvSpPr>
            <a:spLocks noGrp="1"/>
          </p:cNvSpPr>
          <p:nvPr>
            <p:ph type="ftr" sz="quarter" idx="19"/>
          </p:nvPr>
        </p:nvSpPr>
        <p:spPr/>
        <p:txBody>
          <a:bodyPr/>
          <a:lstStyle/>
          <a:p>
            <a:endParaRPr lang="en-US" dirty="0"/>
          </a:p>
        </p:txBody>
      </p:sp>
      <p:sp>
        <p:nvSpPr>
          <p:cNvPr id="10" name="Slide Number Placeholder 9">
            <a:extLst>
              <a:ext uri="{FF2B5EF4-FFF2-40B4-BE49-F238E27FC236}">
                <a16:creationId xmlns:a16="http://schemas.microsoft.com/office/drawing/2014/main" id="{CF294D08-94E6-49A2-9DF7-3985093964AC}"/>
              </a:ext>
            </a:extLst>
          </p:cNvPr>
          <p:cNvSpPr>
            <a:spLocks noGrp="1"/>
          </p:cNvSpPr>
          <p:nvPr>
            <p:ph type="sldNum" sz="quarter" idx="20"/>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115837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619" y="1857"/>
          <a:ext cx="1588"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619" y="1857"/>
                        <a:ext cx="1588" cy="1587"/>
                      </a:xfrm>
                      <a:prstGeom prst="rect">
                        <a:avLst/>
                      </a:prstGeom>
                    </p:spPr>
                  </p:pic>
                </p:oleObj>
              </mc:Fallback>
            </mc:AlternateContent>
          </a:graphicData>
        </a:graphic>
      </p:graphicFrame>
      <p:sp>
        <p:nvSpPr>
          <p:cNvPr id="7" name="Rectangle 6"/>
          <p:cNvSpPr/>
          <p:nvPr userDrawn="1"/>
        </p:nvSpPr>
        <p:spPr>
          <a:xfrm>
            <a:off x="0" y="6403932"/>
            <a:ext cx="12192000" cy="46314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nl-NL" sz="1067">
                <a:solidFill>
                  <a:schemeClr val="tx1">
                    <a:lumMod val="50000"/>
                    <a:lumOff val="50000"/>
                  </a:schemeClr>
                </a:solidFill>
              </a:rPr>
              <a:t>October 2023</a:t>
            </a:r>
          </a:p>
        </p:txBody>
      </p:sp>
      <p:pic>
        <p:nvPicPr>
          <p:cNvPr id="10" name="Picture 2" descr="Afbeeldingsresultaat voor elsevier logo png"/>
          <p:cNvPicPr>
            <a:picLocks noChangeAspect="1" noChangeArrowheads="1"/>
          </p:cNvPicPr>
          <p:nvPr userDrawn="1"/>
        </p:nvPicPr>
        <p:blipFill rotWithShape="1">
          <a:blip r:embed="rId5" cstate="print">
            <a:grayscl/>
            <a:extLst>
              <a:ext uri="{28A0092B-C50C-407E-A947-70E740481C1C}">
                <a14:useLocalDpi xmlns:a14="http://schemas.microsoft.com/office/drawing/2010/main" val="0"/>
              </a:ext>
            </a:extLst>
          </a:blip>
          <a:srcRect t="61775"/>
          <a:stretch/>
        </p:blipFill>
        <p:spPr bwMode="auto">
          <a:xfrm>
            <a:off x="10079656" y="6551237"/>
            <a:ext cx="956733" cy="168545"/>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5">
            <a:extLst>
              <a:ext uri="{FF2B5EF4-FFF2-40B4-BE49-F238E27FC236}">
                <a16:creationId xmlns:a16="http://schemas.microsoft.com/office/drawing/2014/main" id="{989EC98B-6F20-83A8-D328-65ED186C607A}"/>
              </a:ext>
            </a:extLst>
          </p:cNvPr>
          <p:cNvSpPr txBox="1">
            <a:spLocks/>
          </p:cNvSpPr>
          <p:nvPr userDrawn="1"/>
        </p:nvSpPr>
        <p:spPr>
          <a:xfrm>
            <a:off x="11422949" y="6510076"/>
            <a:ext cx="508747" cy="215445"/>
          </a:xfrm>
          <a:prstGeom prst="rect">
            <a:avLst/>
          </a:prstGeom>
        </p:spPr>
        <p:txBody>
          <a:bodyPr/>
          <a:lstStyle>
            <a:defPPr>
              <a:defRPr lang="en-US"/>
            </a:defPPr>
            <a:lvl1pPr marL="0" algn="ct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74443FD-B3BF-4A51-BC45-2ECDCD32B8CE}" type="slidenum">
              <a:rPr lang="nl-NL" sz="1000" smtClean="0">
                <a:solidFill>
                  <a:prstClr val="black">
                    <a:lumMod val="50000"/>
                    <a:lumOff val="50000"/>
                  </a:prstClr>
                </a:solidFill>
              </a:rPr>
              <a:pPr/>
              <a:t>‹#›</a:t>
            </a:fld>
            <a:endParaRPr lang="nl-NL" sz="1000">
              <a:solidFill>
                <a:prstClr val="black">
                  <a:lumMod val="50000"/>
                  <a:lumOff val="50000"/>
                </a:prstClr>
              </a:solidFill>
            </a:endParaRPr>
          </a:p>
        </p:txBody>
      </p:sp>
    </p:spTree>
    <p:extLst>
      <p:ext uri="{BB962C8B-B14F-4D97-AF65-F5344CB8AC3E}">
        <p14:creationId xmlns:p14="http://schemas.microsoft.com/office/powerpoint/2010/main" val="2774913879"/>
      </p:ext>
    </p:extLst>
  </p:cSld>
  <p:clrMapOvr>
    <a:masterClrMapping/>
  </p:clrMapOvr>
  <p:extLst>
    <p:ext uri="{DCECCB84-F9BA-43D5-87BE-67443E8EF086}">
      <p15:sldGuideLst xmlns:p15="http://schemas.microsoft.com/office/powerpoint/2012/main">
        <p15:guide id="1" orient="horz" pos="1215">
          <p15:clr>
            <a:srgbClr val="FBAE40"/>
          </p15:clr>
        </p15:guide>
        <p15:guide id="2" pos="216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618" y="1857"/>
          <a:ext cx="1588"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618" y="1857"/>
                        <a:ext cx="1588" cy="1587"/>
                      </a:xfrm>
                      <a:prstGeom prst="rect">
                        <a:avLst/>
                      </a:prstGeom>
                    </p:spPr>
                  </p:pic>
                </p:oleObj>
              </mc:Fallback>
            </mc:AlternateContent>
          </a:graphicData>
        </a:graphic>
      </p:graphicFrame>
      <p:sp>
        <p:nvSpPr>
          <p:cNvPr id="7" name="Rectangle 6"/>
          <p:cNvSpPr/>
          <p:nvPr userDrawn="1"/>
        </p:nvSpPr>
        <p:spPr>
          <a:xfrm>
            <a:off x="0" y="6403932"/>
            <a:ext cx="12192000" cy="46314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nl-NL" sz="1067">
                <a:solidFill>
                  <a:schemeClr val="tx1">
                    <a:lumMod val="50000"/>
                    <a:lumOff val="50000"/>
                  </a:schemeClr>
                </a:solidFill>
              </a:rPr>
              <a:t>December 2023</a:t>
            </a:r>
          </a:p>
        </p:txBody>
      </p:sp>
      <p:pic>
        <p:nvPicPr>
          <p:cNvPr id="10" name="Picture 2" descr="Afbeeldingsresultaat voor elsevier logo png"/>
          <p:cNvPicPr>
            <a:picLocks noChangeAspect="1" noChangeArrowheads="1"/>
          </p:cNvPicPr>
          <p:nvPr userDrawn="1"/>
        </p:nvPicPr>
        <p:blipFill rotWithShape="1">
          <a:blip r:embed="rId5" cstate="print">
            <a:grayscl/>
            <a:extLst>
              <a:ext uri="{28A0092B-C50C-407E-A947-70E740481C1C}">
                <a14:useLocalDpi xmlns:a14="http://schemas.microsoft.com/office/drawing/2010/main" val="0"/>
              </a:ext>
            </a:extLst>
          </a:blip>
          <a:srcRect t="61775"/>
          <a:stretch/>
        </p:blipFill>
        <p:spPr bwMode="auto">
          <a:xfrm>
            <a:off x="10079656" y="6551236"/>
            <a:ext cx="956733" cy="168545"/>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5">
            <a:extLst>
              <a:ext uri="{FF2B5EF4-FFF2-40B4-BE49-F238E27FC236}">
                <a16:creationId xmlns:a16="http://schemas.microsoft.com/office/drawing/2014/main" id="{989EC98B-6F20-83A8-D328-65ED186C607A}"/>
              </a:ext>
            </a:extLst>
          </p:cNvPr>
          <p:cNvSpPr txBox="1">
            <a:spLocks/>
          </p:cNvSpPr>
          <p:nvPr userDrawn="1"/>
        </p:nvSpPr>
        <p:spPr>
          <a:xfrm>
            <a:off x="11422949" y="6510076"/>
            <a:ext cx="508747" cy="215445"/>
          </a:xfrm>
          <a:prstGeom prst="rect">
            <a:avLst/>
          </a:prstGeom>
        </p:spPr>
        <p:txBody>
          <a:bodyPr/>
          <a:lstStyle>
            <a:defPPr>
              <a:defRPr lang="en-US"/>
            </a:defPPr>
            <a:lvl1pPr marL="0" algn="ct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74443FD-B3BF-4A51-BC45-2ECDCD32B8CE}" type="slidenum">
              <a:rPr lang="nl-NL" sz="1000" smtClean="0">
                <a:solidFill>
                  <a:prstClr val="black">
                    <a:lumMod val="50000"/>
                    <a:lumOff val="50000"/>
                  </a:prstClr>
                </a:solidFill>
              </a:rPr>
              <a:pPr/>
              <a:t>‹#›</a:t>
            </a:fld>
            <a:endParaRPr lang="nl-NL" sz="1000">
              <a:solidFill>
                <a:prstClr val="black">
                  <a:lumMod val="50000"/>
                  <a:lumOff val="50000"/>
                </a:prstClr>
              </a:solidFill>
            </a:endParaRPr>
          </a:p>
        </p:txBody>
      </p:sp>
    </p:spTree>
    <p:extLst>
      <p:ext uri="{BB962C8B-B14F-4D97-AF65-F5344CB8AC3E}">
        <p14:creationId xmlns:p14="http://schemas.microsoft.com/office/powerpoint/2010/main" val="1219836744"/>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with white text and dark logo">
    <p:spTree>
      <p:nvGrpSpPr>
        <p:cNvPr id="1" name=""/>
        <p:cNvGrpSpPr/>
        <p:nvPr/>
      </p:nvGrpSpPr>
      <p:grpSpPr>
        <a:xfrm>
          <a:off x="0" y="0"/>
          <a:ext cx="0" cy="0"/>
          <a:chOff x="0" y="0"/>
          <a:chExt cx="0" cy="0"/>
        </a:xfrm>
      </p:grpSpPr>
      <p:sp>
        <p:nvSpPr>
          <p:cNvPr id="14" name="Picture Placeholder 13"/>
          <p:cNvSpPr>
            <a:spLocks noGrp="1"/>
          </p:cNvSpPr>
          <p:nvPr>
            <p:ph type="pic" sz="quarter" idx="15" hasCustomPrompt="1"/>
          </p:nvPr>
        </p:nvSpPr>
        <p:spPr>
          <a:xfrm>
            <a:off x="0" y="0"/>
            <a:ext cx="12192000" cy="6858000"/>
          </a:xfrm>
          <a:prstGeom prst="rect">
            <a:avLst/>
          </a:prstGeom>
          <a:solidFill>
            <a:schemeClr val="accent6"/>
          </a:solidFill>
        </p:spPr>
        <p:txBody>
          <a:bodyPr>
            <a:normAutofit/>
          </a:bodyPr>
          <a:lstStyle>
            <a:lvl1pPr marL="0" indent="0" algn="ctr">
              <a:lnSpc>
                <a:spcPct val="100000"/>
              </a:lnSpc>
              <a:buNone/>
              <a:defRPr sz="2133" baseline="0"/>
            </a:lvl1pPr>
          </a:lstStyle>
          <a:p>
            <a:r>
              <a:rPr lang="en-US" noProof="0" dirty="0"/>
              <a:t>Drag picture to placeholder or click icon to add</a:t>
            </a:r>
          </a:p>
        </p:txBody>
      </p:sp>
      <p:sp>
        <p:nvSpPr>
          <p:cNvPr id="2" name="Title 1"/>
          <p:cNvSpPr>
            <a:spLocks noGrp="1"/>
          </p:cNvSpPr>
          <p:nvPr>
            <p:ph type="ctrTitle" hasCustomPrompt="1"/>
          </p:nvPr>
        </p:nvSpPr>
        <p:spPr>
          <a:xfrm>
            <a:off x="768352" y="2212623"/>
            <a:ext cx="6816945" cy="2325511"/>
          </a:xfrm>
          <a:prstGeom prst="rect">
            <a:avLst/>
          </a:prstGeom>
        </p:spPr>
        <p:txBody>
          <a:bodyPr lIns="0" tIns="0" rIns="0" bIns="0" anchor="t" anchorCtr="0">
            <a:normAutofit/>
          </a:bodyPr>
          <a:lstStyle>
            <a:lvl1pPr algn="l">
              <a:lnSpc>
                <a:spcPct val="100000"/>
              </a:lnSpc>
              <a:defRPr sz="5067">
                <a:solidFill>
                  <a:schemeClr val="bg1"/>
                </a:solidFill>
              </a:defRPr>
            </a:lvl1pPr>
          </a:lstStyle>
          <a:p>
            <a:r>
              <a:rPr lang="en-US" noProof="0" dirty="0"/>
              <a:t>Click to edit title max over 2x lines</a:t>
            </a:r>
          </a:p>
        </p:txBody>
      </p:sp>
      <p:sp>
        <p:nvSpPr>
          <p:cNvPr id="12" name="Text Placeholder 11"/>
          <p:cNvSpPr>
            <a:spLocks noGrp="1"/>
          </p:cNvSpPr>
          <p:nvPr>
            <p:ph type="body" sz="quarter" idx="14" hasCustomPrompt="1"/>
          </p:nvPr>
        </p:nvSpPr>
        <p:spPr>
          <a:xfrm>
            <a:off x="768352" y="5881637"/>
            <a:ext cx="6816945" cy="653335"/>
          </a:xfrm>
          <a:prstGeom prst="rect">
            <a:avLst/>
          </a:prstGeom>
        </p:spPr>
        <p:txBody>
          <a:bodyPr lIns="0" tIns="0" rIns="0" bIns="0">
            <a:normAutofit/>
          </a:bodyPr>
          <a:lstStyle>
            <a:lvl1pPr marL="0" indent="0">
              <a:lnSpc>
                <a:spcPct val="100000"/>
              </a:lnSpc>
              <a:spcBef>
                <a:spcPts val="0"/>
              </a:spcBef>
              <a:spcAft>
                <a:spcPts val="0"/>
              </a:spcAft>
              <a:buNone/>
              <a:defRPr sz="1733"/>
            </a:lvl1pPr>
            <a:lvl2pPr marL="0" indent="0">
              <a:buNone/>
              <a:defRPr sz="1333"/>
            </a:lvl2pPr>
            <a:lvl3pPr marL="0" indent="0">
              <a:buNone/>
              <a:defRPr sz="1333"/>
            </a:lvl3pPr>
            <a:lvl4pPr marL="0" indent="0">
              <a:buNone/>
              <a:defRPr sz="1333"/>
            </a:lvl4pPr>
            <a:lvl5pPr marL="0" indent="0">
              <a:buNone/>
              <a:defRPr sz="1333"/>
            </a:lvl5pPr>
          </a:lstStyle>
          <a:p>
            <a:pPr lvl="0"/>
            <a:r>
              <a:rPr lang="en-US" dirty="0"/>
              <a:t>Month, year</a:t>
            </a:r>
            <a:br>
              <a:rPr lang="en-US" dirty="0"/>
            </a:br>
            <a:r>
              <a:rPr lang="en-US" dirty="0"/>
              <a:t>Name presenter</a:t>
            </a:r>
          </a:p>
        </p:txBody>
      </p:sp>
      <p:sp>
        <p:nvSpPr>
          <p:cNvPr id="9" name="Text Placeholder 6"/>
          <p:cNvSpPr>
            <a:spLocks noGrp="1"/>
          </p:cNvSpPr>
          <p:nvPr>
            <p:ph type="body" sz="quarter" idx="16" hasCustomPrompt="1"/>
          </p:nvPr>
        </p:nvSpPr>
        <p:spPr>
          <a:xfrm>
            <a:off x="768352" y="4651023"/>
            <a:ext cx="6816945" cy="1016000"/>
          </a:xfrm>
          <a:prstGeom prst="rect">
            <a:avLst/>
          </a:prstGeom>
        </p:spPr>
        <p:txBody>
          <a:bodyPr lIns="0" tIns="0" rIns="0" bIns="0">
            <a:normAutofit/>
          </a:bodyPr>
          <a:lstStyle>
            <a:lvl1pPr marL="0" indent="0">
              <a:lnSpc>
                <a:spcPct val="100000"/>
              </a:lnSpc>
              <a:buNone/>
              <a:defRPr sz="2667">
                <a:solidFill>
                  <a:srgbClr val="FF6C00"/>
                </a:solidFill>
              </a:defRPr>
            </a:lvl1pPr>
            <a:lvl2pPr marL="457189" indent="0">
              <a:lnSpc>
                <a:spcPts val="4800"/>
              </a:lnSpc>
              <a:buNone/>
              <a:defRPr sz="4000">
                <a:solidFill>
                  <a:srgbClr val="FF6C00"/>
                </a:solidFill>
              </a:defRPr>
            </a:lvl2pPr>
            <a:lvl3pPr marL="914377" indent="0">
              <a:lnSpc>
                <a:spcPts val="4800"/>
              </a:lnSpc>
              <a:buNone/>
              <a:defRPr sz="4000">
                <a:solidFill>
                  <a:srgbClr val="FF6C00"/>
                </a:solidFill>
              </a:defRPr>
            </a:lvl3pPr>
            <a:lvl4pPr marL="1371566" indent="0">
              <a:lnSpc>
                <a:spcPts val="4800"/>
              </a:lnSpc>
              <a:buNone/>
              <a:defRPr sz="4000">
                <a:solidFill>
                  <a:srgbClr val="FF6C00"/>
                </a:solidFill>
              </a:defRPr>
            </a:lvl4pPr>
            <a:lvl5pPr marL="1828754" indent="0">
              <a:lnSpc>
                <a:spcPts val="4800"/>
              </a:lnSpc>
              <a:buNone/>
              <a:defRPr sz="4000">
                <a:solidFill>
                  <a:srgbClr val="FF6C00"/>
                </a:solidFill>
              </a:defRPr>
            </a:lvl5pPr>
          </a:lstStyle>
          <a:p>
            <a:pPr lvl="0"/>
            <a:r>
              <a:rPr lang="en-US" dirty="0"/>
              <a:t>Subtitle</a:t>
            </a:r>
          </a:p>
        </p:txBody>
      </p:sp>
      <p:sp>
        <p:nvSpPr>
          <p:cNvPr id="16" name="Text Placeholder 9"/>
          <p:cNvSpPr>
            <a:spLocks noGrp="1"/>
          </p:cNvSpPr>
          <p:nvPr>
            <p:ph type="body" sz="quarter" idx="13" hasCustomPrompt="1"/>
          </p:nvPr>
        </p:nvSpPr>
        <p:spPr>
          <a:xfrm>
            <a:off x="768351" y="493184"/>
            <a:ext cx="736600" cy="8128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33"/>
            </a:lvl1pPr>
          </a:lstStyle>
          <a:p>
            <a:pPr lvl="0"/>
            <a:r>
              <a:rPr lang="en-US" dirty="0"/>
              <a:t>.</a:t>
            </a:r>
          </a:p>
        </p:txBody>
      </p:sp>
    </p:spTree>
    <p:extLst>
      <p:ext uri="{BB962C8B-B14F-4D97-AF65-F5344CB8AC3E}">
        <p14:creationId xmlns:p14="http://schemas.microsoft.com/office/powerpoint/2010/main" val="2631469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5397">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11" name="Text Placeholder 8"/>
          <p:cNvSpPr>
            <a:spLocks noGrp="1"/>
          </p:cNvSpPr>
          <p:nvPr>
            <p:ph type="body" sz="quarter" idx="13" hasCustomPrompt="1"/>
          </p:nvPr>
        </p:nvSpPr>
        <p:spPr>
          <a:xfrm>
            <a:off x="768351" y="1113368"/>
            <a:ext cx="10655300" cy="5196416"/>
          </a:xfrm>
          <a:prstGeom prst="rect">
            <a:avLst/>
          </a:prstGeom>
        </p:spPr>
        <p:txBody>
          <a:bodyPr>
            <a:normAutofit/>
          </a:bodyPr>
          <a:lstStyle>
            <a:lvl1pPr marL="0" indent="0">
              <a:lnSpc>
                <a:spcPct val="100000"/>
              </a:lnSpc>
              <a:buFont typeface="Arial" charset="0"/>
              <a:buNone/>
              <a:defRPr sz="2400" b="0"/>
            </a:lvl1pPr>
            <a:lvl2pPr marL="480460" indent="-480460">
              <a:lnSpc>
                <a:spcPct val="100000"/>
              </a:lnSpc>
              <a:buFont typeface="+mj-lt"/>
              <a:buAutoNum type="arabicPeriod"/>
              <a:defRPr sz="2133" b="0"/>
            </a:lvl2pPr>
            <a:lvl3pPr marL="486809" indent="0">
              <a:lnSpc>
                <a:spcPct val="100000"/>
              </a:lnSpc>
              <a:buFont typeface="Arial" charset="0"/>
              <a:buNone/>
              <a:defRPr sz="2133" b="0"/>
            </a:lvl3pPr>
            <a:lvl4pPr marL="732330" indent="0">
              <a:lnSpc>
                <a:spcPct val="100000"/>
              </a:lnSpc>
              <a:buNone/>
              <a:tabLst/>
              <a:defRPr sz="2133" b="0"/>
            </a:lvl4pPr>
            <a:lvl5pPr marL="967269" indent="0">
              <a:lnSpc>
                <a:spcPct val="100000"/>
              </a:lnSpc>
              <a:buFont typeface="Arial" charset="0"/>
              <a:buNone/>
              <a:defRPr sz="2133" b="0" baseline="0"/>
            </a:lvl5pPr>
          </a:lstStyle>
          <a:p>
            <a:pPr lvl="0"/>
            <a:r>
              <a:rPr lang="en-US"/>
              <a:t>Click to add text</a:t>
            </a:r>
          </a:p>
        </p:txBody>
      </p:sp>
      <p:sp>
        <p:nvSpPr>
          <p:cNvPr id="4" name="Titel 3">
            <a:extLst>
              <a:ext uri="{FF2B5EF4-FFF2-40B4-BE49-F238E27FC236}">
                <a16:creationId xmlns:a16="http://schemas.microsoft.com/office/drawing/2014/main" id="{1C4B0388-7C7E-45C3-A6E3-3E637FAB215F}"/>
              </a:ext>
            </a:extLst>
          </p:cNvPr>
          <p:cNvSpPr>
            <a:spLocks noGrp="1"/>
          </p:cNvSpPr>
          <p:nvPr>
            <p:ph type="title"/>
          </p:nvPr>
        </p:nvSpPr>
        <p:spPr/>
        <p:txBody>
          <a:bodyPr/>
          <a:lstStyle>
            <a:lvl1pPr>
              <a:defRPr/>
            </a:lvl1pPr>
          </a:lstStyle>
          <a:p>
            <a:r>
              <a:rPr lang="en-US"/>
              <a:t>Click to edit Master title style</a:t>
            </a:r>
          </a:p>
        </p:txBody>
      </p:sp>
      <p:sp>
        <p:nvSpPr>
          <p:cNvPr id="3" name="Date Placeholder 2">
            <a:extLst>
              <a:ext uri="{FF2B5EF4-FFF2-40B4-BE49-F238E27FC236}">
                <a16:creationId xmlns:a16="http://schemas.microsoft.com/office/drawing/2014/main" id="{CDC33F9F-6CBB-499E-A399-F579A1C082A4}"/>
              </a:ext>
            </a:extLst>
          </p:cNvPr>
          <p:cNvSpPr>
            <a:spLocks noGrp="1"/>
          </p:cNvSpPr>
          <p:nvPr>
            <p:ph type="dt" sz="half" idx="14"/>
          </p:nvPr>
        </p:nvSpPr>
        <p:spPr/>
        <p:txBody>
          <a:bodyPr/>
          <a:lstStyle/>
          <a:p>
            <a:endParaRPr lang="en-US" dirty="0"/>
          </a:p>
        </p:txBody>
      </p:sp>
      <p:sp>
        <p:nvSpPr>
          <p:cNvPr id="5" name="Footer Placeholder 4">
            <a:extLst>
              <a:ext uri="{FF2B5EF4-FFF2-40B4-BE49-F238E27FC236}">
                <a16:creationId xmlns:a16="http://schemas.microsoft.com/office/drawing/2014/main" id="{475B278D-E37B-46DC-954C-589B0EF3EA41}"/>
              </a:ext>
            </a:extLst>
          </p:cNvPr>
          <p:cNvSpPr>
            <a:spLocks noGrp="1"/>
          </p:cNvSpPr>
          <p:nvPr>
            <p:ph type="ftr" sz="quarter" idx="15"/>
          </p:nvPr>
        </p:nvSpPr>
        <p:spPr/>
        <p:txBody>
          <a:bodyPr/>
          <a:lstStyle/>
          <a:p>
            <a:endParaRPr lang="en-US" dirty="0"/>
          </a:p>
        </p:txBody>
      </p:sp>
      <p:sp>
        <p:nvSpPr>
          <p:cNvPr id="6" name="Slide Number Placeholder 5">
            <a:extLst>
              <a:ext uri="{FF2B5EF4-FFF2-40B4-BE49-F238E27FC236}">
                <a16:creationId xmlns:a16="http://schemas.microsoft.com/office/drawing/2014/main" id="{14826578-F514-4D23-8B3F-F3016B7CA922}"/>
              </a:ext>
            </a:extLst>
          </p:cNvPr>
          <p:cNvSpPr>
            <a:spLocks noGrp="1"/>
          </p:cNvSpPr>
          <p:nvPr>
            <p:ph type="sldNum" sz="quarter" idx="16"/>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4088889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E8809-22E6-AF48-E55A-5DAE796471BF}"/>
              </a:ext>
            </a:extLst>
          </p:cNvPr>
          <p:cNvSpPr>
            <a:spLocks noGrp="1"/>
          </p:cNvSpPr>
          <p:nvPr>
            <p:ph type="ctrTitle"/>
          </p:nvPr>
        </p:nvSpPr>
        <p:spPr>
          <a:xfrm>
            <a:off x="1524000" y="1122363"/>
            <a:ext cx="9144000" cy="2387600"/>
          </a:xfrm>
        </p:spPr>
        <p:txBody>
          <a:bodyPr anchor="b"/>
          <a:lstStyle>
            <a:lvl1pPr algn="ctr">
              <a:defRPr sz="5999"/>
            </a:lvl1pPr>
          </a:lstStyle>
          <a:p>
            <a:r>
              <a:rPr lang="en-US"/>
              <a:t>Click to edit Master title style</a:t>
            </a:r>
          </a:p>
        </p:txBody>
      </p:sp>
      <p:sp>
        <p:nvSpPr>
          <p:cNvPr id="3" name="Subtitle 2">
            <a:extLst>
              <a:ext uri="{FF2B5EF4-FFF2-40B4-BE49-F238E27FC236}">
                <a16:creationId xmlns:a16="http://schemas.microsoft.com/office/drawing/2014/main" id="{DC89B0F2-654A-A357-881A-821F5C9A8825}"/>
              </a:ext>
            </a:extLst>
          </p:cNvPr>
          <p:cNvSpPr>
            <a:spLocks noGrp="1"/>
          </p:cNvSpPr>
          <p:nvPr>
            <p:ph type="subTitle" idx="1"/>
          </p:nvPr>
        </p:nvSpPr>
        <p:spPr>
          <a:xfrm>
            <a:off x="1524000" y="3602037"/>
            <a:ext cx="9144000" cy="1655763"/>
          </a:xfrm>
        </p:spPr>
        <p:txBody>
          <a:bodyPr/>
          <a:lstStyle>
            <a:lvl1pPr marL="0" indent="0" algn="ctr">
              <a:buNone/>
              <a:defRPr sz="2399"/>
            </a:lvl1pPr>
            <a:lvl2pPr marL="457063" indent="0" algn="ctr">
              <a:buNone/>
              <a:defRPr sz="2000"/>
            </a:lvl2pPr>
            <a:lvl3pPr marL="914126" indent="0" algn="ctr">
              <a:buNone/>
              <a:defRPr sz="1800"/>
            </a:lvl3pPr>
            <a:lvl4pPr marL="1371190" indent="0" algn="ctr">
              <a:buNone/>
              <a:defRPr sz="1600"/>
            </a:lvl4pPr>
            <a:lvl5pPr marL="1828252"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316A2E5-963C-F81B-97BB-1490496147F3}"/>
              </a:ext>
            </a:extLst>
          </p:cNvPr>
          <p:cNvSpPr>
            <a:spLocks noGrp="1"/>
          </p:cNvSpPr>
          <p:nvPr>
            <p:ph type="dt" sz="half" idx="10"/>
          </p:nvPr>
        </p:nvSpPr>
        <p:spPr/>
        <p:txBody>
          <a:bodyPr/>
          <a:lstStyle/>
          <a:p>
            <a:fld id="{FEDA35C8-B697-4F6D-9E0C-D5E8F8499D32}" type="datetimeFigureOut">
              <a:rPr lang="en-US" smtClean="0"/>
              <a:t>10/23/2025</a:t>
            </a:fld>
            <a:endParaRPr lang="en-US" dirty="0"/>
          </a:p>
        </p:txBody>
      </p:sp>
      <p:sp>
        <p:nvSpPr>
          <p:cNvPr id="5" name="Footer Placeholder 4">
            <a:extLst>
              <a:ext uri="{FF2B5EF4-FFF2-40B4-BE49-F238E27FC236}">
                <a16:creationId xmlns:a16="http://schemas.microsoft.com/office/drawing/2014/main" id="{45B1607D-FC1D-C9AA-0783-23C4A943B5C7}"/>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83F9A5B-5D86-5D74-E780-C729DFD755A9}"/>
              </a:ext>
            </a:extLst>
          </p:cNvPr>
          <p:cNvSpPr>
            <a:spLocks noGrp="1"/>
          </p:cNvSpPr>
          <p:nvPr>
            <p:ph type="sldNum" sz="quarter" idx="12"/>
          </p:nvPr>
        </p:nvSpPr>
        <p:spPr/>
        <p:txBody>
          <a:bodyPr/>
          <a:lstStyle/>
          <a:p>
            <a:fld id="{EF1ED8E1-B91E-4818-A9B4-3E6527FA3D2E}" type="slidenum">
              <a:rPr lang="en-US" smtClean="0"/>
              <a:t>‹#›</a:t>
            </a:fld>
            <a:endParaRPr lang="en-US" dirty="0"/>
          </a:p>
        </p:txBody>
      </p:sp>
    </p:spTree>
    <p:extLst>
      <p:ext uri="{BB962C8B-B14F-4D97-AF65-F5344CB8AC3E}">
        <p14:creationId xmlns:p14="http://schemas.microsoft.com/office/powerpoint/2010/main" val="173758594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4452C7-6181-0D97-49E6-EADEAA4B185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275A50F-A544-5DCA-55C0-68E9908C27F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9E4BE3E-BF04-7DAC-E24C-817712D4FF53}"/>
              </a:ext>
            </a:extLst>
          </p:cNvPr>
          <p:cNvSpPr>
            <a:spLocks noGrp="1"/>
          </p:cNvSpPr>
          <p:nvPr>
            <p:ph type="dt" sz="half" idx="10"/>
          </p:nvPr>
        </p:nvSpPr>
        <p:spPr/>
        <p:txBody>
          <a:bodyPr/>
          <a:lstStyle/>
          <a:p>
            <a:fld id="{FEDA35C8-B697-4F6D-9E0C-D5E8F8499D32}" type="datetimeFigureOut">
              <a:rPr lang="en-US" smtClean="0"/>
              <a:t>10/23/2025</a:t>
            </a:fld>
            <a:endParaRPr lang="en-US" dirty="0"/>
          </a:p>
        </p:txBody>
      </p:sp>
      <p:sp>
        <p:nvSpPr>
          <p:cNvPr id="5" name="Footer Placeholder 4">
            <a:extLst>
              <a:ext uri="{FF2B5EF4-FFF2-40B4-BE49-F238E27FC236}">
                <a16:creationId xmlns:a16="http://schemas.microsoft.com/office/drawing/2014/main" id="{AC98D068-94E4-719E-2E20-343BBBE85F9F}"/>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0C6424EB-6D1B-ADB2-297D-33979EB6BA5F}"/>
              </a:ext>
            </a:extLst>
          </p:cNvPr>
          <p:cNvSpPr>
            <a:spLocks noGrp="1"/>
          </p:cNvSpPr>
          <p:nvPr>
            <p:ph type="sldNum" sz="quarter" idx="12"/>
          </p:nvPr>
        </p:nvSpPr>
        <p:spPr/>
        <p:txBody>
          <a:bodyPr/>
          <a:lstStyle/>
          <a:p>
            <a:fld id="{EF1ED8E1-B91E-4818-A9B4-3E6527FA3D2E}" type="slidenum">
              <a:rPr lang="en-US" smtClean="0"/>
              <a:t>‹#›</a:t>
            </a:fld>
            <a:endParaRPr lang="en-US" dirty="0"/>
          </a:p>
        </p:txBody>
      </p:sp>
    </p:spTree>
    <p:extLst>
      <p:ext uri="{BB962C8B-B14F-4D97-AF65-F5344CB8AC3E}">
        <p14:creationId xmlns:p14="http://schemas.microsoft.com/office/powerpoint/2010/main" val="37595870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2B1213-BCEE-1DD1-3B27-3A2EC11FD61F}"/>
              </a:ext>
            </a:extLst>
          </p:cNvPr>
          <p:cNvSpPr>
            <a:spLocks noGrp="1"/>
          </p:cNvSpPr>
          <p:nvPr>
            <p:ph type="title"/>
          </p:nvPr>
        </p:nvSpPr>
        <p:spPr>
          <a:xfrm>
            <a:off x="831851" y="1709742"/>
            <a:ext cx="10515600" cy="2852737"/>
          </a:xfrm>
        </p:spPr>
        <p:txBody>
          <a:bodyPr anchor="b"/>
          <a:lstStyle>
            <a:lvl1pPr>
              <a:defRPr sz="5999"/>
            </a:lvl1pPr>
          </a:lstStyle>
          <a:p>
            <a:r>
              <a:rPr lang="en-US"/>
              <a:t>Click to edit Master title style</a:t>
            </a:r>
          </a:p>
        </p:txBody>
      </p:sp>
      <p:sp>
        <p:nvSpPr>
          <p:cNvPr id="3" name="Text Placeholder 2">
            <a:extLst>
              <a:ext uri="{FF2B5EF4-FFF2-40B4-BE49-F238E27FC236}">
                <a16:creationId xmlns:a16="http://schemas.microsoft.com/office/drawing/2014/main" id="{AD1FBCFE-B2FD-9D8B-E3F5-6F2B57D25481}"/>
              </a:ext>
            </a:extLst>
          </p:cNvPr>
          <p:cNvSpPr>
            <a:spLocks noGrp="1"/>
          </p:cNvSpPr>
          <p:nvPr>
            <p:ph type="body" idx="1"/>
          </p:nvPr>
        </p:nvSpPr>
        <p:spPr>
          <a:xfrm>
            <a:off x="831851" y="4589465"/>
            <a:ext cx="10515600" cy="1500187"/>
          </a:xfrm>
        </p:spPr>
        <p:txBody>
          <a:bodyPr/>
          <a:lstStyle>
            <a:lvl1pPr marL="0" indent="0">
              <a:buNone/>
              <a:defRPr sz="2399">
                <a:solidFill>
                  <a:schemeClr val="tx1">
                    <a:tint val="75000"/>
                  </a:schemeClr>
                </a:solidFill>
              </a:defRPr>
            </a:lvl1pPr>
            <a:lvl2pPr marL="457063" indent="0">
              <a:buNone/>
              <a:defRPr sz="2000">
                <a:solidFill>
                  <a:schemeClr val="tx1">
                    <a:tint val="75000"/>
                  </a:schemeClr>
                </a:solidFill>
              </a:defRPr>
            </a:lvl2pPr>
            <a:lvl3pPr marL="914126" indent="0">
              <a:buNone/>
              <a:defRPr sz="1800">
                <a:solidFill>
                  <a:schemeClr val="tx1">
                    <a:tint val="75000"/>
                  </a:schemeClr>
                </a:solidFill>
              </a:defRPr>
            </a:lvl3pPr>
            <a:lvl4pPr marL="1371190" indent="0">
              <a:buNone/>
              <a:defRPr sz="1600">
                <a:solidFill>
                  <a:schemeClr val="tx1">
                    <a:tint val="75000"/>
                  </a:schemeClr>
                </a:solidFill>
              </a:defRPr>
            </a:lvl4pPr>
            <a:lvl5pPr marL="1828252"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0E00DFB-FBED-558B-1E73-DC386A482BA7}"/>
              </a:ext>
            </a:extLst>
          </p:cNvPr>
          <p:cNvSpPr>
            <a:spLocks noGrp="1"/>
          </p:cNvSpPr>
          <p:nvPr>
            <p:ph type="dt" sz="half" idx="10"/>
          </p:nvPr>
        </p:nvSpPr>
        <p:spPr/>
        <p:txBody>
          <a:bodyPr/>
          <a:lstStyle/>
          <a:p>
            <a:fld id="{FEDA35C8-B697-4F6D-9E0C-D5E8F8499D32}" type="datetimeFigureOut">
              <a:rPr lang="en-US" smtClean="0"/>
              <a:t>10/23/2025</a:t>
            </a:fld>
            <a:endParaRPr lang="en-US" dirty="0"/>
          </a:p>
        </p:txBody>
      </p:sp>
      <p:sp>
        <p:nvSpPr>
          <p:cNvPr id="5" name="Footer Placeholder 4">
            <a:extLst>
              <a:ext uri="{FF2B5EF4-FFF2-40B4-BE49-F238E27FC236}">
                <a16:creationId xmlns:a16="http://schemas.microsoft.com/office/drawing/2014/main" id="{20F20EB2-12DA-A706-D7C8-183E0BDCA335}"/>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F6F7D3D-D2BE-DE02-0A25-6CC3DC156602}"/>
              </a:ext>
            </a:extLst>
          </p:cNvPr>
          <p:cNvSpPr>
            <a:spLocks noGrp="1"/>
          </p:cNvSpPr>
          <p:nvPr>
            <p:ph type="sldNum" sz="quarter" idx="12"/>
          </p:nvPr>
        </p:nvSpPr>
        <p:spPr/>
        <p:txBody>
          <a:bodyPr/>
          <a:lstStyle/>
          <a:p>
            <a:fld id="{EF1ED8E1-B91E-4818-A9B4-3E6527FA3D2E}" type="slidenum">
              <a:rPr lang="en-US" smtClean="0"/>
              <a:t>‹#›</a:t>
            </a:fld>
            <a:endParaRPr lang="en-US" dirty="0"/>
          </a:p>
        </p:txBody>
      </p:sp>
    </p:spTree>
    <p:extLst>
      <p:ext uri="{BB962C8B-B14F-4D97-AF65-F5344CB8AC3E}">
        <p14:creationId xmlns:p14="http://schemas.microsoft.com/office/powerpoint/2010/main" val="385902523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B08B22-B3FF-78B5-92D4-8643F2184AF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3170A3E-B0BE-6730-37FB-119B7C72EB44}"/>
              </a:ext>
            </a:extLst>
          </p:cNvPr>
          <p:cNvSpPr>
            <a:spLocks noGrp="1"/>
          </p:cNvSpPr>
          <p:nvPr>
            <p:ph sz="half" idx="1"/>
          </p:nvPr>
        </p:nvSpPr>
        <p:spPr>
          <a:xfrm>
            <a:off x="838201"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C6A10C3-3287-DDE2-3A95-46A8680D9CBF}"/>
              </a:ext>
            </a:extLst>
          </p:cNvPr>
          <p:cNvSpPr>
            <a:spLocks noGrp="1"/>
          </p:cNvSpPr>
          <p:nvPr>
            <p:ph sz="half" idx="2"/>
          </p:nvPr>
        </p:nvSpPr>
        <p:spPr>
          <a:xfrm>
            <a:off x="6172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CBEB5CA-8B62-1C3B-7A52-5937907AA869}"/>
              </a:ext>
            </a:extLst>
          </p:cNvPr>
          <p:cNvSpPr>
            <a:spLocks noGrp="1"/>
          </p:cNvSpPr>
          <p:nvPr>
            <p:ph type="dt" sz="half" idx="10"/>
          </p:nvPr>
        </p:nvSpPr>
        <p:spPr/>
        <p:txBody>
          <a:bodyPr/>
          <a:lstStyle/>
          <a:p>
            <a:fld id="{FEDA35C8-B697-4F6D-9E0C-D5E8F8499D32}" type="datetimeFigureOut">
              <a:rPr lang="en-US" smtClean="0"/>
              <a:t>10/23/2025</a:t>
            </a:fld>
            <a:endParaRPr lang="en-US" dirty="0"/>
          </a:p>
        </p:txBody>
      </p:sp>
      <p:sp>
        <p:nvSpPr>
          <p:cNvPr id="6" name="Footer Placeholder 5">
            <a:extLst>
              <a:ext uri="{FF2B5EF4-FFF2-40B4-BE49-F238E27FC236}">
                <a16:creationId xmlns:a16="http://schemas.microsoft.com/office/drawing/2014/main" id="{5DF71DB3-640F-C5F9-5E33-5FE537133361}"/>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CD999AB8-6262-EEAA-8EDC-455C553D62A8}"/>
              </a:ext>
            </a:extLst>
          </p:cNvPr>
          <p:cNvSpPr>
            <a:spLocks noGrp="1"/>
          </p:cNvSpPr>
          <p:nvPr>
            <p:ph type="sldNum" sz="quarter" idx="12"/>
          </p:nvPr>
        </p:nvSpPr>
        <p:spPr/>
        <p:txBody>
          <a:bodyPr/>
          <a:lstStyle/>
          <a:p>
            <a:fld id="{EF1ED8E1-B91E-4818-A9B4-3E6527FA3D2E}" type="slidenum">
              <a:rPr lang="en-US" smtClean="0"/>
              <a:t>‹#›</a:t>
            </a:fld>
            <a:endParaRPr lang="en-US" dirty="0"/>
          </a:p>
        </p:txBody>
      </p:sp>
    </p:spTree>
    <p:extLst>
      <p:ext uri="{BB962C8B-B14F-4D97-AF65-F5344CB8AC3E}">
        <p14:creationId xmlns:p14="http://schemas.microsoft.com/office/powerpoint/2010/main" val="88236311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04240F-74C6-EE29-B54B-F181F11992E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182FA7C-33A3-0B77-0410-0FCDE869A4DF}"/>
              </a:ext>
            </a:extLst>
          </p:cNvPr>
          <p:cNvSpPr>
            <a:spLocks noGrp="1"/>
          </p:cNvSpPr>
          <p:nvPr>
            <p:ph type="body" idx="1"/>
          </p:nvPr>
        </p:nvSpPr>
        <p:spPr>
          <a:xfrm>
            <a:off x="839789" y="1681163"/>
            <a:ext cx="5157787" cy="823912"/>
          </a:xfrm>
        </p:spPr>
        <p:txBody>
          <a:bodyPr anchor="b"/>
          <a:lstStyle>
            <a:lvl1pPr marL="0" indent="0">
              <a:buNone/>
              <a:defRPr sz="2399" b="1"/>
            </a:lvl1pPr>
            <a:lvl2pPr marL="457063" indent="0">
              <a:buNone/>
              <a:defRPr sz="2000" b="1"/>
            </a:lvl2pPr>
            <a:lvl3pPr marL="914126" indent="0">
              <a:buNone/>
              <a:defRPr sz="1800" b="1"/>
            </a:lvl3pPr>
            <a:lvl4pPr marL="1371190" indent="0">
              <a:buNone/>
              <a:defRPr sz="1600" b="1"/>
            </a:lvl4pPr>
            <a:lvl5pPr marL="1828252"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A07CEF2-3E17-03A1-379A-B75D4163AEBE}"/>
              </a:ext>
            </a:extLst>
          </p:cNvPr>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8CA092D-5805-BBC7-148F-F763BBC321B7}"/>
              </a:ext>
            </a:extLst>
          </p:cNvPr>
          <p:cNvSpPr>
            <a:spLocks noGrp="1"/>
          </p:cNvSpPr>
          <p:nvPr>
            <p:ph type="body" sz="quarter" idx="3"/>
          </p:nvPr>
        </p:nvSpPr>
        <p:spPr>
          <a:xfrm>
            <a:off x="6172203" y="1681163"/>
            <a:ext cx="5183188" cy="823912"/>
          </a:xfrm>
        </p:spPr>
        <p:txBody>
          <a:bodyPr anchor="b"/>
          <a:lstStyle>
            <a:lvl1pPr marL="0" indent="0">
              <a:buNone/>
              <a:defRPr sz="2399" b="1"/>
            </a:lvl1pPr>
            <a:lvl2pPr marL="457063" indent="0">
              <a:buNone/>
              <a:defRPr sz="2000" b="1"/>
            </a:lvl2pPr>
            <a:lvl3pPr marL="914126" indent="0">
              <a:buNone/>
              <a:defRPr sz="1800" b="1"/>
            </a:lvl3pPr>
            <a:lvl4pPr marL="1371190" indent="0">
              <a:buNone/>
              <a:defRPr sz="1600" b="1"/>
            </a:lvl4pPr>
            <a:lvl5pPr marL="1828252"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5C166B5-95B7-70D4-2073-A1818A5AE5BB}"/>
              </a:ext>
            </a:extLst>
          </p:cNvPr>
          <p:cNvSpPr>
            <a:spLocks noGrp="1"/>
          </p:cNvSpPr>
          <p:nvPr>
            <p:ph sz="quarter" idx="4"/>
          </p:nvPr>
        </p:nvSpPr>
        <p:spPr>
          <a:xfrm>
            <a:off x="6172203"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307D9E2-D679-42A0-2EB4-B38D59AC4D4D}"/>
              </a:ext>
            </a:extLst>
          </p:cNvPr>
          <p:cNvSpPr>
            <a:spLocks noGrp="1"/>
          </p:cNvSpPr>
          <p:nvPr>
            <p:ph type="dt" sz="half" idx="10"/>
          </p:nvPr>
        </p:nvSpPr>
        <p:spPr/>
        <p:txBody>
          <a:bodyPr/>
          <a:lstStyle/>
          <a:p>
            <a:fld id="{FEDA35C8-B697-4F6D-9E0C-D5E8F8499D32}" type="datetimeFigureOut">
              <a:rPr lang="en-US" smtClean="0"/>
              <a:t>10/23/2025</a:t>
            </a:fld>
            <a:endParaRPr lang="en-US" dirty="0"/>
          </a:p>
        </p:txBody>
      </p:sp>
      <p:sp>
        <p:nvSpPr>
          <p:cNvPr id="8" name="Footer Placeholder 7">
            <a:extLst>
              <a:ext uri="{FF2B5EF4-FFF2-40B4-BE49-F238E27FC236}">
                <a16:creationId xmlns:a16="http://schemas.microsoft.com/office/drawing/2014/main" id="{ED3B72D8-66CE-D550-D4CA-6B50BBDBE5DF}"/>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34676C0F-40A3-9EB5-7847-1C0E8B9EF5CB}"/>
              </a:ext>
            </a:extLst>
          </p:cNvPr>
          <p:cNvSpPr>
            <a:spLocks noGrp="1"/>
          </p:cNvSpPr>
          <p:nvPr>
            <p:ph type="sldNum" sz="quarter" idx="12"/>
          </p:nvPr>
        </p:nvSpPr>
        <p:spPr/>
        <p:txBody>
          <a:bodyPr/>
          <a:lstStyle/>
          <a:p>
            <a:fld id="{EF1ED8E1-B91E-4818-A9B4-3E6527FA3D2E}" type="slidenum">
              <a:rPr lang="en-US" smtClean="0"/>
              <a:t>‹#›</a:t>
            </a:fld>
            <a:endParaRPr lang="en-US" dirty="0"/>
          </a:p>
        </p:txBody>
      </p:sp>
    </p:spTree>
    <p:extLst>
      <p:ext uri="{BB962C8B-B14F-4D97-AF65-F5344CB8AC3E}">
        <p14:creationId xmlns:p14="http://schemas.microsoft.com/office/powerpoint/2010/main" val="112818243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99FECD-23EE-057E-37DB-D732C521721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9726EBD-15A4-3B09-7977-13BE37EFF514}"/>
              </a:ext>
            </a:extLst>
          </p:cNvPr>
          <p:cNvSpPr>
            <a:spLocks noGrp="1"/>
          </p:cNvSpPr>
          <p:nvPr>
            <p:ph type="dt" sz="half" idx="10"/>
          </p:nvPr>
        </p:nvSpPr>
        <p:spPr/>
        <p:txBody>
          <a:bodyPr/>
          <a:lstStyle/>
          <a:p>
            <a:fld id="{FEDA35C8-B697-4F6D-9E0C-D5E8F8499D32}" type="datetimeFigureOut">
              <a:rPr lang="en-US" smtClean="0"/>
              <a:t>10/23/2025</a:t>
            </a:fld>
            <a:endParaRPr lang="en-US" dirty="0"/>
          </a:p>
        </p:txBody>
      </p:sp>
      <p:sp>
        <p:nvSpPr>
          <p:cNvPr id="4" name="Footer Placeholder 3">
            <a:extLst>
              <a:ext uri="{FF2B5EF4-FFF2-40B4-BE49-F238E27FC236}">
                <a16:creationId xmlns:a16="http://schemas.microsoft.com/office/drawing/2014/main" id="{B51F8358-59DC-5754-1914-0591632A6E67}"/>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7234AD47-EDEC-E1AE-C1E5-F1DF5AFDC225}"/>
              </a:ext>
            </a:extLst>
          </p:cNvPr>
          <p:cNvSpPr>
            <a:spLocks noGrp="1"/>
          </p:cNvSpPr>
          <p:nvPr>
            <p:ph type="sldNum" sz="quarter" idx="12"/>
          </p:nvPr>
        </p:nvSpPr>
        <p:spPr/>
        <p:txBody>
          <a:bodyPr/>
          <a:lstStyle/>
          <a:p>
            <a:fld id="{EF1ED8E1-B91E-4818-A9B4-3E6527FA3D2E}" type="slidenum">
              <a:rPr lang="en-US" smtClean="0"/>
              <a:t>‹#›</a:t>
            </a:fld>
            <a:endParaRPr lang="en-US" dirty="0"/>
          </a:p>
        </p:txBody>
      </p:sp>
    </p:spTree>
    <p:extLst>
      <p:ext uri="{BB962C8B-B14F-4D97-AF65-F5344CB8AC3E}">
        <p14:creationId xmlns:p14="http://schemas.microsoft.com/office/powerpoint/2010/main" val="205745400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CC405DC-10EA-1796-06EC-B403B82AB8D8}"/>
              </a:ext>
            </a:extLst>
          </p:cNvPr>
          <p:cNvSpPr>
            <a:spLocks noGrp="1"/>
          </p:cNvSpPr>
          <p:nvPr>
            <p:ph type="dt" sz="half" idx="10"/>
          </p:nvPr>
        </p:nvSpPr>
        <p:spPr/>
        <p:txBody>
          <a:bodyPr/>
          <a:lstStyle/>
          <a:p>
            <a:fld id="{FEDA35C8-B697-4F6D-9E0C-D5E8F8499D32}" type="datetimeFigureOut">
              <a:rPr lang="en-US" smtClean="0"/>
              <a:t>10/23/2025</a:t>
            </a:fld>
            <a:endParaRPr lang="en-US" dirty="0"/>
          </a:p>
        </p:txBody>
      </p:sp>
      <p:sp>
        <p:nvSpPr>
          <p:cNvPr id="3" name="Footer Placeholder 2">
            <a:extLst>
              <a:ext uri="{FF2B5EF4-FFF2-40B4-BE49-F238E27FC236}">
                <a16:creationId xmlns:a16="http://schemas.microsoft.com/office/drawing/2014/main" id="{99E6B63F-A71F-C0EF-3EA5-EB87824A1BF6}"/>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7A15178B-8D33-427D-6144-FF1FA0A1D8EA}"/>
              </a:ext>
            </a:extLst>
          </p:cNvPr>
          <p:cNvSpPr>
            <a:spLocks noGrp="1"/>
          </p:cNvSpPr>
          <p:nvPr>
            <p:ph type="sldNum" sz="quarter" idx="12"/>
          </p:nvPr>
        </p:nvSpPr>
        <p:spPr/>
        <p:txBody>
          <a:bodyPr/>
          <a:lstStyle/>
          <a:p>
            <a:fld id="{EF1ED8E1-B91E-4818-A9B4-3E6527FA3D2E}" type="slidenum">
              <a:rPr lang="en-US" smtClean="0"/>
              <a:t>‹#›</a:t>
            </a:fld>
            <a:endParaRPr lang="en-US" dirty="0"/>
          </a:p>
        </p:txBody>
      </p:sp>
    </p:spTree>
    <p:extLst>
      <p:ext uri="{BB962C8B-B14F-4D97-AF65-F5344CB8AC3E}">
        <p14:creationId xmlns:p14="http://schemas.microsoft.com/office/powerpoint/2010/main" val="321033590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5D0B02-1E13-5172-61CA-E12BB22508D1}"/>
              </a:ext>
            </a:extLst>
          </p:cNvPr>
          <p:cNvSpPr>
            <a:spLocks noGrp="1"/>
          </p:cNvSpPr>
          <p:nvPr>
            <p:ph type="title"/>
          </p:nvPr>
        </p:nvSpPr>
        <p:spPr>
          <a:xfrm>
            <a:off x="839788" y="457200"/>
            <a:ext cx="3932237" cy="1600200"/>
          </a:xfrm>
        </p:spPr>
        <p:txBody>
          <a:bodyPr anchor="b"/>
          <a:lstStyle>
            <a:lvl1pPr>
              <a:defRPr sz="3199"/>
            </a:lvl1pPr>
          </a:lstStyle>
          <a:p>
            <a:r>
              <a:rPr lang="en-US"/>
              <a:t>Click to edit Master title style</a:t>
            </a:r>
          </a:p>
        </p:txBody>
      </p:sp>
      <p:sp>
        <p:nvSpPr>
          <p:cNvPr id="3" name="Content Placeholder 2">
            <a:extLst>
              <a:ext uri="{FF2B5EF4-FFF2-40B4-BE49-F238E27FC236}">
                <a16:creationId xmlns:a16="http://schemas.microsoft.com/office/drawing/2014/main" id="{01B98D6D-74DD-4466-E0E0-74C65040CD81}"/>
              </a:ext>
            </a:extLst>
          </p:cNvPr>
          <p:cNvSpPr>
            <a:spLocks noGrp="1"/>
          </p:cNvSpPr>
          <p:nvPr>
            <p:ph idx="1"/>
          </p:nvPr>
        </p:nvSpPr>
        <p:spPr>
          <a:xfrm>
            <a:off x="5183188" y="987429"/>
            <a:ext cx="6172200" cy="4873625"/>
          </a:xfrm>
        </p:spPr>
        <p:txBody>
          <a:bodyPr/>
          <a:lstStyle>
            <a:lvl1pPr>
              <a:defRPr sz="3199"/>
            </a:lvl1pPr>
            <a:lvl2pPr>
              <a:defRPr sz="2799"/>
            </a:lvl2pPr>
            <a:lvl3pPr>
              <a:defRPr sz="2399"/>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5E33F4F-1593-801B-461A-8487851AFBCB}"/>
              </a:ext>
            </a:extLst>
          </p:cNvPr>
          <p:cNvSpPr>
            <a:spLocks noGrp="1"/>
          </p:cNvSpPr>
          <p:nvPr>
            <p:ph type="body" sz="half" idx="2"/>
          </p:nvPr>
        </p:nvSpPr>
        <p:spPr>
          <a:xfrm>
            <a:off x="839788" y="2057403"/>
            <a:ext cx="3932237" cy="3811588"/>
          </a:xfrm>
        </p:spPr>
        <p:txBody>
          <a:bodyPr/>
          <a:lstStyle>
            <a:lvl1pPr marL="0" indent="0">
              <a:buNone/>
              <a:defRPr sz="1600"/>
            </a:lvl1pPr>
            <a:lvl2pPr marL="457063" indent="0">
              <a:buNone/>
              <a:defRPr sz="1400"/>
            </a:lvl2pPr>
            <a:lvl3pPr marL="914126" indent="0">
              <a:buNone/>
              <a:defRPr sz="1200"/>
            </a:lvl3pPr>
            <a:lvl4pPr marL="1371190" indent="0">
              <a:buNone/>
              <a:defRPr sz="1000"/>
            </a:lvl4pPr>
            <a:lvl5pPr marL="1828252"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066CDD9-5FB4-6880-B8A5-C107ACE5385C}"/>
              </a:ext>
            </a:extLst>
          </p:cNvPr>
          <p:cNvSpPr>
            <a:spLocks noGrp="1"/>
          </p:cNvSpPr>
          <p:nvPr>
            <p:ph type="dt" sz="half" idx="10"/>
          </p:nvPr>
        </p:nvSpPr>
        <p:spPr/>
        <p:txBody>
          <a:bodyPr/>
          <a:lstStyle/>
          <a:p>
            <a:fld id="{FEDA35C8-B697-4F6D-9E0C-D5E8F8499D32}" type="datetimeFigureOut">
              <a:rPr lang="en-US" smtClean="0"/>
              <a:t>10/23/2025</a:t>
            </a:fld>
            <a:endParaRPr lang="en-US" dirty="0"/>
          </a:p>
        </p:txBody>
      </p:sp>
      <p:sp>
        <p:nvSpPr>
          <p:cNvPr id="6" name="Footer Placeholder 5">
            <a:extLst>
              <a:ext uri="{FF2B5EF4-FFF2-40B4-BE49-F238E27FC236}">
                <a16:creationId xmlns:a16="http://schemas.microsoft.com/office/drawing/2014/main" id="{E5686863-B867-4B34-6596-F946F547F7D1}"/>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7810E7B-E41C-49D7-6D38-F2F98732F52A}"/>
              </a:ext>
            </a:extLst>
          </p:cNvPr>
          <p:cNvSpPr>
            <a:spLocks noGrp="1"/>
          </p:cNvSpPr>
          <p:nvPr>
            <p:ph type="sldNum" sz="quarter" idx="12"/>
          </p:nvPr>
        </p:nvSpPr>
        <p:spPr/>
        <p:txBody>
          <a:bodyPr/>
          <a:lstStyle/>
          <a:p>
            <a:fld id="{EF1ED8E1-B91E-4818-A9B4-3E6527FA3D2E}" type="slidenum">
              <a:rPr lang="en-US" smtClean="0"/>
              <a:t>‹#›</a:t>
            </a:fld>
            <a:endParaRPr lang="en-US" dirty="0"/>
          </a:p>
        </p:txBody>
      </p:sp>
    </p:spTree>
    <p:extLst>
      <p:ext uri="{BB962C8B-B14F-4D97-AF65-F5344CB8AC3E}">
        <p14:creationId xmlns:p14="http://schemas.microsoft.com/office/powerpoint/2010/main" val="3132526620"/>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0620F-BE1A-D43E-96CC-71F0924C6F75}"/>
              </a:ext>
            </a:extLst>
          </p:cNvPr>
          <p:cNvSpPr>
            <a:spLocks noGrp="1"/>
          </p:cNvSpPr>
          <p:nvPr>
            <p:ph type="title"/>
          </p:nvPr>
        </p:nvSpPr>
        <p:spPr>
          <a:xfrm>
            <a:off x="839788" y="457200"/>
            <a:ext cx="3932237" cy="1600200"/>
          </a:xfrm>
        </p:spPr>
        <p:txBody>
          <a:bodyPr anchor="b"/>
          <a:lstStyle>
            <a:lvl1pPr>
              <a:defRPr sz="3199"/>
            </a:lvl1pPr>
          </a:lstStyle>
          <a:p>
            <a:r>
              <a:rPr lang="en-US"/>
              <a:t>Click to edit Master title style</a:t>
            </a:r>
          </a:p>
        </p:txBody>
      </p:sp>
      <p:sp>
        <p:nvSpPr>
          <p:cNvPr id="3" name="Picture Placeholder 2">
            <a:extLst>
              <a:ext uri="{FF2B5EF4-FFF2-40B4-BE49-F238E27FC236}">
                <a16:creationId xmlns:a16="http://schemas.microsoft.com/office/drawing/2014/main" id="{9780D562-96ED-A168-344F-EAFBDA221AE9}"/>
              </a:ext>
            </a:extLst>
          </p:cNvPr>
          <p:cNvSpPr>
            <a:spLocks noGrp="1"/>
          </p:cNvSpPr>
          <p:nvPr>
            <p:ph type="pic" idx="1"/>
          </p:nvPr>
        </p:nvSpPr>
        <p:spPr>
          <a:xfrm>
            <a:off x="5183188" y="987429"/>
            <a:ext cx="6172200" cy="4873625"/>
          </a:xfrm>
        </p:spPr>
        <p:txBody>
          <a:bodyPr/>
          <a:lstStyle>
            <a:lvl1pPr marL="0" indent="0">
              <a:buNone/>
              <a:defRPr sz="3199"/>
            </a:lvl1pPr>
            <a:lvl2pPr marL="457063" indent="0">
              <a:buNone/>
              <a:defRPr sz="2799"/>
            </a:lvl2pPr>
            <a:lvl3pPr marL="914126" indent="0">
              <a:buNone/>
              <a:defRPr sz="2399"/>
            </a:lvl3pPr>
            <a:lvl4pPr marL="1371190" indent="0">
              <a:buNone/>
              <a:defRPr sz="2000"/>
            </a:lvl4pPr>
            <a:lvl5pPr marL="1828252" indent="0">
              <a:buNone/>
              <a:defRPr sz="2000"/>
            </a:lvl5pPr>
            <a:lvl6pPr marL="2285314" indent="0">
              <a:buNone/>
              <a:defRPr sz="2000"/>
            </a:lvl6pPr>
            <a:lvl7pPr marL="2742377" indent="0">
              <a:buNone/>
              <a:defRPr sz="2000"/>
            </a:lvl7pPr>
            <a:lvl8pPr marL="3199440" indent="0">
              <a:buNone/>
              <a:defRPr sz="2000"/>
            </a:lvl8pPr>
            <a:lvl9pPr marL="3656503" indent="0">
              <a:buNone/>
              <a:defRPr sz="2000"/>
            </a:lvl9pPr>
          </a:lstStyle>
          <a:p>
            <a:endParaRPr lang="en-US" dirty="0"/>
          </a:p>
        </p:txBody>
      </p:sp>
      <p:sp>
        <p:nvSpPr>
          <p:cNvPr id="4" name="Text Placeholder 3">
            <a:extLst>
              <a:ext uri="{FF2B5EF4-FFF2-40B4-BE49-F238E27FC236}">
                <a16:creationId xmlns:a16="http://schemas.microsoft.com/office/drawing/2014/main" id="{826963F8-1E29-CDB0-E216-31AF5DD38BE3}"/>
              </a:ext>
            </a:extLst>
          </p:cNvPr>
          <p:cNvSpPr>
            <a:spLocks noGrp="1"/>
          </p:cNvSpPr>
          <p:nvPr>
            <p:ph type="body" sz="half" idx="2"/>
          </p:nvPr>
        </p:nvSpPr>
        <p:spPr>
          <a:xfrm>
            <a:off x="839788" y="2057403"/>
            <a:ext cx="3932237" cy="3811588"/>
          </a:xfrm>
        </p:spPr>
        <p:txBody>
          <a:bodyPr/>
          <a:lstStyle>
            <a:lvl1pPr marL="0" indent="0">
              <a:buNone/>
              <a:defRPr sz="1600"/>
            </a:lvl1pPr>
            <a:lvl2pPr marL="457063" indent="0">
              <a:buNone/>
              <a:defRPr sz="1400"/>
            </a:lvl2pPr>
            <a:lvl3pPr marL="914126" indent="0">
              <a:buNone/>
              <a:defRPr sz="1200"/>
            </a:lvl3pPr>
            <a:lvl4pPr marL="1371190" indent="0">
              <a:buNone/>
              <a:defRPr sz="1000"/>
            </a:lvl4pPr>
            <a:lvl5pPr marL="1828252"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58FB52A-9ABC-D820-06A0-C0E872B5DB21}"/>
              </a:ext>
            </a:extLst>
          </p:cNvPr>
          <p:cNvSpPr>
            <a:spLocks noGrp="1"/>
          </p:cNvSpPr>
          <p:nvPr>
            <p:ph type="dt" sz="half" idx="10"/>
          </p:nvPr>
        </p:nvSpPr>
        <p:spPr/>
        <p:txBody>
          <a:bodyPr/>
          <a:lstStyle/>
          <a:p>
            <a:fld id="{FEDA35C8-B697-4F6D-9E0C-D5E8F8499D32}" type="datetimeFigureOut">
              <a:rPr lang="en-US" smtClean="0"/>
              <a:t>10/23/2025</a:t>
            </a:fld>
            <a:endParaRPr lang="en-US" dirty="0"/>
          </a:p>
        </p:txBody>
      </p:sp>
      <p:sp>
        <p:nvSpPr>
          <p:cNvPr id="6" name="Footer Placeholder 5">
            <a:extLst>
              <a:ext uri="{FF2B5EF4-FFF2-40B4-BE49-F238E27FC236}">
                <a16:creationId xmlns:a16="http://schemas.microsoft.com/office/drawing/2014/main" id="{541EF117-7C84-3AFB-153E-B171C980A068}"/>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9C7EDB96-A2F1-0B22-C6EE-80FE50792F6C}"/>
              </a:ext>
            </a:extLst>
          </p:cNvPr>
          <p:cNvSpPr>
            <a:spLocks noGrp="1"/>
          </p:cNvSpPr>
          <p:nvPr>
            <p:ph type="sldNum" sz="quarter" idx="12"/>
          </p:nvPr>
        </p:nvSpPr>
        <p:spPr/>
        <p:txBody>
          <a:bodyPr/>
          <a:lstStyle/>
          <a:p>
            <a:fld id="{EF1ED8E1-B91E-4818-A9B4-3E6527FA3D2E}" type="slidenum">
              <a:rPr lang="en-US" smtClean="0"/>
              <a:t>‹#›</a:t>
            </a:fld>
            <a:endParaRPr lang="en-US" dirty="0"/>
          </a:p>
        </p:txBody>
      </p:sp>
    </p:spTree>
    <p:extLst>
      <p:ext uri="{BB962C8B-B14F-4D97-AF65-F5344CB8AC3E}">
        <p14:creationId xmlns:p14="http://schemas.microsoft.com/office/powerpoint/2010/main" val="5170045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with dark text and dark logo">
    <p:spTree>
      <p:nvGrpSpPr>
        <p:cNvPr id="1" name=""/>
        <p:cNvGrpSpPr/>
        <p:nvPr/>
      </p:nvGrpSpPr>
      <p:grpSpPr>
        <a:xfrm>
          <a:off x="0" y="0"/>
          <a:ext cx="0" cy="0"/>
          <a:chOff x="0" y="0"/>
          <a:chExt cx="0" cy="0"/>
        </a:xfrm>
      </p:grpSpPr>
      <p:sp>
        <p:nvSpPr>
          <p:cNvPr id="14" name="Picture Placeholder 13"/>
          <p:cNvSpPr>
            <a:spLocks noGrp="1"/>
          </p:cNvSpPr>
          <p:nvPr>
            <p:ph type="pic" sz="quarter" idx="15" hasCustomPrompt="1"/>
          </p:nvPr>
        </p:nvSpPr>
        <p:spPr>
          <a:xfrm>
            <a:off x="0" y="0"/>
            <a:ext cx="12192000" cy="6858000"/>
          </a:xfrm>
          <a:prstGeom prst="rect">
            <a:avLst/>
          </a:prstGeom>
          <a:solidFill>
            <a:schemeClr val="accent6"/>
          </a:solidFill>
        </p:spPr>
        <p:txBody>
          <a:bodyPr>
            <a:normAutofit/>
          </a:bodyPr>
          <a:lstStyle>
            <a:lvl1pPr marL="0" indent="0" algn="ctr">
              <a:lnSpc>
                <a:spcPct val="100000"/>
              </a:lnSpc>
              <a:buNone/>
              <a:defRPr sz="2133" baseline="0"/>
            </a:lvl1pPr>
          </a:lstStyle>
          <a:p>
            <a:r>
              <a:rPr lang="en-US" noProof="0" dirty="0"/>
              <a:t>Drag picture to placeholder or click icon to add</a:t>
            </a:r>
          </a:p>
        </p:txBody>
      </p:sp>
      <p:sp>
        <p:nvSpPr>
          <p:cNvPr id="2" name="Title 1"/>
          <p:cNvSpPr>
            <a:spLocks noGrp="1"/>
          </p:cNvSpPr>
          <p:nvPr>
            <p:ph type="ctrTitle" hasCustomPrompt="1"/>
          </p:nvPr>
        </p:nvSpPr>
        <p:spPr>
          <a:xfrm>
            <a:off x="768352" y="2212623"/>
            <a:ext cx="6816945" cy="2325511"/>
          </a:xfrm>
          <a:prstGeom prst="rect">
            <a:avLst/>
          </a:prstGeom>
        </p:spPr>
        <p:txBody>
          <a:bodyPr lIns="0" tIns="0" rIns="0" bIns="0" anchor="t" anchorCtr="0">
            <a:normAutofit/>
          </a:bodyPr>
          <a:lstStyle>
            <a:lvl1pPr algn="l">
              <a:lnSpc>
                <a:spcPct val="100000"/>
              </a:lnSpc>
              <a:defRPr sz="5067">
                <a:solidFill>
                  <a:srgbClr val="53565A"/>
                </a:solidFill>
              </a:defRPr>
            </a:lvl1pPr>
          </a:lstStyle>
          <a:p>
            <a:r>
              <a:rPr lang="en-US" noProof="0" dirty="0"/>
              <a:t>Click to edit title max over 2x lines</a:t>
            </a:r>
          </a:p>
        </p:txBody>
      </p:sp>
      <p:sp>
        <p:nvSpPr>
          <p:cNvPr id="12" name="Text Placeholder 11"/>
          <p:cNvSpPr>
            <a:spLocks noGrp="1"/>
          </p:cNvSpPr>
          <p:nvPr>
            <p:ph type="body" sz="quarter" idx="14" hasCustomPrompt="1"/>
          </p:nvPr>
        </p:nvSpPr>
        <p:spPr>
          <a:xfrm>
            <a:off x="768352" y="5881637"/>
            <a:ext cx="6816945" cy="653335"/>
          </a:xfrm>
          <a:prstGeom prst="rect">
            <a:avLst/>
          </a:prstGeom>
        </p:spPr>
        <p:txBody>
          <a:bodyPr lIns="0" tIns="0" rIns="0" bIns="0">
            <a:normAutofit/>
          </a:bodyPr>
          <a:lstStyle>
            <a:lvl1pPr marL="0" indent="0">
              <a:lnSpc>
                <a:spcPct val="100000"/>
              </a:lnSpc>
              <a:spcBef>
                <a:spcPts val="0"/>
              </a:spcBef>
              <a:spcAft>
                <a:spcPts val="0"/>
              </a:spcAft>
              <a:buNone/>
              <a:defRPr sz="1733"/>
            </a:lvl1pPr>
            <a:lvl2pPr marL="0" indent="0">
              <a:buNone/>
              <a:defRPr sz="1333"/>
            </a:lvl2pPr>
            <a:lvl3pPr marL="0" indent="0">
              <a:buNone/>
              <a:defRPr sz="1333"/>
            </a:lvl3pPr>
            <a:lvl4pPr marL="0" indent="0">
              <a:buNone/>
              <a:defRPr sz="1333"/>
            </a:lvl4pPr>
            <a:lvl5pPr marL="0" indent="0">
              <a:buNone/>
              <a:defRPr sz="1333"/>
            </a:lvl5pPr>
          </a:lstStyle>
          <a:p>
            <a:pPr lvl="0"/>
            <a:r>
              <a:rPr lang="en-US" dirty="0"/>
              <a:t>Month, year</a:t>
            </a:r>
            <a:br>
              <a:rPr lang="en-US" dirty="0"/>
            </a:br>
            <a:r>
              <a:rPr lang="en-US" dirty="0"/>
              <a:t>Name presenter</a:t>
            </a:r>
          </a:p>
        </p:txBody>
      </p:sp>
      <p:sp>
        <p:nvSpPr>
          <p:cNvPr id="9" name="Text Placeholder 6"/>
          <p:cNvSpPr>
            <a:spLocks noGrp="1"/>
          </p:cNvSpPr>
          <p:nvPr>
            <p:ph type="body" sz="quarter" idx="16" hasCustomPrompt="1"/>
          </p:nvPr>
        </p:nvSpPr>
        <p:spPr>
          <a:xfrm>
            <a:off x="768352" y="4651023"/>
            <a:ext cx="6816945" cy="1016000"/>
          </a:xfrm>
          <a:prstGeom prst="rect">
            <a:avLst/>
          </a:prstGeom>
        </p:spPr>
        <p:txBody>
          <a:bodyPr lIns="0" tIns="0" rIns="0" bIns="0">
            <a:normAutofit/>
          </a:bodyPr>
          <a:lstStyle>
            <a:lvl1pPr marL="0" indent="0">
              <a:lnSpc>
                <a:spcPct val="100000"/>
              </a:lnSpc>
              <a:buNone/>
              <a:defRPr sz="2667">
                <a:solidFill>
                  <a:srgbClr val="FF6C00"/>
                </a:solidFill>
              </a:defRPr>
            </a:lvl1pPr>
            <a:lvl2pPr marL="457189" indent="0">
              <a:lnSpc>
                <a:spcPts val="4800"/>
              </a:lnSpc>
              <a:buNone/>
              <a:defRPr sz="4000">
                <a:solidFill>
                  <a:srgbClr val="FF6C00"/>
                </a:solidFill>
              </a:defRPr>
            </a:lvl2pPr>
            <a:lvl3pPr marL="914377" indent="0">
              <a:lnSpc>
                <a:spcPts val="4800"/>
              </a:lnSpc>
              <a:buNone/>
              <a:defRPr sz="4000">
                <a:solidFill>
                  <a:srgbClr val="FF6C00"/>
                </a:solidFill>
              </a:defRPr>
            </a:lvl3pPr>
            <a:lvl4pPr marL="1371566" indent="0">
              <a:lnSpc>
                <a:spcPts val="4800"/>
              </a:lnSpc>
              <a:buNone/>
              <a:defRPr sz="4000">
                <a:solidFill>
                  <a:srgbClr val="FF6C00"/>
                </a:solidFill>
              </a:defRPr>
            </a:lvl4pPr>
            <a:lvl5pPr marL="1828754" indent="0">
              <a:lnSpc>
                <a:spcPts val="4800"/>
              </a:lnSpc>
              <a:buNone/>
              <a:defRPr sz="4000">
                <a:solidFill>
                  <a:srgbClr val="FF6C00"/>
                </a:solidFill>
              </a:defRPr>
            </a:lvl5pPr>
          </a:lstStyle>
          <a:p>
            <a:pPr lvl="0"/>
            <a:r>
              <a:rPr lang="en-US" dirty="0"/>
              <a:t>Subtitle</a:t>
            </a:r>
          </a:p>
        </p:txBody>
      </p:sp>
      <p:sp>
        <p:nvSpPr>
          <p:cNvPr id="8" name="Text Placeholder 9">
            <a:extLst>
              <a:ext uri="{FF2B5EF4-FFF2-40B4-BE49-F238E27FC236}">
                <a16:creationId xmlns:a16="http://schemas.microsoft.com/office/drawing/2014/main" id="{246A4B26-CBD6-4EC3-9BB2-03D1059EC06C}"/>
              </a:ext>
            </a:extLst>
          </p:cNvPr>
          <p:cNvSpPr>
            <a:spLocks noGrp="1"/>
          </p:cNvSpPr>
          <p:nvPr>
            <p:ph type="body" sz="quarter" idx="13" hasCustomPrompt="1"/>
          </p:nvPr>
        </p:nvSpPr>
        <p:spPr>
          <a:xfrm>
            <a:off x="768351" y="493184"/>
            <a:ext cx="736600" cy="8128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33"/>
            </a:lvl1pPr>
          </a:lstStyle>
          <a:p>
            <a:pPr lvl="0"/>
            <a:r>
              <a:rPr lang="en-US" dirty="0"/>
              <a:t>.</a:t>
            </a:r>
          </a:p>
        </p:txBody>
      </p:sp>
    </p:spTree>
    <p:extLst>
      <p:ext uri="{BB962C8B-B14F-4D97-AF65-F5344CB8AC3E}">
        <p14:creationId xmlns:p14="http://schemas.microsoft.com/office/powerpoint/2010/main" val="3012158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FDD88D-D219-D118-FE22-477DE28141A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36A3E6A-ED35-5272-61B6-F3F6951150F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53A938D-16CE-78E2-9E1A-E83C94A63B3D}"/>
              </a:ext>
            </a:extLst>
          </p:cNvPr>
          <p:cNvSpPr>
            <a:spLocks noGrp="1"/>
          </p:cNvSpPr>
          <p:nvPr>
            <p:ph type="dt" sz="half" idx="10"/>
          </p:nvPr>
        </p:nvSpPr>
        <p:spPr/>
        <p:txBody>
          <a:bodyPr/>
          <a:lstStyle/>
          <a:p>
            <a:fld id="{FEDA35C8-B697-4F6D-9E0C-D5E8F8499D32}" type="datetimeFigureOut">
              <a:rPr lang="en-US" smtClean="0"/>
              <a:t>10/23/2025</a:t>
            </a:fld>
            <a:endParaRPr lang="en-US" dirty="0"/>
          </a:p>
        </p:txBody>
      </p:sp>
      <p:sp>
        <p:nvSpPr>
          <p:cNvPr id="5" name="Footer Placeholder 4">
            <a:extLst>
              <a:ext uri="{FF2B5EF4-FFF2-40B4-BE49-F238E27FC236}">
                <a16:creationId xmlns:a16="http://schemas.microsoft.com/office/drawing/2014/main" id="{AAFF2C2E-0E70-E90D-1E4D-D729B59B5E8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012521EB-17F2-C5A0-EB6A-577B67EBF7D6}"/>
              </a:ext>
            </a:extLst>
          </p:cNvPr>
          <p:cNvSpPr>
            <a:spLocks noGrp="1"/>
          </p:cNvSpPr>
          <p:nvPr>
            <p:ph type="sldNum" sz="quarter" idx="12"/>
          </p:nvPr>
        </p:nvSpPr>
        <p:spPr/>
        <p:txBody>
          <a:bodyPr/>
          <a:lstStyle/>
          <a:p>
            <a:fld id="{EF1ED8E1-B91E-4818-A9B4-3E6527FA3D2E}" type="slidenum">
              <a:rPr lang="en-US" smtClean="0"/>
              <a:t>‹#›</a:t>
            </a:fld>
            <a:endParaRPr lang="en-US" dirty="0"/>
          </a:p>
        </p:txBody>
      </p:sp>
    </p:spTree>
    <p:extLst>
      <p:ext uri="{BB962C8B-B14F-4D97-AF65-F5344CB8AC3E}">
        <p14:creationId xmlns:p14="http://schemas.microsoft.com/office/powerpoint/2010/main" val="165845347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0C20024-E1B1-DB0F-F7CF-BCF4278B7BDA}"/>
              </a:ext>
            </a:extLst>
          </p:cNvPr>
          <p:cNvSpPr>
            <a:spLocks noGrp="1"/>
          </p:cNvSpPr>
          <p:nvPr>
            <p:ph type="title" orient="vert"/>
          </p:nvPr>
        </p:nvSpPr>
        <p:spPr>
          <a:xfrm>
            <a:off x="8724903" y="365129"/>
            <a:ext cx="2628900" cy="581183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E7B51CF-E58A-9E77-B404-EFEA242EB0CD}"/>
              </a:ext>
            </a:extLst>
          </p:cNvPr>
          <p:cNvSpPr>
            <a:spLocks noGrp="1"/>
          </p:cNvSpPr>
          <p:nvPr>
            <p:ph type="body" orient="vert" idx="1"/>
          </p:nvPr>
        </p:nvSpPr>
        <p:spPr>
          <a:xfrm>
            <a:off x="838203" y="365129"/>
            <a:ext cx="7734300" cy="581183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5FBCD73-0E6A-D3B1-B600-61216F30932B}"/>
              </a:ext>
            </a:extLst>
          </p:cNvPr>
          <p:cNvSpPr>
            <a:spLocks noGrp="1"/>
          </p:cNvSpPr>
          <p:nvPr>
            <p:ph type="dt" sz="half" idx="10"/>
          </p:nvPr>
        </p:nvSpPr>
        <p:spPr/>
        <p:txBody>
          <a:bodyPr/>
          <a:lstStyle/>
          <a:p>
            <a:fld id="{FEDA35C8-B697-4F6D-9E0C-D5E8F8499D32}" type="datetimeFigureOut">
              <a:rPr lang="en-US" smtClean="0"/>
              <a:t>10/23/2025</a:t>
            </a:fld>
            <a:endParaRPr lang="en-US" dirty="0"/>
          </a:p>
        </p:txBody>
      </p:sp>
      <p:sp>
        <p:nvSpPr>
          <p:cNvPr id="5" name="Footer Placeholder 4">
            <a:extLst>
              <a:ext uri="{FF2B5EF4-FFF2-40B4-BE49-F238E27FC236}">
                <a16:creationId xmlns:a16="http://schemas.microsoft.com/office/drawing/2014/main" id="{9620CE3B-7365-4690-CA77-3BB7E7F8E04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4B3039D5-C493-2690-7D5B-0B2B20394B36}"/>
              </a:ext>
            </a:extLst>
          </p:cNvPr>
          <p:cNvSpPr>
            <a:spLocks noGrp="1"/>
          </p:cNvSpPr>
          <p:nvPr>
            <p:ph type="sldNum" sz="quarter" idx="12"/>
          </p:nvPr>
        </p:nvSpPr>
        <p:spPr/>
        <p:txBody>
          <a:bodyPr/>
          <a:lstStyle/>
          <a:p>
            <a:fld id="{EF1ED8E1-B91E-4818-A9B4-3E6527FA3D2E}" type="slidenum">
              <a:rPr lang="en-US" smtClean="0"/>
              <a:t>‹#›</a:t>
            </a:fld>
            <a:endParaRPr lang="en-US" dirty="0"/>
          </a:p>
        </p:txBody>
      </p:sp>
    </p:spTree>
    <p:extLst>
      <p:ext uri="{BB962C8B-B14F-4D97-AF65-F5344CB8AC3E}">
        <p14:creationId xmlns:p14="http://schemas.microsoft.com/office/powerpoint/2010/main" val="373060992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54285520"/>
              </p:ext>
            </p:extLst>
          </p:nvPr>
        </p:nvGraphicFramePr>
        <p:xfrm>
          <a:off x="1618" y="1857"/>
          <a:ext cx="1588"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618" y="1857"/>
                        <a:ext cx="1588" cy="1587"/>
                      </a:xfrm>
                      <a:prstGeom prst="rect">
                        <a:avLst/>
                      </a:prstGeom>
                    </p:spPr>
                  </p:pic>
                </p:oleObj>
              </mc:Fallback>
            </mc:AlternateContent>
          </a:graphicData>
        </a:graphic>
      </p:graphicFrame>
      <p:sp>
        <p:nvSpPr>
          <p:cNvPr id="7" name="Rectangle 6"/>
          <p:cNvSpPr/>
          <p:nvPr userDrawn="1"/>
        </p:nvSpPr>
        <p:spPr>
          <a:xfrm>
            <a:off x="0" y="6403932"/>
            <a:ext cx="12192000" cy="46314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nl-NL" sz="1067">
                <a:solidFill>
                  <a:schemeClr val="tx1">
                    <a:lumMod val="50000"/>
                    <a:lumOff val="50000"/>
                  </a:schemeClr>
                </a:solidFill>
              </a:rPr>
              <a:t>October 2023</a:t>
            </a:r>
          </a:p>
        </p:txBody>
      </p:sp>
      <p:pic>
        <p:nvPicPr>
          <p:cNvPr id="10" name="Picture 2" descr="Afbeeldingsresultaat voor elsevier logo png"/>
          <p:cNvPicPr>
            <a:picLocks noChangeAspect="1" noChangeArrowheads="1"/>
          </p:cNvPicPr>
          <p:nvPr userDrawn="1"/>
        </p:nvPicPr>
        <p:blipFill rotWithShape="1">
          <a:blip r:embed="rId5" cstate="print">
            <a:grayscl/>
            <a:extLst>
              <a:ext uri="{28A0092B-C50C-407E-A947-70E740481C1C}">
                <a14:useLocalDpi xmlns:a14="http://schemas.microsoft.com/office/drawing/2010/main" val="0"/>
              </a:ext>
            </a:extLst>
          </a:blip>
          <a:srcRect t="61775"/>
          <a:stretch/>
        </p:blipFill>
        <p:spPr bwMode="auto">
          <a:xfrm>
            <a:off x="10079656" y="6551236"/>
            <a:ext cx="956733" cy="168545"/>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5">
            <a:extLst>
              <a:ext uri="{FF2B5EF4-FFF2-40B4-BE49-F238E27FC236}">
                <a16:creationId xmlns:a16="http://schemas.microsoft.com/office/drawing/2014/main" id="{989EC98B-6F20-83A8-D328-65ED186C607A}"/>
              </a:ext>
            </a:extLst>
          </p:cNvPr>
          <p:cNvSpPr txBox="1">
            <a:spLocks/>
          </p:cNvSpPr>
          <p:nvPr userDrawn="1"/>
        </p:nvSpPr>
        <p:spPr>
          <a:xfrm>
            <a:off x="11422949" y="6510076"/>
            <a:ext cx="508747" cy="215445"/>
          </a:xfrm>
          <a:prstGeom prst="rect">
            <a:avLst/>
          </a:prstGeom>
        </p:spPr>
        <p:txBody>
          <a:bodyPr/>
          <a:lstStyle>
            <a:defPPr>
              <a:defRPr lang="en-US"/>
            </a:defPPr>
            <a:lvl1pPr marL="0" algn="ct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74443FD-B3BF-4A51-BC45-2ECDCD32B8CE}" type="slidenum">
              <a:rPr lang="nl-NL" sz="1000" smtClean="0">
                <a:solidFill>
                  <a:prstClr val="black">
                    <a:lumMod val="50000"/>
                    <a:lumOff val="50000"/>
                  </a:prstClr>
                </a:solidFill>
              </a:rPr>
              <a:pPr/>
              <a:t>‹#›</a:t>
            </a:fld>
            <a:endParaRPr lang="nl-NL" sz="1000">
              <a:solidFill>
                <a:prstClr val="black">
                  <a:lumMod val="50000"/>
                  <a:lumOff val="50000"/>
                </a:prstClr>
              </a:solidFill>
            </a:endParaRPr>
          </a:p>
        </p:txBody>
      </p:sp>
    </p:spTree>
    <p:extLst>
      <p:ext uri="{BB962C8B-B14F-4D97-AF65-F5344CB8AC3E}">
        <p14:creationId xmlns:p14="http://schemas.microsoft.com/office/powerpoint/2010/main" val="798568429"/>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userDrawn="1">
  <p:cSld name="Main title slide with subtitle">
    <p:spTree>
      <p:nvGrpSpPr>
        <p:cNvPr id="1" name=""/>
        <p:cNvGrpSpPr/>
        <p:nvPr/>
      </p:nvGrpSpPr>
      <p:grpSpPr>
        <a:xfrm>
          <a:off x="0" y="0"/>
          <a:ext cx="0" cy="0"/>
          <a:chOff x="0" y="0"/>
          <a:chExt cx="0" cy="0"/>
        </a:xfrm>
      </p:grpSpPr>
      <p:sp>
        <p:nvSpPr>
          <p:cNvPr id="18" name="Text Placeholder 11"/>
          <p:cNvSpPr>
            <a:spLocks noGrp="1"/>
          </p:cNvSpPr>
          <p:nvPr>
            <p:ph type="body" sz="quarter" idx="14" hasCustomPrompt="1"/>
          </p:nvPr>
        </p:nvSpPr>
        <p:spPr>
          <a:xfrm>
            <a:off x="768354" y="5881639"/>
            <a:ext cx="6816945" cy="653335"/>
          </a:xfrm>
          <a:prstGeom prst="rect">
            <a:avLst/>
          </a:prstGeom>
        </p:spPr>
        <p:txBody>
          <a:bodyPr lIns="0" tIns="0" rIns="0" bIns="0">
            <a:normAutofit/>
          </a:bodyPr>
          <a:lstStyle>
            <a:lvl1pPr marL="0" indent="0" algn="l">
              <a:lnSpc>
                <a:spcPct val="100000"/>
              </a:lnSpc>
              <a:spcBef>
                <a:spcPts val="0"/>
              </a:spcBef>
              <a:spcAft>
                <a:spcPts val="0"/>
              </a:spcAft>
              <a:buFont typeface="Arial" charset="0"/>
              <a:buNone/>
              <a:defRPr sz="1733"/>
            </a:lvl1pPr>
            <a:lvl2pPr marL="0" indent="0">
              <a:buNone/>
              <a:defRPr sz="1333"/>
            </a:lvl2pPr>
            <a:lvl3pPr marL="0" indent="0">
              <a:buNone/>
              <a:defRPr sz="1333"/>
            </a:lvl3pPr>
            <a:lvl4pPr marL="0" indent="0">
              <a:buNone/>
              <a:defRPr sz="1333"/>
            </a:lvl4pPr>
            <a:lvl5pPr marL="0" indent="0">
              <a:buNone/>
              <a:defRPr sz="1333"/>
            </a:lvl5pPr>
          </a:lstStyle>
          <a:p>
            <a:pPr lvl="0"/>
            <a:r>
              <a:rPr lang="en-US"/>
              <a:t>Month, year</a:t>
            </a:r>
            <a:br>
              <a:rPr lang="en-US"/>
            </a:br>
            <a:r>
              <a:rPr lang="en-US"/>
              <a:t>Name presenter</a:t>
            </a:r>
          </a:p>
        </p:txBody>
      </p:sp>
      <p:sp>
        <p:nvSpPr>
          <p:cNvPr id="8" name="Title 1"/>
          <p:cNvSpPr>
            <a:spLocks noGrp="1"/>
          </p:cNvSpPr>
          <p:nvPr>
            <p:ph type="ctrTitle" hasCustomPrompt="1"/>
          </p:nvPr>
        </p:nvSpPr>
        <p:spPr>
          <a:xfrm>
            <a:off x="768354" y="2212626"/>
            <a:ext cx="6816945" cy="2325511"/>
          </a:xfrm>
          <a:prstGeom prst="rect">
            <a:avLst/>
          </a:prstGeom>
        </p:spPr>
        <p:txBody>
          <a:bodyPr lIns="0" tIns="0" rIns="0" bIns="0" anchor="t" anchorCtr="0">
            <a:normAutofit/>
          </a:bodyPr>
          <a:lstStyle>
            <a:lvl1pPr algn="l">
              <a:lnSpc>
                <a:spcPct val="100000"/>
              </a:lnSpc>
              <a:defRPr sz="5065">
                <a:solidFill>
                  <a:srgbClr val="53565A"/>
                </a:solidFill>
              </a:defRPr>
            </a:lvl1pPr>
          </a:lstStyle>
          <a:p>
            <a:r>
              <a:rPr lang="en-US" noProof="0"/>
              <a:t>Click to edit title max over 2x lines</a:t>
            </a:r>
          </a:p>
        </p:txBody>
      </p:sp>
      <p:sp>
        <p:nvSpPr>
          <p:cNvPr id="10" name="Text Placeholder 6"/>
          <p:cNvSpPr>
            <a:spLocks noGrp="1"/>
          </p:cNvSpPr>
          <p:nvPr>
            <p:ph type="body" sz="quarter" idx="16" hasCustomPrompt="1"/>
          </p:nvPr>
        </p:nvSpPr>
        <p:spPr>
          <a:xfrm>
            <a:off x="768354" y="4651023"/>
            <a:ext cx="6816945" cy="1016000"/>
          </a:xfrm>
          <a:prstGeom prst="rect">
            <a:avLst/>
          </a:prstGeom>
        </p:spPr>
        <p:txBody>
          <a:bodyPr lIns="0" tIns="0" rIns="0" bIns="0">
            <a:normAutofit/>
          </a:bodyPr>
          <a:lstStyle>
            <a:lvl1pPr marL="0" indent="0">
              <a:lnSpc>
                <a:spcPct val="100000"/>
              </a:lnSpc>
              <a:buNone/>
              <a:defRPr sz="2667">
                <a:solidFill>
                  <a:srgbClr val="FF6C00"/>
                </a:solidFill>
              </a:defRPr>
            </a:lvl1pPr>
            <a:lvl2pPr marL="457063" indent="0">
              <a:lnSpc>
                <a:spcPts val="4799"/>
              </a:lnSpc>
              <a:buNone/>
              <a:defRPr sz="3999">
                <a:solidFill>
                  <a:srgbClr val="FF6C00"/>
                </a:solidFill>
              </a:defRPr>
            </a:lvl2pPr>
            <a:lvl3pPr marL="914126" indent="0">
              <a:lnSpc>
                <a:spcPts val="4799"/>
              </a:lnSpc>
              <a:buNone/>
              <a:defRPr sz="3999">
                <a:solidFill>
                  <a:srgbClr val="FF6C00"/>
                </a:solidFill>
              </a:defRPr>
            </a:lvl3pPr>
            <a:lvl4pPr marL="1371190" indent="0">
              <a:lnSpc>
                <a:spcPts val="4799"/>
              </a:lnSpc>
              <a:buNone/>
              <a:defRPr sz="3999">
                <a:solidFill>
                  <a:srgbClr val="FF6C00"/>
                </a:solidFill>
              </a:defRPr>
            </a:lvl4pPr>
            <a:lvl5pPr marL="1828252" indent="0">
              <a:lnSpc>
                <a:spcPts val="4799"/>
              </a:lnSpc>
              <a:buNone/>
              <a:defRPr sz="3999">
                <a:solidFill>
                  <a:srgbClr val="FF6C00"/>
                </a:solidFill>
              </a:defRPr>
            </a:lvl5pPr>
          </a:lstStyle>
          <a:p>
            <a:pPr lvl="0"/>
            <a:r>
              <a:rPr lang="en-US"/>
              <a:t>Subtitle</a:t>
            </a:r>
          </a:p>
        </p:txBody>
      </p:sp>
      <p:pic>
        <p:nvPicPr>
          <p:cNvPr id="7" name="Picture 6">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045572" y="1711572"/>
            <a:ext cx="5146429" cy="5146429"/>
          </a:xfrm>
          <a:prstGeom prst="rect">
            <a:avLst/>
          </a:prstGeom>
        </p:spPr>
      </p:pic>
      <p:sp>
        <p:nvSpPr>
          <p:cNvPr id="11" name="Text Placeholder 9">
            <a:extLst>
              <a:ext uri="{FF2B5EF4-FFF2-40B4-BE49-F238E27FC236}">
                <a16:creationId xmlns:a16="http://schemas.microsoft.com/office/drawing/2014/main" id="{E8A0C770-19FC-43E2-AEE2-B18B053BEFFE}"/>
              </a:ext>
            </a:extLst>
          </p:cNvPr>
          <p:cNvSpPr>
            <a:spLocks noGrp="1"/>
          </p:cNvSpPr>
          <p:nvPr>
            <p:ph type="body" sz="quarter" idx="13" hasCustomPrompt="1"/>
          </p:nvPr>
        </p:nvSpPr>
        <p:spPr>
          <a:xfrm>
            <a:off x="768351" y="493184"/>
            <a:ext cx="736600" cy="812800"/>
          </a:xfrm>
          <a:prstGeom prst="rect">
            <a:avLst/>
          </a:prstGeom>
          <a:blipFill dpi="0"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p:spPr>
        <p:txBody>
          <a:bodyPr>
            <a:noAutofit/>
          </a:bodyPr>
          <a:lstStyle>
            <a:lvl1pPr marL="0" indent="0">
              <a:buNone/>
              <a:defRPr sz="133"/>
            </a:lvl1pPr>
          </a:lstStyle>
          <a:p>
            <a:pPr lvl="0"/>
            <a:r>
              <a:rPr lang="en-US"/>
              <a:t>.</a:t>
            </a:r>
          </a:p>
        </p:txBody>
      </p:sp>
    </p:spTree>
    <p:extLst>
      <p:ext uri="{BB962C8B-B14F-4D97-AF65-F5344CB8AC3E}">
        <p14:creationId xmlns:p14="http://schemas.microsoft.com/office/powerpoint/2010/main" val="2973565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Title and bullets">
    <p:spTree>
      <p:nvGrpSpPr>
        <p:cNvPr id="1" name=""/>
        <p:cNvGrpSpPr/>
        <p:nvPr/>
      </p:nvGrpSpPr>
      <p:grpSpPr>
        <a:xfrm>
          <a:off x="0" y="0"/>
          <a:ext cx="0" cy="0"/>
          <a:chOff x="0" y="0"/>
          <a:chExt cx="0" cy="0"/>
        </a:xfrm>
      </p:grpSpPr>
      <p:sp>
        <p:nvSpPr>
          <p:cNvPr id="14" name="Content Placeholder 2"/>
          <p:cNvSpPr>
            <a:spLocks noGrp="1"/>
          </p:cNvSpPr>
          <p:nvPr>
            <p:ph sz="quarter" idx="16" hasCustomPrompt="1"/>
          </p:nvPr>
        </p:nvSpPr>
        <p:spPr>
          <a:xfrm>
            <a:off x="768353" y="1113372"/>
            <a:ext cx="10655300" cy="5196417"/>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el 2">
            <a:extLst>
              <a:ext uri="{FF2B5EF4-FFF2-40B4-BE49-F238E27FC236}">
                <a16:creationId xmlns:a16="http://schemas.microsoft.com/office/drawing/2014/main" id="{90FE40DE-7E7D-4146-AB2D-5551E7E7415C}"/>
              </a:ext>
            </a:extLst>
          </p:cNvPr>
          <p:cNvSpPr>
            <a:spLocks noGrp="1"/>
          </p:cNvSpPr>
          <p:nvPr>
            <p:ph type="title"/>
          </p:nvPr>
        </p:nvSpPr>
        <p:spPr/>
        <p:txBody>
          <a:bodyPr/>
          <a:lstStyle>
            <a:lvl1pPr>
              <a:defRPr/>
            </a:lvl1pPr>
          </a:lstStyle>
          <a:p>
            <a:r>
              <a:rPr lang="en-US"/>
              <a:t>Click to edit Master title style</a:t>
            </a:r>
          </a:p>
        </p:txBody>
      </p:sp>
      <p:sp>
        <p:nvSpPr>
          <p:cNvPr id="4" name="Date Placeholder 3">
            <a:extLst>
              <a:ext uri="{FF2B5EF4-FFF2-40B4-BE49-F238E27FC236}">
                <a16:creationId xmlns:a16="http://schemas.microsoft.com/office/drawing/2014/main" id="{0EB1770B-7A94-4844-AD38-CF8FB3080003}"/>
              </a:ext>
            </a:extLst>
          </p:cNvPr>
          <p:cNvSpPr>
            <a:spLocks noGrp="1"/>
          </p:cNvSpPr>
          <p:nvPr>
            <p:ph type="dt" sz="half" idx="17"/>
          </p:nvPr>
        </p:nvSpPr>
        <p:spPr/>
        <p:txBody>
          <a:bodyPr/>
          <a:lstStyle/>
          <a:p>
            <a:endParaRPr lang="en-US" dirty="0"/>
          </a:p>
        </p:txBody>
      </p:sp>
      <p:sp>
        <p:nvSpPr>
          <p:cNvPr id="5" name="Footer Placeholder 4">
            <a:extLst>
              <a:ext uri="{FF2B5EF4-FFF2-40B4-BE49-F238E27FC236}">
                <a16:creationId xmlns:a16="http://schemas.microsoft.com/office/drawing/2014/main" id="{48F74F79-D68A-45F4-B9C7-F1CCDF9519A6}"/>
              </a:ext>
            </a:extLst>
          </p:cNvPr>
          <p:cNvSpPr>
            <a:spLocks noGrp="1"/>
          </p:cNvSpPr>
          <p:nvPr>
            <p:ph type="ftr" sz="quarter" idx="18"/>
          </p:nvPr>
        </p:nvSpPr>
        <p:spPr/>
        <p:txBody>
          <a:bodyPr/>
          <a:lstStyle/>
          <a:p>
            <a:endParaRPr lang="en-US" dirty="0"/>
          </a:p>
        </p:txBody>
      </p:sp>
      <p:sp>
        <p:nvSpPr>
          <p:cNvPr id="6" name="Slide Number Placeholder 5">
            <a:extLst>
              <a:ext uri="{FF2B5EF4-FFF2-40B4-BE49-F238E27FC236}">
                <a16:creationId xmlns:a16="http://schemas.microsoft.com/office/drawing/2014/main" id="{B6356A03-20E1-4E11-AF69-2080BD58C145}"/>
              </a:ext>
            </a:extLst>
          </p:cNvPr>
          <p:cNvSpPr>
            <a:spLocks noGrp="1"/>
          </p:cNvSpPr>
          <p:nvPr>
            <p:ph type="sldNum" sz="quarter" idx="19"/>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370983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with orange text and dark logo">
    <p:spTree>
      <p:nvGrpSpPr>
        <p:cNvPr id="1" name=""/>
        <p:cNvGrpSpPr/>
        <p:nvPr/>
      </p:nvGrpSpPr>
      <p:grpSpPr>
        <a:xfrm>
          <a:off x="0" y="0"/>
          <a:ext cx="0" cy="0"/>
          <a:chOff x="0" y="0"/>
          <a:chExt cx="0" cy="0"/>
        </a:xfrm>
      </p:grpSpPr>
      <p:sp>
        <p:nvSpPr>
          <p:cNvPr id="14" name="Picture Placeholder 13"/>
          <p:cNvSpPr>
            <a:spLocks noGrp="1"/>
          </p:cNvSpPr>
          <p:nvPr>
            <p:ph type="pic" sz="quarter" idx="15" hasCustomPrompt="1"/>
          </p:nvPr>
        </p:nvSpPr>
        <p:spPr>
          <a:xfrm>
            <a:off x="0" y="0"/>
            <a:ext cx="12192000" cy="6858000"/>
          </a:xfrm>
          <a:prstGeom prst="rect">
            <a:avLst/>
          </a:prstGeom>
          <a:solidFill>
            <a:schemeClr val="accent6"/>
          </a:solidFill>
        </p:spPr>
        <p:txBody>
          <a:bodyPr>
            <a:normAutofit/>
          </a:bodyPr>
          <a:lstStyle>
            <a:lvl1pPr marL="0" indent="0" algn="ctr">
              <a:lnSpc>
                <a:spcPct val="100000"/>
              </a:lnSpc>
              <a:buNone/>
              <a:defRPr sz="2133" baseline="0"/>
            </a:lvl1pPr>
          </a:lstStyle>
          <a:p>
            <a:r>
              <a:rPr lang="en-US" noProof="0" dirty="0"/>
              <a:t>Drag picture to placeholder or click icon to add</a:t>
            </a:r>
          </a:p>
        </p:txBody>
      </p:sp>
      <p:sp>
        <p:nvSpPr>
          <p:cNvPr id="2" name="Title 1"/>
          <p:cNvSpPr>
            <a:spLocks noGrp="1"/>
          </p:cNvSpPr>
          <p:nvPr>
            <p:ph type="ctrTitle" hasCustomPrompt="1"/>
          </p:nvPr>
        </p:nvSpPr>
        <p:spPr>
          <a:xfrm>
            <a:off x="768352" y="2212623"/>
            <a:ext cx="6816945" cy="2325511"/>
          </a:xfrm>
          <a:prstGeom prst="rect">
            <a:avLst/>
          </a:prstGeom>
        </p:spPr>
        <p:txBody>
          <a:bodyPr lIns="0" tIns="0" rIns="0" bIns="0" anchor="t" anchorCtr="0">
            <a:normAutofit/>
          </a:bodyPr>
          <a:lstStyle>
            <a:lvl1pPr algn="l">
              <a:lnSpc>
                <a:spcPct val="100000"/>
              </a:lnSpc>
              <a:defRPr sz="5067">
                <a:solidFill>
                  <a:schemeClr val="accent2"/>
                </a:solidFill>
              </a:defRPr>
            </a:lvl1pPr>
          </a:lstStyle>
          <a:p>
            <a:r>
              <a:rPr lang="en-US" noProof="0" dirty="0"/>
              <a:t>Click to edit title max over 2x lines</a:t>
            </a:r>
          </a:p>
        </p:txBody>
      </p:sp>
      <p:sp>
        <p:nvSpPr>
          <p:cNvPr id="12" name="Text Placeholder 11"/>
          <p:cNvSpPr>
            <a:spLocks noGrp="1"/>
          </p:cNvSpPr>
          <p:nvPr>
            <p:ph type="body" sz="quarter" idx="14" hasCustomPrompt="1"/>
          </p:nvPr>
        </p:nvSpPr>
        <p:spPr>
          <a:xfrm>
            <a:off x="768352" y="5881637"/>
            <a:ext cx="6816945" cy="653335"/>
          </a:xfrm>
          <a:prstGeom prst="rect">
            <a:avLst/>
          </a:prstGeom>
        </p:spPr>
        <p:txBody>
          <a:bodyPr lIns="0" tIns="0" rIns="0" bIns="0">
            <a:normAutofit/>
          </a:bodyPr>
          <a:lstStyle>
            <a:lvl1pPr marL="0" indent="0">
              <a:lnSpc>
                <a:spcPct val="100000"/>
              </a:lnSpc>
              <a:spcBef>
                <a:spcPts val="0"/>
              </a:spcBef>
              <a:spcAft>
                <a:spcPts val="0"/>
              </a:spcAft>
              <a:buNone/>
              <a:defRPr sz="1733"/>
            </a:lvl1pPr>
            <a:lvl2pPr marL="0" indent="0">
              <a:buNone/>
              <a:defRPr sz="1333"/>
            </a:lvl2pPr>
            <a:lvl3pPr marL="0" indent="0">
              <a:buNone/>
              <a:defRPr sz="1333"/>
            </a:lvl3pPr>
            <a:lvl4pPr marL="0" indent="0">
              <a:buNone/>
              <a:defRPr sz="1333"/>
            </a:lvl4pPr>
            <a:lvl5pPr marL="0" indent="0">
              <a:buNone/>
              <a:defRPr sz="1333"/>
            </a:lvl5pPr>
          </a:lstStyle>
          <a:p>
            <a:pPr lvl="0"/>
            <a:r>
              <a:rPr lang="en-US" dirty="0"/>
              <a:t>Month, year</a:t>
            </a:r>
            <a:br>
              <a:rPr lang="en-US" dirty="0"/>
            </a:br>
            <a:r>
              <a:rPr lang="en-US" dirty="0"/>
              <a:t>Name presenter</a:t>
            </a:r>
          </a:p>
        </p:txBody>
      </p:sp>
      <p:sp>
        <p:nvSpPr>
          <p:cNvPr id="9" name="Text Placeholder 6"/>
          <p:cNvSpPr>
            <a:spLocks noGrp="1"/>
          </p:cNvSpPr>
          <p:nvPr>
            <p:ph type="body" sz="quarter" idx="16" hasCustomPrompt="1"/>
          </p:nvPr>
        </p:nvSpPr>
        <p:spPr>
          <a:xfrm>
            <a:off x="768352" y="4651023"/>
            <a:ext cx="6816945" cy="1016000"/>
          </a:xfrm>
          <a:prstGeom prst="rect">
            <a:avLst/>
          </a:prstGeom>
        </p:spPr>
        <p:txBody>
          <a:bodyPr lIns="0" tIns="0" rIns="0" bIns="0">
            <a:normAutofit/>
          </a:bodyPr>
          <a:lstStyle>
            <a:lvl1pPr marL="0" indent="0">
              <a:lnSpc>
                <a:spcPct val="100000"/>
              </a:lnSpc>
              <a:buNone/>
              <a:defRPr sz="2667">
                <a:solidFill>
                  <a:srgbClr val="FF6C00"/>
                </a:solidFill>
              </a:defRPr>
            </a:lvl1pPr>
            <a:lvl2pPr marL="457189" indent="0">
              <a:lnSpc>
                <a:spcPts val="4800"/>
              </a:lnSpc>
              <a:buNone/>
              <a:defRPr sz="4000">
                <a:solidFill>
                  <a:srgbClr val="FF6C00"/>
                </a:solidFill>
              </a:defRPr>
            </a:lvl2pPr>
            <a:lvl3pPr marL="914377" indent="0">
              <a:lnSpc>
                <a:spcPts val="4800"/>
              </a:lnSpc>
              <a:buNone/>
              <a:defRPr sz="4000">
                <a:solidFill>
                  <a:srgbClr val="FF6C00"/>
                </a:solidFill>
              </a:defRPr>
            </a:lvl3pPr>
            <a:lvl4pPr marL="1371566" indent="0">
              <a:lnSpc>
                <a:spcPts val="4800"/>
              </a:lnSpc>
              <a:buNone/>
              <a:defRPr sz="4000">
                <a:solidFill>
                  <a:srgbClr val="FF6C00"/>
                </a:solidFill>
              </a:defRPr>
            </a:lvl4pPr>
            <a:lvl5pPr marL="1828754" indent="0">
              <a:lnSpc>
                <a:spcPts val="4800"/>
              </a:lnSpc>
              <a:buNone/>
              <a:defRPr sz="4000">
                <a:solidFill>
                  <a:srgbClr val="FF6C00"/>
                </a:solidFill>
              </a:defRPr>
            </a:lvl5pPr>
          </a:lstStyle>
          <a:p>
            <a:pPr lvl="0"/>
            <a:r>
              <a:rPr lang="en-US" dirty="0"/>
              <a:t>Subtitle</a:t>
            </a:r>
          </a:p>
        </p:txBody>
      </p:sp>
      <p:sp>
        <p:nvSpPr>
          <p:cNvPr id="8" name="Text Placeholder 9">
            <a:extLst>
              <a:ext uri="{FF2B5EF4-FFF2-40B4-BE49-F238E27FC236}">
                <a16:creationId xmlns:a16="http://schemas.microsoft.com/office/drawing/2014/main" id="{8C401EA3-16A6-47D3-9D6E-A27DFE2287EA}"/>
              </a:ext>
            </a:extLst>
          </p:cNvPr>
          <p:cNvSpPr>
            <a:spLocks noGrp="1"/>
          </p:cNvSpPr>
          <p:nvPr>
            <p:ph type="body" sz="quarter" idx="13" hasCustomPrompt="1"/>
          </p:nvPr>
        </p:nvSpPr>
        <p:spPr>
          <a:xfrm>
            <a:off x="768351" y="493184"/>
            <a:ext cx="736600" cy="8128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33"/>
            </a:lvl1pPr>
          </a:lstStyle>
          <a:p>
            <a:pPr lvl="0"/>
            <a:r>
              <a:rPr lang="en-US" dirty="0"/>
              <a:t>.</a:t>
            </a:r>
          </a:p>
        </p:txBody>
      </p:sp>
    </p:spTree>
    <p:extLst>
      <p:ext uri="{BB962C8B-B14F-4D97-AF65-F5344CB8AC3E}">
        <p14:creationId xmlns:p14="http://schemas.microsoft.com/office/powerpoint/2010/main" val="3237879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with white text and white logo">
    <p:spTree>
      <p:nvGrpSpPr>
        <p:cNvPr id="1" name=""/>
        <p:cNvGrpSpPr/>
        <p:nvPr/>
      </p:nvGrpSpPr>
      <p:grpSpPr>
        <a:xfrm>
          <a:off x="0" y="0"/>
          <a:ext cx="0" cy="0"/>
          <a:chOff x="0" y="0"/>
          <a:chExt cx="0" cy="0"/>
        </a:xfrm>
      </p:grpSpPr>
      <p:sp>
        <p:nvSpPr>
          <p:cNvPr id="14" name="AchtergrondBeeld"/>
          <p:cNvSpPr>
            <a:spLocks noGrp="1"/>
          </p:cNvSpPr>
          <p:nvPr>
            <p:ph type="pic" sz="quarter" idx="15" hasCustomPrompt="1"/>
          </p:nvPr>
        </p:nvSpPr>
        <p:spPr>
          <a:xfrm>
            <a:off x="0" y="0"/>
            <a:ext cx="12192000" cy="6858000"/>
          </a:xfrm>
          <a:prstGeom prst="rect">
            <a:avLst/>
          </a:prstGeom>
          <a:solidFill>
            <a:srgbClr val="3E4043">
              <a:alpha val="14902"/>
            </a:srgbClr>
          </a:solidFill>
        </p:spPr>
        <p:txBody>
          <a:bodyPr>
            <a:normAutofit/>
          </a:bodyPr>
          <a:lstStyle>
            <a:lvl1pPr marL="0" indent="0" algn="ctr">
              <a:lnSpc>
                <a:spcPct val="100000"/>
              </a:lnSpc>
              <a:buNone/>
              <a:defRPr sz="2133" baseline="0"/>
            </a:lvl1pPr>
          </a:lstStyle>
          <a:p>
            <a:r>
              <a:rPr lang="en-US" noProof="0" dirty="0"/>
              <a:t>Drag picture to placeholder or click icon to add</a:t>
            </a:r>
          </a:p>
        </p:txBody>
      </p:sp>
      <p:sp>
        <p:nvSpPr>
          <p:cNvPr id="12" name="Text Placeholder 11"/>
          <p:cNvSpPr>
            <a:spLocks noGrp="1"/>
          </p:cNvSpPr>
          <p:nvPr>
            <p:ph type="body" sz="quarter" idx="14" hasCustomPrompt="1"/>
          </p:nvPr>
        </p:nvSpPr>
        <p:spPr>
          <a:xfrm>
            <a:off x="768352" y="5881637"/>
            <a:ext cx="6816945" cy="653335"/>
          </a:xfrm>
          <a:prstGeom prst="rect">
            <a:avLst/>
          </a:prstGeom>
        </p:spPr>
        <p:txBody>
          <a:bodyPr lIns="0" tIns="0" rIns="0" bIns="0">
            <a:normAutofit/>
          </a:bodyPr>
          <a:lstStyle>
            <a:lvl1pPr marL="0" indent="0">
              <a:lnSpc>
                <a:spcPct val="100000"/>
              </a:lnSpc>
              <a:spcBef>
                <a:spcPts val="0"/>
              </a:spcBef>
              <a:spcAft>
                <a:spcPts val="0"/>
              </a:spcAft>
              <a:buNone/>
              <a:defRPr sz="1733">
                <a:solidFill>
                  <a:schemeClr val="bg1"/>
                </a:solidFill>
              </a:defRPr>
            </a:lvl1pPr>
            <a:lvl2pPr marL="0" indent="0">
              <a:buNone/>
              <a:defRPr sz="1333"/>
            </a:lvl2pPr>
            <a:lvl3pPr marL="0" indent="0">
              <a:buNone/>
              <a:defRPr sz="1333"/>
            </a:lvl3pPr>
            <a:lvl4pPr marL="0" indent="0">
              <a:buNone/>
              <a:defRPr sz="1333"/>
            </a:lvl4pPr>
            <a:lvl5pPr marL="0" indent="0">
              <a:buNone/>
              <a:defRPr sz="1333"/>
            </a:lvl5pPr>
          </a:lstStyle>
          <a:p>
            <a:pPr lvl="0"/>
            <a:r>
              <a:rPr lang="en-US" dirty="0"/>
              <a:t>Month, year</a:t>
            </a:r>
            <a:br>
              <a:rPr lang="en-US" dirty="0"/>
            </a:br>
            <a:r>
              <a:rPr lang="en-US" dirty="0"/>
              <a:t>Name presenter</a:t>
            </a:r>
          </a:p>
        </p:txBody>
      </p:sp>
      <p:sp>
        <p:nvSpPr>
          <p:cNvPr id="20" name="Title 1"/>
          <p:cNvSpPr>
            <a:spLocks noGrp="1"/>
          </p:cNvSpPr>
          <p:nvPr>
            <p:ph type="ctrTitle" hasCustomPrompt="1"/>
          </p:nvPr>
        </p:nvSpPr>
        <p:spPr>
          <a:xfrm>
            <a:off x="768352" y="2212623"/>
            <a:ext cx="6816945" cy="2325511"/>
          </a:xfrm>
          <a:prstGeom prst="rect">
            <a:avLst/>
          </a:prstGeom>
        </p:spPr>
        <p:txBody>
          <a:bodyPr lIns="0" tIns="0" rIns="0" bIns="0" anchor="t" anchorCtr="0">
            <a:normAutofit/>
          </a:bodyPr>
          <a:lstStyle>
            <a:lvl1pPr algn="l">
              <a:lnSpc>
                <a:spcPct val="100000"/>
              </a:lnSpc>
              <a:defRPr sz="5067">
                <a:solidFill>
                  <a:schemeClr val="bg1"/>
                </a:solidFill>
              </a:defRPr>
            </a:lvl1pPr>
          </a:lstStyle>
          <a:p>
            <a:r>
              <a:rPr lang="en-US" noProof="0" dirty="0"/>
              <a:t>Click to edit title max over 2x lines</a:t>
            </a:r>
          </a:p>
        </p:txBody>
      </p:sp>
      <p:sp>
        <p:nvSpPr>
          <p:cNvPr id="21" name="Text Placeholder 6"/>
          <p:cNvSpPr>
            <a:spLocks noGrp="1"/>
          </p:cNvSpPr>
          <p:nvPr>
            <p:ph type="body" sz="quarter" idx="16" hasCustomPrompt="1"/>
          </p:nvPr>
        </p:nvSpPr>
        <p:spPr>
          <a:xfrm>
            <a:off x="768352" y="4651023"/>
            <a:ext cx="6816945" cy="1016000"/>
          </a:xfrm>
          <a:prstGeom prst="rect">
            <a:avLst/>
          </a:prstGeom>
        </p:spPr>
        <p:txBody>
          <a:bodyPr lIns="0" tIns="0" rIns="0" bIns="0">
            <a:normAutofit/>
          </a:bodyPr>
          <a:lstStyle>
            <a:lvl1pPr marL="0" indent="0">
              <a:lnSpc>
                <a:spcPct val="100000"/>
              </a:lnSpc>
              <a:buNone/>
              <a:defRPr sz="2667">
                <a:solidFill>
                  <a:srgbClr val="FF6C00"/>
                </a:solidFill>
              </a:defRPr>
            </a:lvl1pPr>
            <a:lvl2pPr marL="457189" indent="0">
              <a:lnSpc>
                <a:spcPts val="4800"/>
              </a:lnSpc>
              <a:buNone/>
              <a:defRPr sz="4000">
                <a:solidFill>
                  <a:srgbClr val="FF6C00"/>
                </a:solidFill>
              </a:defRPr>
            </a:lvl2pPr>
            <a:lvl3pPr marL="914377" indent="0">
              <a:lnSpc>
                <a:spcPts val="4800"/>
              </a:lnSpc>
              <a:buNone/>
              <a:defRPr sz="4000">
                <a:solidFill>
                  <a:srgbClr val="FF6C00"/>
                </a:solidFill>
              </a:defRPr>
            </a:lvl3pPr>
            <a:lvl4pPr marL="1371566" indent="0">
              <a:lnSpc>
                <a:spcPts val="4800"/>
              </a:lnSpc>
              <a:buNone/>
              <a:defRPr sz="4000">
                <a:solidFill>
                  <a:srgbClr val="FF6C00"/>
                </a:solidFill>
              </a:defRPr>
            </a:lvl4pPr>
            <a:lvl5pPr marL="1828754" indent="0">
              <a:lnSpc>
                <a:spcPts val="4800"/>
              </a:lnSpc>
              <a:buNone/>
              <a:defRPr sz="4000">
                <a:solidFill>
                  <a:srgbClr val="FF6C00"/>
                </a:solidFill>
              </a:defRPr>
            </a:lvl5pPr>
          </a:lstStyle>
          <a:p>
            <a:pPr lvl="0"/>
            <a:r>
              <a:rPr lang="en-US" dirty="0"/>
              <a:t>Subtitle</a:t>
            </a:r>
          </a:p>
        </p:txBody>
      </p:sp>
      <p:sp>
        <p:nvSpPr>
          <p:cNvPr id="7" name="Text Placeholder 9">
            <a:extLst>
              <a:ext uri="{FF2B5EF4-FFF2-40B4-BE49-F238E27FC236}">
                <a16:creationId xmlns:a16="http://schemas.microsoft.com/office/drawing/2014/main" id="{F59E71B1-F750-4435-986C-7F9EF2056098}"/>
              </a:ext>
            </a:extLst>
          </p:cNvPr>
          <p:cNvSpPr>
            <a:spLocks noGrp="1"/>
          </p:cNvSpPr>
          <p:nvPr>
            <p:ph type="body" sz="quarter" idx="13" hasCustomPrompt="1"/>
          </p:nvPr>
        </p:nvSpPr>
        <p:spPr>
          <a:xfrm>
            <a:off x="768351" y="493184"/>
            <a:ext cx="736600" cy="8128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33"/>
            </a:lvl1pPr>
          </a:lstStyle>
          <a:p>
            <a:pPr lvl="0"/>
            <a:r>
              <a:rPr lang="en-US" dirty="0"/>
              <a:t>.</a:t>
            </a:r>
          </a:p>
        </p:txBody>
      </p:sp>
    </p:spTree>
    <p:extLst>
      <p:ext uri="{BB962C8B-B14F-4D97-AF65-F5344CB8AC3E}">
        <p14:creationId xmlns:p14="http://schemas.microsoft.com/office/powerpoint/2010/main" val="261833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with orange text and white logo">
    <p:spTree>
      <p:nvGrpSpPr>
        <p:cNvPr id="1" name=""/>
        <p:cNvGrpSpPr/>
        <p:nvPr/>
      </p:nvGrpSpPr>
      <p:grpSpPr>
        <a:xfrm>
          <a:off x="0" y="0"/>
          <a:ext cx="0" cy="0"/>
          <a:chOff x="0" y="0"/>
          <a:chExt cx="0" cy="0"/>
        </a:xfrm>
      </p:grpSpPr>
      <p:sp>
        <p:nvSpPr>
          <p:cNvPr id="14" name="AchtergrondBeeld"/>
          <p:cNvSpPr>
            <a:spLocks noGrp="1"/>
          </p:cNvSpPr>
          <p:nvPr>
            <p:ph type="pic" sz="quarter" idx="15" hasCustomPrompt="1"/>
          </p:nvPr>
        </p:nvSpPr>
        <p:spPr>
          <a:xfrm>
            <a:off x="0" y="0"/>
            <a:ext cx="12192000" cy="6858000"/>
          </a:xfrm>
          <a:prstGeom prst="rect">
            <a:avLst/>
          </a:prstGeom>
          <a:solidFill>
            <a:srgbClr val="3E4043">
              <a:alpha val="14902"/>
            </a:srgbClr>
          </a:solidFill>
        </p:spPr>
        <p:txBody>
          <a:bodyPr>
            <a:normAutofit/>
          </a:bodyPr>
          <a:lstStyle>
            <a:lvl1pPr marL="0" indent="0" algn="ctr">
              <a:lnSpc>
                <a:spcPct val="100000"/>
              </a:lnSpc>
              <a:buNone/>
              <a:defRPr sz="2133" baseline="0"/>
            </a:lvl1pPr>
          </a:lstStyle>
          <a:p>
            <a:r>
              <a:rPr lang="en-US" noProof="0" dirty="0"/>
              <a:t>Drag picture to placeholder or click icon to add</a:t>
            </a:r>
          </a:p>
        </p:txBody>
      </p:sp>
      <p:sp>
        <p:nvSpPr>
          <p:cNvPr id="12" name="Text Placeholder 11"/>
          <p:cNvSpPr>
            <a:spLocks noGrp="1"/>
          </p:cNvSpPr>
          <p:nvPr>
            <p:ph type="body" sz="quarter" idx="14" hasCustomPrompt="1"/>
          </p:nvPr>
        </p:nvSpPr>
        <p:spPr>
          <a:xfrm>
            <a:off x="768352" y="5881637"/>
            <a:ext cx="6816945" cy="653335"/>
          </a:xfrm>
          <a:prstGeom prst="rect">
            <a:avLst/>
          </a:prstGeom>
        </p:spPr>
        <p:txBody>
          <a:bodyPr lIns="0" tIns="0" rIns="0" bIns="0">
            <a:normAutofit/>
          </a:bodyPr>
          <a:lstStyle>
            <a:lvl1pPr marL="0" indent="0">
              <a:lnSpc>
                <a:spcPct val="100000"/>
              </a:lnSpc>
              <a:spcBef>
                <a:spcPts val="0"/>
              </a:spcBef>
              <a:spcAft>
                <a:spcPts val="0"/>
              </a:spcAft>
              <a:buNone/>
              <a:defRPr sz="1733">
                <a:solidFill>
                  <a:schemeClr val="bg1"/>
                </a:solidFill>
              </a:defRPr>
            </a:lvl1pPr>
            <a:lvl2pPr marL="0" indent="0">
              <a:buNone/>
              <a:defRPr sz="1333"/>
            </a:lvl2pPr>
            <a:lvl3pPr marL="0" indent="0">
              <a:buNone/>
              <a:defRPr sz="1333"/>
            </a:lvl3pPr>
            <a:lvl4pPr marL="0" indent="0">
              <a:buNone/>
              <a:defRPr sz="1333"/>
            </a:lvl4pPr>
            <a:lvl5pPr marL="0" indent="0">
              <a:buNone/>
              <a:defRPr sz="1333"/>
            </a:lvl5pPr>
          </a:lstStyle>
          <a:p>
            <a:pPr lvl="0"/>
            <a:r>
              <a:rPr lang="en-US" dirty="0"/>
              <a:t>Month, year</a:t>
            </a:r>
            <a:br>
              <a:rPr lang="en-US" dirty="0"/>
            </a:br>
            <a:r>
              <a:rPr lang="en-US" dirty="0"/>
              <a:t>Name presenter</a:t>
            </a:r>
          </a:p>
        </p:txBody>
      </p:sp>
      <p:sp>
        <p:nvSpPr>
          <p:cNvPr id="20" name="Title 1"/>
          <p:cNvSpPr>
            <a:spLocks noGrp="1"/>
          </p:cNvSpPr>
          <p:nvPr>
            <p:ph type="ctrTitle" hasCustomPrompt="1"/>
          </p:nvPr>
        </p:nvSpPr>
        <p:spPr>
          <a:xfrm>
            <a:off x="768352" y="2212623"/>
            <a:ext cx="6816945" cy="2325511"/>
          </a:xfrm>
          <a:prstGeom prst="rect">
            <a:avLst/>
          </a:prstGeom>
        </p:spPr>
        <p:txBody>
          <a:bodyPr lIns="0" tIns="0" rIns="0" bIns="0" anchor="t" anchorCtr="0">
            <a:normAutofit/>
          </a:bodyPr>
          <a:lstStyle>
            <a:lvl1pPr algn="l">
              <a:lnSpc>
                <a:spcPct val="100000"/>
              </a:lnSpc>
              <a:defRPr sz="5067">
                <a:solidFill>
                  <a:schemeClr val="accent2"/>
                </a:solidFill>
              </a:defRPr>
            </a:lvl1pPr>
          </a:lstStyle>
          <a:p>
            <a:r>
              <a:rPr lang="en-US" noProof="0" dirty="0"/>
              <a:t>Click to edit title max over 2x lines</a:t>
            </a:r>
          </a:p>
        </p:txBody>
      </p:sp>
      <p:sp>
        <p:nvSpPr>
          <p:cNvPr id="21" name="Text Placeholder 6"/>
          <p:cNvSpPr>
            <a:spLocks noGrp="1"/>
          </p:cNvSpPr>
          <p:nvPr>
            <p:ph type="body" sz="quarter" idx="16" hasCustomPrompt="1"/>
          </p:nvPr>
        </p:nvSpPr>
        <p:spPr>
          <a:xfrm>
            <a:off x="768352" y="4651023"/>
            <a:ext cx="6816945" cy="1016000"/>
          </a:xfrm>
          <a:prstGeom prst="rect">
            <a:avLst/>
          </a:prstGeom>
        </p:spPr>
        <p:txBody>
          <a:bodyPr lIns="0" tIns="0" rIns="0" bIns="0">
            <a:normAutofit/>
          </a:bodyPr>
          <a:lstStyle>
            <a:lvl1pPr marL="0" indent="0">
              <a:lnSpc>
                <a:spcPct val="100000"/>
              </a:lnSpc>
              <a:buNone/>
              <a:defRPr sz="2667">
                <a:solidFill>
                  <a:srgbClr val="FF6C00"/>
                </a:solidFill>
              </a:defRPr>
            </a:lvl1pPr>
            <a:lvl2pPr marL="457189" indent="0">
              <a:lnSpc>
                <a:spcPts val="4800"/>
              </a:lnSpc>
              <a:buNone/>
              <a:defRPr sz="4000">
                <a:solidFill>
                  <a:srgbClr val="FF6C00"/>
                </a:solidFill>
              </a:defRPr>
            </a:lvl2pPr>
            <a:lvl3pPr marL="914377" indent="0">
              <a:lnSpc>
                <a:spcPts val="4800"/>
              </a:lnSpc>
              <a:buNone/>
              <a:defRPr sz="4000">
                <a:solidFill>
                  <a:srgbClr val="FF6C00"/>
                </a:solidFill>
              </a:defRPr>
            </a:lvl3pPr>
            <a:lvl4pPr marL="1371566" indent="0">
              <a:lnSpc>
                <a:spcPts val="4800"/>
              </a:lnSpc>
              <a:buNone/>
              <a:defRPr sz="4000">
                <a:solidFill>
                  <a:srgbClr val="FF6C00"/>
                </a:solidFill>
              </a:defRPr>
            </a:lvl4pPr>
            <a:lvl5pPr marL="1828754" indent="0">
              <a:lnSpc>
                <a:spcPts val="4800"/>
              </a:lnSpc>
              <a:buNone/>
              <a:defRPr sz="4000">
                <a:solidFill>
                  <a:srgbClr val="FF6C00"/>
                </a:solidFill>
              </a:defRPr>
            </a:lvl5pPr>
          </a:lstStyle>
          <a:p>
            <a:pPr lvl="0"/>
            <a:r>
              <a:rPr lang="en-US" dirty="0"/>
              <a:t>Subtitle</a:t>
            </a:r>
          </a:p>
        </p:txBody>
      </p:sp>
      <p:sp>
        <p:nvSpPr>
          <p:cNvPr id="8" name="Text Placeholder 9">
            <a:extLst>
              <a:ext uri="{FF2B5EF4-FFF2-40B4-BE49-F238E27FC236}">
                <a16:creationId xmlns:a16="http://schemas.microsoft.com/office/drawing/2014/main" id="{0E6E70A5-8AF3-4A7A-B204-A2BBA103534A}"/>
              </a:ext>
            </a:extLst>
          </p:cNvPr>
          <p:cNvSpPr>
            <a:spLocks noGrp="1"/>
          </p:cNvSpPr>
          <p:nvPr>
            <p:ph type="body" sz="quarter" idx="13" hasCustomPrompt="1"/>
          </p:nvPr>
        </p:nvSpPr>
        <p:spPr>
          <a:xfrm>
            <a:off x="768351" y="493184"/>
            <a:ext cx="736600" cy="8128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33"/>
            </a:lvl1pPr>
          </a:lstStyle>
          <a:p>
            <a:pPr lvl="0"/>
            <a:r>
              <a:rPr lang="en-US" dirty="0"/>
              <a:t>.</a:t>
            </a:r>
          </a:p>
        </p:txBody>
      </p:sp>
    </p:spTree>
    <p:extLst>
      <p:ext uri="{BB962C8B-B14F-4D97-AF65-F5344CB8AC3E}">
        <p14:creationId xmlns:p14="http://schemas.microsoft.com/office/powerpoint/2010/main" val="4098115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lide with orange and gray text and white logo">
    <p:spTree>
      <p:nvGrpSpPr>
        <p:cNvPr id="1" name=""/>
        <p:cNvGrpSpPr/>
        <p:nvPr/>
      </p:nvGrpSpPr>
      <p:grpSpPr>
        <a:xfrm>
          <a:off x="0" y="0"/>
          <a:ext cx="0" cy="0"/>
          <a:chOff x="0" y="0"/>
          <a:chExt cx="0" cy="0"/>
        </a:xfrm>
      </p:grpSpPr>
      <p:sp>
        <p:nvSpPr>
          <p:cNvPr id="14" name="AchtergrondBeeld"/>
          <p:cNvSpPr>
            <a:spLocks noGrp="1"/>
          </p:cNvSpPr>
          <p:nvPr>
            <p:ph type="pic" sz="quarter" idx="15" hasCustomPrompt="1"/>
          </p:nvPr>
        </p:nvSpPr>
        <p:spPr>
          <a:xfrm>
            <a:off x="0" y="0"/>
            <a:ext cx="12192000" cy="6858000"/>
          </a:xfrm>
          <a:prstGeom prst="rect">
            <a:avLst/>
          </a:prstGeom>
          <a:solidFill>
            <a:srgbClr val="3E4043">
              <a:alpha val="14902"/>
            </a:srgbClr>
          </a:solidFill>
        </p:spPr>
        <p:txBody>
          <a:bodyPr>
            <a:normAutofit/>
          </a:bodyPr>
          <a:lstStyle>
            <a:lvl1pPr marL="0" indent="0" algn="ctr">
              <a:lnSpc>
                <a:spcPct val="100000"/>
              </a:lnSpc>
              <a:buNone/>
              <a:defRPr sz="2133" baseline="0"/>
            </a:lvl1pPr>
          </a:lstStyle>
          <a:p>
            <a:r>
              <a:rPr lang="en-US" noProof="0" dirty="0"/>
              <a:t>Drag picture to placeholder or click icon to add</a:t>
            </a:r>
          </a:p>
        </p:txBody>
      </p:sp>
      <p:sp>
        <p:nvSpPr>
          <p:cNvPr id="12" name="Text Placeholder 11"/>
          <p:cNvSpPr>
            <a:spLocks noGrp="1"/>
          </p:cNvSpPr>
          <p:nvPr>
            <p:ph type="body" sz="quarter" idx="14" hasCustomPrompt="1"/>
          </p:nvPr>
        </p:nvSpPr>
        <p:spPr>
          <a:xfrm>
            <a:off x="768352" y="5881637"/>
            <a:ext cx="6816945" cy="653335"/>
          </a:xfrm>
          <a:prstGeom prst="rect">
            <a:avLst/>
          </a:prstGeom>
        </p:spPr>
        <p:txBody>
          <a:bodyPr lIns="0" tIns="0" rIns="0" bIns="0">
            <a:normAutofit/>
          </a:bodyPr>
          <a:lstStyle>
            <a:lvl1pPr marL="0" indent="0">
              <a:lnSpc>
                <a:spcPct val="100000"/>
              </a:lnSpc>
              <a:spcBef>
                <a:spcPts val="0"/>
              </a:spcBef>
              <a:spcAft>
                <a:spcPts val="0"/>
              </a:spcAft>
              <a:buNone/>
              <a:defRPr sz="1733">
                <a:solidFill>
                  <a:schemeClr val="tx1"/>
                </a:solidFill>
              </a:defRPr>
            </a:lvl1pPr>
            <a:lvl2pPr marL="0" indent="0">
              <a:buNone/>
              <a:defRPr sz="1333"/>
            </a:lvl2pPr>
            <a:lvl3pPr marL="0" indent="0">
              <a:buNone/>
              <a:defRPr sz="1333"/>
            </a:lvl3pPr>
            <a:lvl4pPr marL="0" indent="0">
              <a:buNone/>
              <a:defRPr sz="1333"/>
            </a:lvl4pPr>
            <a:lvl5pPr marL="0" indent="0">
              <a:buNone/>
              <a:defRPr sz="1333"/>
            </a:lvl5pPr>
          </a:lstStyle>
          <a:p>
            <a:pPr lvl="0"/>
            <a:r>
              <a:rPr lang="en-US" dirty="0"/>
              <a:t>Month, year</a:t>
            </a:r>
            <a:br>
              <a:rPr lang="en-US" dirty="0"/>
            </a:br>
            <a:r>
              <a:rPr lang="en-US" dirty="0"/>
              <a:t>Name presenter</a:t>
            </a:r>
          </a:p>
        </p:txBody>
      </p:sp>
      <p:sp>
        <p:nvSpPr>
          <p:cNvPr id="20" name="Title 1"/>
          <p:cNvSpPr>
            <a:spLocks noGrp="1"/>
          </p:cNvSpPr>
          <p:nvPr>
            <p:ph type="ctrTitle" hasCustomPrompt="1"/>
          </p:nvPr>
        </p:nvSpPr>
        <p:spPr>
          <a:xfrm>
            <a:off x="768352" y="2212623"/>
            <a:ext cx="6816945" cy="2325511"/>
          </a:xfrm>
          <a:prstGeom prst="rect">
            <a:avLst/>
          </a:prstGeom>
        </p:spPr>
        <p:txBody>
          <a:bodyPr lIns="0" tIns="0" rIns="0" bIns="0" anchor="t" anchorCtr="0">
            <a:normAutofit/>
          </a:bodyPr>
          <a:lstStyle>
            <a:lvl1pPr algn="l">
              <a:lnSpc>
                <a:spcPct val="100000"/>
              </a:lnSpc>
              <a:defRPr sz="5067">
                <a:solidFill>
                  <a:schemeClr val="accent2"/>
                </a:solidFill>
              </a:defRPr>
            </a:lvl1pPr>
          </a:lstStyle>
          <a:p>
            <a:r>
              <a:rPr lang="en-US" noProof="0" dirty="0"/>
              <a:t>Click to edit title max over 2x lines</a:t>
            </a:r>
          </a:p>
        </p:txBody>
      </p:sp>
      <p:sp>
        <p:nvSpPr>
          <p:cNvPr id="21" name="Text Placeholder 6"/>
          <p:cNvSpPr>
            <a:spLocks noGrp="1"/>
          </p:cNvSpPr>
          <p:nvPr>
            <p:ph type="body" sz="quarter" idx="16" hasCustomPrompt="1"/>
          </p:nvPr>
        </p:nvSpPr>
        <p:spPr>
          <a:xfrm>
            <a:off x="768352" y="4651023"/>
            <a:ext cx="6816945" cy="1016000"/>
          </a:xfrm>
          <a:prstGeom prst="rect">
            <a:avLst/>
          </a:prstGeom>
        </p:spPr>
        <p:txBody>
          <a:bodyPr lIns="0" tIns="0" rIns="0" bIns="0">
            <a:normAutofit/>
          </a:bodyPr>
          <a:lstStyle>
            <a:lvl1pPr marL="0" indent="0">
              <a:lnSpc>
                <a:spcPct val="100000"/>
              </a:lnSpc>
              <a:buNone/>
              <a:defRPr sz="2667">
                <a:solidFill>
                  <a:srgbClr val="FF6C00"/>
                </a:solidFill>
              </a:defRPr>
            </a:lvl1pPr>
            <a:lvl2pPr marL="457189" indent="0">
              <a:lnSpc>
                <a:spcPts val="4800"/>
              </a:lnSpc>
              <a:buNone/>
              <a:defRPr sz="4000">
                <a:solidFill>
                  <a:srgbClr val="FF6C00"/>
                </a:solidFill>
              </a:defRPr>
            </a:lvl2pPr>
            <a:lvl3pPr marL="914377" indent="0">
              <a:lnSpc>
                <a:spcPts val="4800"/>
              </a:lnSpc>
              <a:buNone/>
              <a:defRPr sz="4000">
                <a:solidFill>
                  <a:srgbClr val="FF6C00"/>
                </a:solidFill>
              </a:defRPr>
            </a:lvl3pPr>
            <a:lvl4pPr marL="1371566" indent="0">
              <a:lnSpc>
                <a:spcPts val="4800"/>
              </a:lnSpc>
              <a:buNone/>
              <a:defRPr sz="4000">
                <a:solidFill>
                  <a:srgbClr val="FF6C00"/>
                </a:solidFill>
              </a:defRPr>
            </a:lvl4pPr>
            <a:lvl5pPr marL="1828754" indent="0">
              <a:lnSpc>
                <a:spcPts val="4800"/>
              </a:lnSpc>
              <a:buNone/>
              <a:defRPr sz="4000">
                <a:solidFill>
                  <a:srgbClr val="FF6C00"/>
                </a:solidFill>
              </a:defRPr>
            </a:lvl5pPr>
          </a:lstStyle>
          <a:p>
            <a:pPr lvl="0"/>
            <a:r>
              <a:rPr lang="en-US" dirty="0"/>
              <a:t>Subtitle</a:t>
            </a:r>
          </a:p>
        </p:txBody>
      </p:sp>
      <p:sp>
        <p:nvSpPr>
          <p:cNvPr id="8" name="Text Placeholder 9">
            <a:extLst>
              <a:ext uri="{FF2B5EF4-FFF2-40B4-BE49-F238E27FC236}">
                <a16:creationId xmlns:a16="http://schemas.microsoft.com/office/drawing/2014/main" id="{0E6E70A5-8AF3-4A7A-B204-A2BBA103534A}"/>
              </a:ext>
            </a:extLst>
          </p:cNvPr>
          <p:cNvSpPr>
            <a:spLocks noGrp="1"/>
          </p:cNvSpPr>
          <p:nvPr>
            <p:ph type="body" sz="quarter" idx="13" hasCustomPrompt="1"/>
          </p:nvPr>
        </p:nvSpPr>
        <p:spPr>
          <a:xfrm>
            <a:off x="768351" y="493184"/>
            <a:ext cx="736600" cy="8128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33"/>
            </a:lvl1pPr>
          </a:lstStyle>
          <a:p>
            <a:pPr lvl="0"/>
            <a:r>
              <a:rPr lang="en-US" dirty="0"/>
              <a:t>.</a:t>
            </a:r>
          </a:p>
        </p:txBody>
      </p:sp>
    </p:spTree>
    <p:extLst>
      <p:ext uri="{BB962C8B-B14F-4D97-AF65-F5344CB8AC3E}">
        <p14:creationId xmlns:p14="http://schemas.microsoft.com/office/powerpoint/2010/main" val="927495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Main title slide with subtitle">
    <p:spTree>
      <p:nvGrpSpPr>
        <p:cNvPr id="1" name=""/>
        <p:cNvGrpSpPr/>
        <p:nvPr/>
      </p:nvGrpSpPr>
      <p:grpSpPr>
        <a:xfrm>
          <a:off x="0" y="0"/>
          <a:ext cx="0" cy="0"/>
          <a:chOff x="0" y="0"/>
          <a:chExt cx="0" cy="0"/>
        </a:xfrm>
      </p:grpSpPr>
      <p:sp>
        <p:nvSpPr>
          <p:cNvPr id="18" name="Text Placeholder 11"/>
          <p:cNvSpPr>
            <a:spLocks noGrp="1"/>
          </p:cNvSpPr>
          <p:nvPr>
            <p:ph type="body" sz="quarter" idx="14" hasCustomPrompt="1"/>
          </p:nvPr>
        </p:nvSpPr>
        <p:spPr>
          <a:xfrm>
            <a:off x="768352" y="5881637"/>
            <a:ext cx="6816945" cy="653335"/>
          </a:xfrm>
          <a:prstGeom prst="rect">
            <a:avLst/>
          </a:prstGeom>
        </p:spPr>
        <p:txBody>
          <a:bodyPr lIns="0" tIns="0" rIns="0" bIns="0">
            <a:normAutofit/>
          </a:bodyPr>
          <a:lstStyle>
            <a:lvl1pPr marL="0" indent="0" algn="l">
              <a:lnSpc>
                <a:spcPct val="100000"/>
              </a:lnSpc>
              <a:spcBef>
                <a:spcPts val="0"/>
              </a:spcBef>
              <a:spcAft>
                <a:spcPts val="0"/>
              </a:spcAft>
              <a:buFont typeface="Arial" charset="0"/>
              <a:buNone/>
              <a:defRPr sz="1733"/>
            </a:lvl1pPr>
            <a:lvl2pPr marL="0" indent="0">
              <a:buNone/>
              <a:defRPr sz="1333"/>
            </a:lvl2pPr>
            <a:lvl3pPr marL="0" indent="0">
              <a:buNone/>
              <a:defRPr sz="1333"/>
            </a:lvl3pPr>
            <a:lvl4pPr marL="0" indent="0">
              <a:buNone/>
              <a:defRPr sz="1333"/>
            </a:lvl4pPr>
            <a:lvl5pPr marL="0" indent="0">
              <a:buNone/>
              <a:defRPr sz="1333"/>
            </a:lvl5pPr>
          </a:lstStyle>
          <a:p>
            <a:pPr lvl="0"/>
            <a:r>
              <a:rPr lang="en-US" dirty="0"/>
              <a:t>Month, year</a:t>
            </a:r>
            <a:br>
              <a:rPr lang="en-US" dirty="0"/>
            </a:br>
            <a:r>
              <a:rPr lang="en-US" dirty="0"/>
              <a:t>Name presenter</a:t>
            </a:r>
          </a:p>
        </p:txBody>
      </p:sp>
      <p:sp>
        <p:nvSpPr>
          <p:cNvPr id="8" name="Title 1"/>
          <p:cNvSpPr>
            <a:spLocks noGrp="1"/>
          </p:cNvSpPr>
          <p:nvPr>
            <p:ph type="ctrTitle" hasCustomPrompt="1"/>
          </p:nvPr>
        </p:nvSpPr>
        <p:spPr>
          <a:xfrm>
            <a:off x="768352" y="2212623"/>
            <a:ext cx="6816945" cy="2325511"/>
          </a:xfrm>
          <a:prstGeom prst="rect">
            <a:avLst/>
          </a:prstGeom>
        </p:spPr>
        <p:txBody>
          <a:bodyPr lIns="0" tIns="0" rIns="0" bIns="0" anchor="t" anchorCtr="0">
            <a:normAutofit/>
          </a:bodyPr>
          <a:lstStyle>
            <a:lvl1pPr algn="l">
              <a:lnSpc>
                <a:spcPct val="100000"/>
              </a:lnSpc>
              <a:defRPr sz="5067">
                <a:solidFill>
                  <a:srgbClr val="53565A"/>
                </a:solidFill>
              </a:defRPr>
            </a:lvl1pPr>
          </a:lstStyle>
          <a:p>
            <a:r>
              <a:rPr lang="en-US" noProof="0" dirty="0"/>
              <a:t>Click to edit title max over 2x lines</a:t>
            </a:r>
          </a:p>
        </p:txBody>
      </p:sp>
      <p:sp>
        <p:nvSpPr>
          <p:cNvPr id="10" name="Text Placeholder 6"/>
          <p:cNvSpPr>
            <a:spLocks noGrp="1"/>
          </p:cNvSpPr>
          <p:nvPr>
            <p:ph type="body" sz="quarter" idx="16" hasCustomPrompt="1"/>
          </p:nvPr>
        </p:nvSpPr>
        <p:spPr>
          <a:xfrm>
            <a:off x="768352" y="4651023"/>
            <a:ext cx="6816945" cy="1016000"/>
          </a:xfrm>
          <a:prstGeom prst="rect">
            <a:avLst/>
          </a:prstGeom>
        </p:spPr>
        <p:txBody>
          <a:bodyPr lIns="0" tIns="0" rIns="0" bIns="0">
            <a:normAutofit/>
          </a:bodyPr>
          <a:lstStyle>
            <a:lvl1pPr marL="0" indent="0">
              <a:lnSpc>
                <a:spcPct val="100000"/>
              </a:lnSpc>
              <a:buNone/>
              <a:defRPr sz="2667">
                <a:solidFill>
                  <a:srgbClr val="FF6C00"/>
                </a:solidFill>
              </a:defRPr>
            </a:lvl1pPr>
            <a:lvl2pPr marL="457189" indent="0">
              <a:lnSpc>
                <a:spcPts val="4800"/>
              </a:lnSpc>
              <a:buNone/>
              <a:defRPr sz="4000">
                <a:solidFill>
                  <a:srgbClr val="FF6C00"/>
                </a:solidFill>
              </a:defRPr>
            </a:lvl2pPr>
            <a:lvl3pPr marL="914377" indent="0">
              <a:lnSpc>
                <a:spcPts val="4800"/>
              </a:lnSpc>
              <a:buNone/>
              <a:defRPr sz="4000">
                <a:solidFill>
                  <a:srgbClr val="FF6C00"/>
                </a:solidFill>
              </a:defRPr>
            </a:lvl3pPr>
            <a:lvl4pPr marL="1371566" indent="0">
              <a:lnSpc>
                <a:spcPts val="4800"/>
              </a:lnSpc>
              <a:buNone/>
              <a:defRPr sz="4000">
                <a:solidFill>
                  <a:srgbClr val="FF6C00"/>
                </a:solidFill>
              </a:defRPr>
            </a:lvl4pPr>
            <a:lvl5pPr marL="1828754" indent="0">
              <a:lnSpc>
                <a:spcPts val="4800"/>
              </a:lnSpc>
              <a:buNone/>
              <a:defRPr sz="4000">
                <a:solidFill>
                  <a:srgbClr val="FF6C00"/>
                </a:solidFill>
              </a:defRPr>
            </a:lvl5pPr>
          </a:lstStyle>
          <a:p>
            <a:pPr lvl="0"/>
            <a:r>
              <a:rPr lang="en-US" dirty="0"/>
              <a:t>Subtitle</a:t>
            </a:r>
          </a:p>
        </p:txBody>
      </p:sp>
      <p:pic>
        <p:nvPicPr>
          <p:cNvPr id="7" name="Picture 6">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045571" y="1711571"/>
            <a:ext cx="5146429" cy="5146429"/>
          </a:xfrm>
          <a:prstGeom prst="rect">
            <a:avLst/>
          </a:prstGeom>
        </p:spPr>
      </p:pic>
      <p:sp>
        <p:nvSpPr>
          <p:cNvPr id="11" name="Text Placeholder 9">
            <a:extLst>
              <a:ext uri="{FF2B5EF4-FFF2-40B4-BE49-F238E27FC236}">
                <a16:creationId xmlns:a16="http://schemas.microsoft.com/office/drawing/2014/main" id="{E8A0C770-19FC-43E2-AEE2-B18B053BEFFE}"/>
              </a:ext>
            </a:extLst>
          </p:cNvPr>
          <p:cNvSpPr>
            <a:spLocks noGrp="1"/>
          </p:cNvSpPr>
          <p:nvPr>
            <p:ph type="body" sz="quarter" idx="13" hasCustomPrompt="1"/>
          </p:nvPr>
        </p:nvSpPr>
        <p:spPr>
          <a:xfrm>
            <a:off x="768351" y="493184"/>
            <a:ext cx="736600" cy="812800"/>
          </a:xfrm>
          <a:prstGeom prst="rect">
            <a:avLst/>
          </a:prstGeom>
          <a:blipFill dpi="0"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p:spPr>
        <p:txBody>
          <a:bodyPr>
            <a:noAutofit/>
          </a:bodyPr>
          <a:lstStyle>
            <a:lvl1pPr marL="0" indent="0">
              <a:buNone/>
              <a:defRPr sz="133"/>
            </a:lvl1pPr>
          </a:lstStyle>
          <a:p>
            <a:pPr lvl="0"/>
            <a:r>
              <a:rPr lang="en-US" dirty="0"/>
              <a:t>.</a:t>
            </a:r>
          </a:p>
        </p:txBody>
      </p:sp>
    </p:spTree>
    <p:extLst>
      <p:ext uri="{BB962C8B-B14F-4D97-AF65-F5344CB8AC3E}">
        <p14:creationId xmlns:p14="http://schemas.microsoft.com/office/powerpoint/2010/main" val="87967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9FD2ED-735C-A2EC-C6D2-F0648B2819CF}"/>
              </a:ext>
            </a:extLst>
          </p:cNvPr>
          <p:cNvSpPr>
            <a:spLocks noGrp="1"/>
          </p:cNvSpPr>
          <p:nvPr>
            <p:ph type="title"/>
          </p:nvPr>
        </p:nvSpPr>
        <p:spPr/>
        <p:txBody>
          <a:bodyPr/>
          <a:lstStyle/>
          <a:p>
            <a:r>
              <a:rPr lang="en-US"/>
              <a:t>Click to edit Master title style</a:t>
            </a:r>
            <a:endParaRPr lang="en-NL"/>
          </a:p>
        </p:txBody>
      </p:sp>
      <p:sp>
        <p:nvSpPr>
          <p:cNvPr id="3" name="Content Placeholder 2">
            <a:extLst>
              <a:ext uri="{FF2B5EF4-FFF2-40B4-BE49-F238E27FC236}">
                <a16:creationId xmlns:a16="http://schemas.microsoft.com/office/drawing/2014/main" id="{30EA6098-7F73-13A4-5F6E-FD7D5EF20F0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
        <p:nvSpPr>
          <p:cNvPr id="4" name="Date Placeholder 3">
            <a:extLst>
              <a:ext uri="{FF2B5EF4-FFF2-40B4-BE49-F238E27FC236}">
                <a16:creationId xmlns:a16="http://schemas.microsoft.com/office/drawing/2014/main" id="{7F410C9B-CFA6-72AB-642B-886090616B40}"/>
              </a:ext>
            </a:extLst>
          </p:cNvPr>
          <p:cNvSpPr>
            <a:spLocks noGrp="1"/>
          </p:cNvSpPr>
          <p:nvPr>
            <p:ph type="dt" sz="half" idx="10"/>
          </p:nvPr>
        </p:nvSpPr>
        <p:spPr/>
        <p:txBody>
          <a:bodyPr/>
          <a:lstStyle/>
          <a:p>
            <a:fld id="{036B0891-7476-4D8C-837F-BB2F6F398C80}" type="datetimeFigureOut">
              <a:rPr lang="en-NL" smtClean="0"/>
              <a:t>10/23/2025</a:t>
            </a:fld>
            <a:endParaRPr lang="en-NL"/>
          </a:p>
        </p:txBody>
      </p:sp>
      <p:sp>
        <p:nvSpPr>
          <p:cNvPr id="5" name="Footer Placeholder 4">
            <a:extLst>
              <a:ext uri="{FF2B5EF4-FFF2-40B4-BE49-F238E27FC236}">
                <a16:creationId xmlns:a16="http://schemas.microsoft.com/office/drawing/2014/main" id="{B83761E5-5F61-2999-281C-903C2142EDD5}"/>
              </a:ext>
            </a:extLst>
          </p:cNvPr>
          <p:cNvSpPr>
            <a:spLocks noGrp="1"/>
          </p:cNvSpPr>
          <p:nvPr>
            <p:ph type="ftr" sz="quarter" idx="11"/>
          </p:nvPr>
        </p:nvSpPr>
        <p:spPr/>
        <p:txBody>
          <a:bodyPr/>
          <a:lstStyle/>
          <a:p>
            <a:endParaRPr lang="en-NL"/>
          </a:p>
        </p:txBody>
      </p:sp>
      <p:sp>
        <p:nvSpPr>
          <p:cNvPr id="6" name="Slide Number Placeholder 5">
            <a:extLst>
              <a:ext uri="{FF2B5EF4-FFF2-40B4-BE49-F238E27FC236}">
                <a16:creationId xmlns:a16="http://schemas.microsoft.com/office/drawing/2014/main" id="{ACF1920C-3EC9-BAEB-E1CA-3742EC95BA8D}"/>
              </a:ext>
            </a:extLst>
          </p:cNvPr>
          <p:cNvSpPr>
            <a:spLocks noGrp="1"/>
          </p:cNvSpPr>
          <p:nvPr>
            <p:ph type="sldNum" sz="quarter" idx="12"/>
          </p:nvPr>
        </p:nvSpPr>
        <p:spPr/>
        <p:txBody>
          <a:bodyPr/>
          <a:lstStyle/>
          <a:p>
            <a:fld id="{A4C5E35F-323C-4AC9-A193-D482FFFB2350}" type="slidenum">
              <a:rPr lang="en-NL" smtClean="0"/>
              <a:t>‹#›</a:t>
            </a:fld>
            <a:endParaRPr lang="en-NL"/>
          </a:p>
        </p:txBody>
      </p:sp>
    </p:spTree>
    <p:extLst>
      <p:ext uri="{BB962C8B-B14F-4D97-AF65-F5344CB8AC3E}">
        <p14:creationId xmlns:p14="http://schemas.microsoft.com/office/powerpoint/2010/main" val="158806424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cstate="print">
            <a:grayscl/>
            <a:extLst>
              <a:ext uri="{28A0092B-C50C-407E-A947-70E740481C1C}">
                <a14:useLocalDpi xmlns:a14="http://schemas.microsoft.com/office/drawing/2010/main" val="0"/>
              </a:ext>
            </a:extLst>
          </a:blip>
          <a:srcRect/>
          <a:stretch/>
        </p:blipFill>
        <p:spPr>
          <a:xfrm>
            <a:off x="-1" y="1"/>
            <a:ext cx="12185324" cy="1063548"/>
          </a:xfrm>
          <a:prstGeom prst="rect">
            <a:avLst/>
          </a:prstGeom>
        </p:spPr>
      </p:pic>
      <p:sp>
        <p:nvSpPr>
          <p:cNvPr id="7" name="Text Placeholder 6"/>
          <p:cNvSpPr>
            <a:spLocks noGrp="1"/>
          </p:cNvSpPr>
          <p:nvPr>
            <p:ph type="body" sz="quarter" idx="15" hasCustomPrompt="1"/>
          </p:nvPr>
        </p:nvSpPr>
        <p:spPr>
          <a:xfrm>
            <a:off x="768352" y="1418168"/>
            <a:ext cx="10655299" cy="2087032"/>
          </a:xfrm>
          <a:prstGeom prst="rect">
            <a:avLst/>
          </a:prstGeom>
        </p:spPr>
        <p:txBody>
          <a:bodyPr anchor="b">
            <a:noAutofit/>
          </a:bodyPr>
          <a:lstStyle>
            <a:lvl1pPr marL="0" indent="0" algn="ctr">
              <a:lnSpc>
                <a:spcPct val="100000"/>
              </a:lnSpc>
              <a:buNone/>
              <a:defRPr sz="5333">
                <a:solidFill>
                  <a:schemeClr val="tx1"/>
                </a:solidFill>
              </a:defRPr>
            </a:lvl1pPr>
            <a:lvl2pPr marL="457189" indent="0">
              <a:lnSpc>
                <a:spcPts val="4800"/>
              </a:lnSpc>
              <a:buNone/>
              <a:defRPr sz="4000">
                <a:solidFill>
                  <a:srgbClr val="FF6C00"/>
                </a:solidFill>
              </a:defRPr>
            </a:lvl2pPr>
            <a:lvl3pPr marL="914377" indent="0">
              <a:lnSpc>
                <a:spcPts val="4800"/>
              </a:lnSpc>
              <a:buNone/>
              <a:defRPr sz="4000">
                <a:solidFill>
                  <a:srgbClr val="FF6C00"/>
                </a:solidFill>
              </a:defRPr>
            </a:lvl3pPr>
            <a:lvl4pPr marL="1371566" indent="0">
              <a:lnSpc>
                <a:spcPts val="4800"/>
              </a:lnSpc>
              <a:buNone/>
              <a:defRPr sz="4000">
                <a:solidFill>
                  <a:srgbClr val="FF6C00"/>
                </a:solidFill>
              </a:defRPr>
            </a:lvl4pPr>
            <a:lvl5pPr marL="1828754" indent="0">
              <a:lnSpc>
                <a:spcPts val="4800"/>
              </a:lnSpc>
              <a:buNone/>
              <a:defRPr sz="4000">
                <a:solidFill>
                  <a:srgbClr val="FF6C00"/>
                </a:solidFill>
              </a:defRPr>
            </a:lvl5pPr>
          </a:lstStyle>
          <a:p>
            <a:pPr lvl="0"/>
            <a:r>
              <a:rPr lang="en-US" dirty="0"/>
              <a:t>Click to edit title</a:t>
            </a:r>
            <a:br>
              <a:rPr lang="en-US" dirty="0"/>
            </a:br>
            <a:r>
              <a:rPr lang="en-US" dirty="0"/>
              <a:t>max over 2 lines</a:t>
            </a:r>
          </a:p>
        </p:txBody>
      </p:sp>
      <p:sp>
        <p:nvSpPr>
          <p:cNvPr id="9" name="Title 1"/>
          <p:cNvSpPr>
            <a:spLocks noGrp="1"/>
          </p:cNvSpPr>
          <p:nvPr>
            <p:ph type="title" hasCustomPrompt="1"/>
          </p:nvPr>
        </p:nvSpPr>
        <p:spPr>
          <a:xfrm>
            <a:off x="768352" y="3522132"/>
            <a:ext cx="10655299" cy="880535"/>
          </a:xfrm>
        </p:spPr>
        <p:txBody>
          <a:bodyPr anchor="t">
            <a:noAutofit/>
          </a:bodyPr>
          <a:lstStyle>
            <a:lvl1pPr algn="ctr">
              <a:lnSpc>
                <a:spcPct val="100000"/>
              </a:lnSpc>
              <a:defRPr sz="2667">
                <a:solidFill>
                  <a:schemeClr val="accent2"/>
                </a:solidFill>
              </a:defRPr>
            </a:lvl1pPr>
          </a:lstStyle>
          <a:p>
            <a:r>
              <a:rPr lang="en-US" dirty="0"/>
              <a:t>Subtitle</a:t>
            </a:r>
          </a:p>
        </p:txBody>
      </p:sp>
      <p:sp>
        <p:nvSpPr>
          <p:cNvPr id="2" name="Date Placeholder 1">
            <a:extLst>
              <a:ext uri="{FF2B5EF4-FFF2-40B4-BE49-F238E27FC236}">
                <a16:creationId xmlns:a16="http://schemas.microsoft.com/office/drawing/2014/main" id="{BA6EA6FA-95FE-4F8F-85EC-1FAC96E3B7C1}"/>
              </a:ext>
            </a:extLst>
          </p:cNvPr>
          <p:cNvSpPr>
            <a:spLocks noGrp="1"/>
          </p:cNvSpPr>
          <p:nvPr>
            <p:ph type="dt" sz="half" idx="16"/>
          </p:nvPr>
        </p:nvSpPr>
        <p:spPr/>
        <p:txBody>
          <a:bodyPr/>
          <a:lstStyle/>
          <a:p>
            <a:endParaRPr lang="en-US" dirty="0"/>
          </a:p>
        </p:txBody>
      </p:sp>
      <p:sp>
        <p:nvSpPr>
          <p:cNvPr id="3" name="Footer Placeholder 2">
            <a:extLst>
              <a:ext uri="{FF2B5EF4-FFF2-40B4-BE49-F238E27FC236}">
                <a16:creationId xmlns:a16="http://schemas.microsoft.com/office/drawing/2014/main" id="{5A310452-B107-48F7-82C4-83CEEEAF2C79}"/>
              </a:ext>
            </a:extLst>
          </p:cNvPr>
          <p:cNvSpPr>
            <a:spLocks noGrp="1"/>
          </p:cNvSpPr>
          <p:nvPr>
            <p:ph type="ftr" sz="quarter" idx="17"/>
          </p:nvPr>
        </p:nvSpPr>
        <p:spPr/>
        <p:txBody>
          <a:bodyPr/>
          <a:lstStyle/>
          <a:p>
            <a:endParaRPr lang="en-US" dirty="0"/>
          </a:p>
        </p:txBody>
      </p:sp>
      <p:sp>
        <p:nvSpPr>
          <p:cNvPr id="4" name="Slide Number Placeholder 3">
            <a:extLst>
              <a:ext uri="{FF2B5EF4-FFF2-40B4-BE49-F238E27FC236}">
                <a16:creationId xmlns:a16="http://schemas.microsoft.com/office/drawing/2014/main" id="{02B5289F-FA18-43F2-8D12-2C70CDD7C8F0}"/>
              </a:ext>
            </a:extLst>
          </p:cNvPr>
          <p:cNvSpPr>
            <a:spLocks noGrp="1"/>
          </p:cNvSpPr>
          <p:nvPr>
            <p:ph type="sldNum" sz="quarter" idx="1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759016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8" name="Text Placeholder 1"/>
          <p:cNvSpPr>
            <a:spLocks noGrp="1"/>
          </p:cNvSpPr>
          <p:nvPr>
            <p:ph type="body" sz="quarter" idx="13"/>
          </p:nvPr>
        </p:nvSpPr>
        <p:spPr>
          <a:xfrm>
            <a:off x="768350" y="1113368"/>
            <a:ext cx="10655300" cy="5196417"/>
          </a:xfrm>
          <a:prstGeom prst="rect">
            <a:avLst/>
          </a:prstGeom>
        </p:spPr>
        <p:txBody>
          <a:bodyPr vert="horz" lIns="0" tIns="0" rIns="0" bIns="0" rtlCol="0">
            <a:normAutofit/>
          </a:bodyPr>
          <a:lstStyle>
            <a:lvl1pPr marL="383990" indent="-383990">
              <a:defRPr lang="en-GB" dirty="0"/>
            </a:lvl1pPr>
          </a:lstStyle>
          <a:p>
            <a:pPr marL="380990" lvl="0" indent="-380990">
              <a:lnSpc>
                <a:spcPct val="100000"/>
              </a:lnSpc>
            </a:pPr>
            <a:r>
              <a:rPr lang="en-US"/>
              <a:t>Click to edit Master text styles</a:t>
            </a:r>
          </a:p>
        </p:txBody>
      </p:sp>
      <p:sp>
        <p:nvSpPr>
          <p:cNvPr id="4" name="Titel 3">
            <a:extLst>
              <a:ext uri="{FF2B5EF4-FFF2-40B4-BE49-F238E27FC236}">
                <a16:creationId xmlns:a16="http://schemas.microsoft.com/office/drawing/2014/main" id="{70D682A7-E09E-481B-B790-3AF34F8C4EF7}"/>
              </a:ext>
            </a:extLst>
          </p:cNvPr>
          <p:cNvSpPr>
            <a:spLocks noGrp="1"/>
          </p:cNvSpPr>
          <p:nvPr>
            <p:ph type="title" hasCustomPrompt="1"/>
          </p:nvPr>
        </p:nvSpPr>
        <p:spPr/>
        <p:txBody>
          <a:bodyPr/>
          <a:lstStyle>
            <a:lvl1pPr>
              <a:defRPr/>
            </a:lvl1pPr>
          </a:lstStyle>
          <a:p>
            <a:r>
              <a:rPr lang="en-US" dirty="0"/>
              <a:t>Agenda</a:t>
            </a:r>
          </a:p>
        </p:txBody>
      </p:sp>
      <p:sp>
        <p:nvSpPr>
          <p:cNvPr id="2" name="Date Placeholder 1">
            <a:extLst>
              <a:ext uri="{FF2B5EF4-FFF2-40B4-BE49-F238E27FC236}">
                <a16:creationId xmlns:a16="http://schemas.microsoft.com/office/drawing/2014/main" id="{183A9B50-46B5-4E97-BF86-927797BF349C}"/>
              </a:ext>
            </a:extLst>
          </p:cNvPr>
          <p:cNvSpPr>
            <a:spLocks noGrp="1"/>
          </p:cNvSpPr>
          <p:nvPr>
            <p:ph type="dt" sz="half" idx="14"/>
          </p:nvPr>
        </p:nvSpPr>
        <p:spPr/>
        <p:txBody>
          <a:bodyPr/>
          <a:lstStyle/>
          <a:p>
            <a:endParaRPr lang="en-US" dirty="0"/>
          </a:p>
        </p:txBody>
      </p:sp>
      <p:sp>
        <p:nvSpPr>
          <p:cNvPr id="7" name="Footer Placeholder 6">
            <a:extLst>
              <a:ext uri="{FF2B5EF4-FFF2-40B4-BE49-F238E27FC236}">
                <a16:creationId xmlns:a16="http://schemas.microsoft.com/office/drawing/2014/main" id="{F1E6D825-B685-43C9-80D2-C60FD7D07855}"/>
              </a:ext>
            </a:extLst>
          </p:cNvPr>
          <p:cNvSpPr>
            <a:spLocks noGrp="1"/>
          </p:cNvSpPr>
          <p:nvPr>
            <p:ph type="ftr" sz="quarter" idx="15"/>
          </p:nvPr>
        </p:nvSpPr>
        <p:spPr/>
        <p:txBody>
          <a:bodyPr/>
          <a:lstStyle/>
          <a:p>
            <a:endParaRPr lang="en-US" dirty="0"/>
          </a:p>
        </p:txBody>
      </p:sp>
      <p:sp>
        <p:nvSpPr>
          <p:cNvPr id="8" name="Slide Number Placeholder 7">
            <a:extLst>
              <a:ext uri="{FF2B5EF4-FFF2-40B4-BE49-F238E27FC236}">
                <a16:creationId xmlns:a16="http://schemas.microsoft.com/office/drawing/2014/main" id="{BB9D7424-FFC1-4F16-B297-C0AF041229F5}"/>
              </a:ext>
            </a:extLst>
          </p:cNvPr>
          <p:cNvSpPr>
            <a:spLocks noGrp="1"/>
          </p:cNvSpPr>
          <p:nvPr>
            <p:ph type="sldNum" sz="quarter" idx="16"/>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62189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CC9CF60C-F237-4C35-B5B9-DCAC15891EE3}"/>
              </a:ext>
            </a:extLst>
          </p:cNvPr>
          <p:cNvSpPr>
            <a:spLocks noGrp="1"/>
          </p:cNvSpPr>
          <p:nvPr>
            <p:ph type="title"/>
          </p:nvPr>
        </p:nvSpPr>
        <p:spPr/>
        <p:txBody>
          <a:bodyPr/>
          <a:lstStyle>
            <a:lvl1pPr>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5249DBEF-F615-45A1-AA51-C34CD01BC994}"/>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0443A0FA-AB68-49F8-A8DA-E9F3A2F1B80A}"/>
              </a:ext>
            </a:extLst>
          </p:cNvPr>
          <p:cNvSpPr>
            <a:spLocks noGrp="1"/>
          </p:cNvSpPr>
          <p:nvPr>
            <p:ph type="ftr" sz="quarter" idx="11"/>
          </p:nvPr>
        </p:nvSpPr>
        <p:spPr/>
        <p:txBody>
          <a:bodyPr/>
          <a:lstStyle/>
          <a:p>
            <a:endParaRPr lang="en-US" dirty="0"/>
          </a:p>
        </p:txBody>
      </p:sp>
      <p:sp>
        <p:nvSpPr>
          <p:cNvPr id="8" name="Slide Number Placeholder 7">
            <a:extLst>
              <a:ext uri="{FF2B5EF4-FFF2-40B4-BE49-F238E27FC236}">
                <a16:creationId xmlns:a16="http://schemas.microsoft.com/office/drawing/2014/main" id="{E1F4F1C2-2D04-4080-9FD1-F04C6A8525E5}"/>
              </a:ext>
            </a:extLst>
          </p:cNvPr>
          <p:cNvSpPr>
            <a:spLocks noGrp="1"/>
          </p:cNvSpPr>
          <p:nvPr>
            <p:ph type="sldNum" sz="quarter" idx="12"/>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858582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11" name="Text Placeholder 8"/>
          <p:cNvSpPr>
            <a:spLocks noGrp="1"/>
          </p:cNvSpPr>
          <p:nvPr>
            <p:ph type="body" sz="quarter" idx="13" hasCustomPrompt="1"/>
          </p:nvPr>
        </p:nvSpPr>
        <p:spPr>
          <a:xfrm>
            <a:off x="768351" y="1113368"/>
            <a:ext cx="10655300" cy="5196416"/>
          </a:xfrm>
          <a:prstGeom prst="rect">
            <a:avLst/>
          </a:prstGeom>
        </p:spPr>
        <p:txBody>
          <a:bodyPr>
            <a:normAutofit/>
          </a:bodyPr>
          <a:lstStyle>
            <a:lvl1pPr marL="0" indent="0">
              <a:lnSpc>
                <a:spcPct val="100000"/>
              </a:lnSpc>
              <a:buFont typeface="Arial" charset="0"/>
              <a:buNone/>
              <a:defRPr sz="2400" b="0"/>
            </a:lvl1pPr>
            <a:lvl2pPr marL="480472" indent="-480472">
              <a:lnSpc>
                <a:spcPct val="100000"/>
              </a:lnSpc>
              <a:buFont typeface="+mj-lt"/>
              <a:buAutoNum type="arabicPeriod"/>
              <a:defRPr sz="2133" b="0"/>
            </a:lvl2pPr>
            <a:lvl3pPr marL="486821" indent="0">
              <a:lnSpc>
                <a:spcPct val="100000"/>
              </a:lnSpc>
              <a:buFont typeface="Arial" charset="0"/>
              <a:buNone/>
              <a:defRPr sz="2133" b="0"/>
            </a:lvl3pPr>
            <a:lvl4pPr marL="732348" indent="0">
              <a:lnSpc>
                <a:spcPct val="100000"/>
              </a:lnSpc>
              <a:buNone/>
              <a:tabLst/>
              <a:defRPr sz="2133" b="0"/>
            </a:lvl4pPr>
            <a:lvl5pPr marL="967293" indent="0">
              <a:lnSpc>
                <a:spcPct val="100000"/>
              </a:lnSpc>
              <a:buFont typeface="Arial" charset="0"/>
              <a:buNone/>
              <a:defRPr sz="2133" b="0" baseline="0"/>
            </a:lvl5pPr>
          </a:lstStyle>
          <a:p>
            <a:pPr lvl="0"/>
            <a:r>
              <a:rPr lang="en-US" dirty="0"/>
              <a:t>Click to add text</a:t>
            </a:r>
          </a:p>
        </p:txBody>
      </p:sp>
      <p:sp>
        <p:nvSpPr>
          <p:cNvPr id="4" name="Titel 3">
            <a:extLst>
              <a:ext uri="{FF2B5EF4-FFF2-40B4-BE49-F238E27FC236}">
                <a16:creationId xmlns:a16="http://schemas.microsoft.com/office/drawing/2014/main" id="{1C4B0388-7C7E-45C3-A6E3-3E637FAB215F}"/>
              </a:ext>
            </a:extLst>
          </p:cNvPr>
          <p:cNvSpPr>
            <a:spLocks noGrp="1"/>
          </p:cNvSpPr>
          <p:nvPr>
            <p:ph type="title"/>
          </p:nvPr>
        </p:nvSpPr>
        <p:spPr/>
        <p:txBody>
          <a:bodyPr/>
          <a:lstStyle>
            <a:lvl1pPr>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CDC33F9F-6CBB-499E-A399-F579A1C082A4}"/>
              </a:ext>
            </a:extLst>
          </p:cNvPr>
          <p:cNvSpPr>
            <a:spLocks noGrp="1"/>
          </p:cNvSpPr>
          <p:nvPr>
            <p:ph type="dt" sz="half" idx="14"/>
          </p:nvPr>
        </p:nvSpPr>
        <p:spPr/>
        <p:txBody>
          <a:bodyPr/>
          <a:lstStyle/>
          <a:p>
            <a:endParaRPr lang="en-US" dirty="0"/>
          </a:p>
        </p:txBody>
      </p:sp>
      <p:sp>
        <p:nvSpPr>
          <p:cNvPr id="5" name="Footer Placeholder 4">
            <a:extLst>
              <a:ext uri="{FF2B5EF4-FFF2-40B4-BE49-F238E27FC236}">
                <a16:creationId xmlns:a16="http://schemas.microsoft.com/office/drawing/2014/main" id="{475B278D-E37B-46DC-954C-589B0EF3EA41}"/>
              </a:ext>
            </a:extLst>
          </p:cNvPr>
          <p:cNvSpPr>
            <a:spLocks noGrp="1"/>
          </p:cNvSpPr>
          <p:nvPr>
            <p:ph type="ftr" sz="quarter" idx="15"/>
          </p:nvPr>
        </p:nvSpPr>
        <p:spPr/>
        <p:txBody>
          <a:bodyPr/>
          <a:lstStyle/>
          <a:p>
            <a:endParaRPr lang="en-US" dirty="0"/>
          </a:p>
        </p:txBody>
      </p:sp>
      <p:sp>
        <p:nvSpPr>
          <p:cNvPr id="6" name="Slide Number Placeholder 5">
            <a:extLst>
              <a:ext uri="{FF2B5EF4-FFF2-40B4-BE49-F238E27FC236}">
                <a16:creationId xmlns:a16="http://schemas.microsoft.com/office/drawing/2014/main" id="{14826578-F514-4D23-8B3F-F3016B7CA922}"/>
              </a:ext>
            </a:extLst>
          </p:cNvPr>
          <p:cNvSpPr>
            <a:spLocks noGrp="1"/>
          </p:cNvSpPr>
          <p:nvPr>
            <p:ph type="sldNum" sz="quarter" idx="16"/>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082902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bullets">
    <p:spTree>
      <p:nvGrpSpPr>
        <p:cNvPr id="1" name=""/>
        <p:cNvGrpSpPr/>
        <p:nvPr/>
      </p:nvGrpSpPr>
      <p:grpSpPr>
        <a:xfrm>
          <a:off x="0" y="0"/>
          <a:ext cx="0" cy="0"/>
          <a:chOff x="0" y="0"/>
          <a:chExt cx="0" cy="0"/>
        </a:xfrm>
      </p:grpSpPr>
      <p:sp>
        <p:nvSpPr>
          <p:cNvPr id="14" name="Content Placeholder 2"/>
          <p:cNvSpPr>
            <a:spLocks noGrp="1"/>
          </p:cNvSpPr>
          <p:nvPr>
            <p:ph sz="quarter" idx="16" hasCustomPrompt="1"/>
          </p:nvPr>
        </p:nvSpPr>
        <p:spPr>
          <a:xfrm>
            <a:off x="768351" y="1113368"/>
            <a:ext cx="10655300" cy="5196417"/>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el 2">
            <a:extLst>
              <a:ext uri="{FF2B5EF4-FFF2-40B4-BE49-F238E27FC236}">
                <a16:creationId xmlns:a16="http://schemas.microsoft.com/office/drawing/2014/main" id="{90FE40DE-7E7D-4146-AB2D-5551E7E7415C}"/>
              </a:ext>
            </a:extLst>
          </p:cNvPr>
          <p:cNvSpPr>
            <a:spLocks noGrp="1"/>
          </p:cNvSpPr>
          <p:nvPr>
            <p:ph type="title"/>
          </p:nvPr>
        </p:nvSpPr>
        <p:spPr/>
        <p:txBody>
          <a:bodyPr/>
          <a:lstStyle>
            <a:lvl1pPr>
              <a:defRPr/>
            </a:lvl1pPr>
          </a:lstStyle>
          <a:p>
            <a:r>
              <a:rPr lang="en-US"/>
              <a:t>Click to edit Master title style</a:t>
            </a:r>
            <a:endParaRPr lang="en-US" dirty="0"/>
          </a:p>
        </p:txBody>
      </p:sp>
      <p:sp>
        <p:nvSpPr>
          <p:cNvPr id="4" name="Date Placeholder 3">
            <a:extLst>
              <a:ext uri="{FF2B5EF4-FFF2-40B4-BE49-F238E27FC236}">
                <a16:creationId xmlns:a16="http://schemas.microsoft.com/office/drawing/2014/main" id="{0EB1770B-7A94-4844-AD38-CF8FB3080003}"/>
              </a:ext>
            </a:extLst>
          </p:cNvPr>
          <p:cNvSpPr>
            <a:spLocks noGrp="1"/>
          </p:cNvSpPr>
          <p:nvPr>
            <p:ph type="dt" sz="half" idx="17"/>
          </p:nvPr>
        </p:nvSpPr>
        <p:spPr/>
        <p:txBody>
          <a:bodyPr/>
          <a:lstStyle/>
          <a:p>
            <a:endParaRPr lang="en-US" dirty="0"/>
          </a:p>
        </p:txBody>
      </p:sp>
      <p:sp>
        <p:nvSpPr>
          <p:cNvPr id="5" name="Footer Placeholder 4">
            <a:extLst>
              <a:ext uri="{FF2B5EF4-FFF2-40B4-BE49-F238E27FC236}">
                <a16:creationId xmlns:a16="http://schemas.microsoft.com/office/drawing/2014/main" id="{48F74F79-D68A-45F4-B9C7-F1CCDF9519A6}"/>
              </a:ext>
            </a:extLst>
          </p:cNvPr>
          <p:cNvSpPr>
            <a:spLocks noGrp="1"/>
          </p:cNvSpPr>
          <p:nvPr>
            <p:ph type="ftr" sz="quarter" idx="18"/>
          </p:nvPr>
        </p:nvSpPr>
        <p:spPr/>
        <p:txBody>
          <a:bodyPr/>
          <a:lstStyle/>
          <a:p>
            <a:endParaRPr lang="en-US" dirty="0"/>
          </a:p>
        </p:txBody>
      </p:sp>
      <p:sp>
        <p:nvSpPr>
          <p:cNvPr id="6" name="Slide Number Placeholder 5">
            <a:extLst>
              <a:ext uri="{FF2B5EF4-FFF2-40B4-BE49-F238E27FC236}">
                <a16:creationId xmlns:a16="http://schemas.microsoft.com/office/drawing/2014/main" id="{B6356A03-20E1-4E11-AF69-2080BD58C145}"/>
              </a:ext>
            </a:extLst>
          </p:cNvPr>
          <p:cNvSpPr>
            <a:spLocks noGrp="1"/>
          </p:cNvSpPr>
          <p:nvPr>
            <p:ph type="sldNum" sz="quarter" idx="19"/>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758916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text two columns">
    <p:spTree>
      <p:nvGrpSpPr>
        <p:cNvPr id="1" name=""/>
        <p:cNvGrpSpPr/>
        <p:nvPr/>
      </p:nvGrpSpPr>
      <p:grpSpPr>
        <a:xfrm>
          <a:off x="0" y="0"/>
          <a:ext cx="0" cy="0"/>
          <a:chOff x="0" y="0"/>
          <a:chExt cx="0" cy="0"/>
        </a:xfrm>
      </p:grpSpPr>
      <p:sp>
        <p:nvSpPr>
          <p:cNvPr id="20" name="Text Placeholder 8"/>
          <p:cNvSpPr>
            <a:spLocks noGrp="1"/>
          </p:cNvSpPr>
          <p:nvPr>
            <p:ph type="body" sz="quarter" idx="23" hasCustomPrompt="1"/>
          </p:nvPr>
        </p:nvSpPr>
        <p:spPr>
          <a:xfrm>
            <a:off x="6479118" y="1113368"/>
            <a:ext cx="4944533" cy="5198400"/>
          </a:xfrm>
          <a:prstGeom prst="rect">
            <a:avLst/>
          </a:prstGeom>
        </p:spPr>
        <p:txBody>
          <a:bodyPr>
            <a:normAutofit/>
          </a:bodyPr>
          <a:lstStyle>
            <a:lvl1pPr marL="0" indent="0">
              <a:lnSpc>
                <a:spcPct val="100000"/>
              </a:lnSpc>
              <a:buFont typeface="Arial" charset="0"/>
              <a:buNone/>
              <a:defRPr sz="2133" b="0" baseline="0"/>
            </a:lvl1pPr>
            <a:lvl2pPr marL="480472" indent="-480472">
              <a:lnSpc>
                <a:spcPct val="100000"/>
              </a:lnSpc>
              <a:buFont typeface="+mj-lt"/>
              <a:buAutoNum type="arabicPeriod"/>
              <a:defRPr sz="2133" b="0"/>
            </a:lvl2pPr>
            <a:lvl3pPr marL="486821" indent="0">
              <a:lnSpc>
                <a:spcPct val="100000"/>
              </a:lnSpc>
              <a:buFont typeface="Arial" charset="0"/>
              <a:buNone/>
              <a:defRPr sz="2133" b="0"/>
            </a:lvl3pPr>
            <a:lvl4pPr marL="732348" indent="0">
              <a:lnSpc>
                <a:spcPct val="100000"/>
              </a:lnSpc>
              <a:buNone/>
              <a:tabLst/>
              <a:defRPr sz="2133" b="0"/>
            </a:lvl4pPr>
            <a:lvl5pPr marL="967293" indent="0">
              <a:lnSpc>
                <a:spcPct val="100000"/>
              </a:lnSpc>
              <a:buFont typeface="Arial" charset="0"/>
              <a:buNone/>
              <a:defRPr sz="2133" b="0" baseline="0"/>
            </a:lvl5pPr>
          </a:lstStyle>
          <a:p>
            <a:pPr lvl="0"/>
            <a:r>
              <a:rPr lang="en-US" dirty="0"/>
              <a:t>Click to add text</a:t>
            </a:r>
          </a:p>
        </p:txBody>
      </p:sp>
      <p:sp>
        <p:nvSpPr>
          <p:cNvPr id="23" name="Text Placeholder 8"/>
          <p:cNvSpPr>
            <a:spLocks noGrp="1"/>
          </p:cNvSpPr>
          <p:nvPr>
            <p:ph type="body" sz="quarter" idx="24" hasCustomPrompt="1"/>
          </p:nvPr>
        </p:nvSpPr>
        <p:spPr>
          <a:xfrm>
            <a:off x="768352" y="1113367"/>
            <a:ext cx="4944533" cy="5198400"/>
          </a:xfrm>
          <a:prstGeom prst="rect">
            <a:avLst/>
          </a:prstGeom>
        </p:spPr>
        <p:txBody>
          <a:bodyPr>
            <a:normAutofit/>
          </a:bodyPr>
          <a:lstStyle>
            <a:lvl1pPr marL="0" indent="0">
              <a:lnSpc>
                <a:spcPct val="100000"/>
              </a:lnSpc>
              <a:buFont typeface="Arial" charset="0"/>
              <a:buNone/>
              <a:defRPr sz="2133" b="0"/>
            </a:lvl1pPr>
            <a:lvl2pPr marL="480472" indent="-480472">
              <a:lnSpc>
                <a:spcPct val="100000"/>
              </a:lnSpc>
              <a:buFont typeface="+mj-lt"/>
              <a:buAutoNum type="arabicPeriod"/>
              <a:defRPr sz="2133" b="0"/>
            </a:lvl2pPr>
            <a:lvl3pPr marL="486821" indent="0">
              <a:lnSpc>
                <a:spcPct val="100000"/>
              </a:lnSpc>
              <a:buFont typeface="Arial" charset="0"/>
              <a:buNone/>
              <a:defRPr sz="2133" b="0"/>
            </a:lvl3pPr>
            <a:lvl4pPr marL="732348" indent="0">
              <a:lnSpc>
                <a:spcPct val="100000"/>
              </a:lnSpc>
              <a:buNone/>
              <a:tabLst/>
              <a:defRPr sz="2133" b="0"/>
            </a:lvl4pPr>
            <a:lvl5pPr marL="967293" indent="0">
              <a:lnSpc>
                <a:spcPct val="100000"/>
              </a:lnSpc>
              <a:buFont typeface="Arial" charset="0"/>
              <a:buNone/>
              <a:defRPr sz="2133" b="0" baseline="0"/>
            </a:lvl5pPr>
          </a:lstStyle>
          <a:p>
            <a:pPr lvl="0"/>
            <a:r>
              <a:rPr lang="en-US" dirty="0"/>
              <a:t>Click to add text</a:t>
            </a:r>
          </a:p>
        </p:txBody>
      </p:sp>
      <p:sp>
        <p:nvSpPr>
          <p:cNvPr id="4" name="Titel 3">
            <a:extLst>
              <a:ext uri="{FF2B5EF4-FFF2-40B4-BE49-F238E27FC236}">
                <a16:creationId xmlns:a16="http://schemas.microsoft.com/office/drawing/2014/main" id="{A1EA73AF-7637-4A6C-A4B0-311EBFC6D961}"/>
              </a:ext>
            </a:extLst>
          </p:cNvPr>
          <p:cNvSpPr>
            <a:spLocks noGrp="1"/>
          </p:cNvSpPr>
          <p:nvPr>
            <p:ph type="title"/>
          </p:nvPr>
        </p:nvSpPr>
        <p:spPr/>
        <p:txBody>
          <a:bodyPr/>
          <a:lstStyle>
            <a:lvl1pPr>
              <a:defRPr/>
            </a:lvl1pPr>
          </a:lstStyle>
          <a:p>
            <a:r>
              <a:rPr lang="en-US"/>
              <a:t>Click to edit Master title style</a:t>
            </a:r>
            <a:endParaRPr lang="en-US" dirty="0"/>
          </a:p>
        </p:txBody>
      </p:sp>
      <p:sp>
        <p:nvSpPr>
          <p:cNvPr id="5" name="Date Placeholder 4">
            <a:extLst>
              <a:ext uri="{FF2B5EF4-FFF2-40B4-BE49-F238E27FC236}">
                <a16:creationId xmlns:a16="http://schemas.microsoft.com/office/drawing/2014/main" id="{1C14264F-6D72-4F24-8CD7-BE495E8BB687}"/>
              </a:ext>
            </a:extLst>
          </p:cNvPr>
          <p:cNvSpPr>
            <a:spLocks noGrp="1"/>
          </p:cNvSpPr>
          <p:nvPr>
            <p:ph type="dt" sz="half" idx="25"/>
          </p:nvPr>
        </p:nvSpPr>
        <p:spPr/>
        <p:txBody>
          <a:bodyPr/>
          <a:lstStyle/>
          <a:p>
            <a:endParaRPr lang="en-US" dirty="0"/>
          </a:p>
        </p:txBody>
      </p:sp>
      <p:sp>
        <p:nvSpPr>
          <p:cNvPr id="7" name="Footer Placeholder 6">
            <a:extLst>
              <a:ext uri="{FF2B5EF4-FFF2-40B4-BE49-F238E27FC236}">
                <a16:creationId xmlns:a16="http://schemas.microsoft.com/office/drawing/2014/main" id="{E3CD3D90-6931-458C-A0AF-D2BBC25C8663}"/>
              </a:ext>
            </a:extLst>
          </p:cNvPr>
          <p:cNvSpPr>
            <a:spLocks noGrp="1"/>
          </p:cNvSpPr>
          <p:nvPr>
            <p:ph type="ftr" sz="quarter" idx="26"/>
          </p:nvPr>
        </p:nvSpPr>
        <p:spPr/>
        <p:txBody>
          <a:bodyPr/>
          <a:lstStyle/>
          <a:p>
            <a:endParaRPr lang="en-US" dirty="0"/>
          </a:p>
        </p:txBody>
      </p:sp>
      <p:sp>
        <p:nvSpPr>
          <p:cNvPr id="8" name="Slide Number Placeholder 7">
            <a:extLst>
              <a:ext uri="{FF2B5EF4-FFF2-40B4-BE49-F238E27FC236}">
                <a16:creationId xmlns:a16="http://schemas.microsoft.com/office/drawing/2014/main" id="{DE8558DF-C777-4C31-85A8-21E662F0A5EB}"/>
              </a:ext>
            </a:extLst>
          </p:cNvPr>
          <p:cNvSpPr>
            <a:spLocks noGrp="1"/>
          </p:cNvSpPr>
          <p:nvPr>
            <p:ph type="sldNum" sz="quarter" idx="2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515194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bullets two column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768351" y="1113368"/>
            <a:ext cx="4944533" cy="5196417"/>
          </a:xfrm>
          <a:prstGeom prst="rect">
            <a:avLst/>
          </a:prstGeom>
        </p:spPr>
        <p:txBody>
          <a:bodyPr/>
          <a:lstStyle>
            <a:lvl1pPr marL="380990" indent="-380990">
              <a:lnSpc>
                <a:spcPct val="100000"/>
              </a:lnSpc>
              <a:buFont typeface="Arial" panose="020B0604020202020204" pitchFamily="34" charset="0"/>
              <a:buChar char="•"/>
              <a:defRPr sz="2133" b="0" baseline="0"/>
            </a:lvl1pPr>
            <a:lvl2pPr marL="380990" indent="-380990">
              <a:lnSpc>
                <a:spcPct val="100000"/>
              </a:lnSpc>
              <a:buFont typeface="Arial" panose="020B0604020202020204" pitchFamily="34" charset="0"/>
              <a:buChar char="•"/>
              <a:defRPr sz="1733" b="0"/>
            </a:lvl2pPr>
            <a:lvl3pPr marL="596885" indent="-232828">
              <a:lnSpc>
                <a:spcPct val="100000"/>
              </a:lnSpc>
              <a:buFont typeface="Arial" panose="020B0604020202020204" pitchFamily="34" charset="0"/>
              <a:buChar char="−"/>
              <a:defRPr sz="1867" b="0"/>
            </a:lvl3pPr>
            <a:lvl4pPr marL="831830" indent="-234945">
              <a:lnSpc>
                <a:spcPct val="100000"/>
              </a:lnSpc>
              <a:tabLst/>
              <a:defRPr sz="1867" b="0"/>
            </a:lvl4pPr>
            <a:lvl5pPr marL="1079473" indent="-247644">
              <a:lnSpc>
                <a:spcPct val="100000"/>
              </a:lnSpc>
              <a:defRPr sz="1867" b="0"/>
            </a:lvl5pPr>
            <a:lvl6pPr marL="2285943" indent="0">
              <a:buNone/>
              <a:defRPr/>
            </a:lvl6pPr>
          </a:lstStyle>
          <a:p>
            <a:pPr lvl="0"/>
            <a:r>
              <a:rPr lang="en-US" dirty="0"/>
              <a:t>Click to add text</a:t>
            </a:r>
          </a:p>
          <a:p>
            <a:pPr lvl="2"/>
            <a:r>
              <a:rPr lang="en-US" dirty="0"/>
              <a:t>Second level</a:t>
            </a:r>
          </a:p>
          <a:p>
            <a:pPr lvl="3"/>
            <a:r>
              <a:rPr lang="en-US" dirty="0"/>
              <a:t>Third level</a:t>
            </a:r>
          </a:p>
          <a:p>
            <a:pPr lvl="4"/>
            <a:r>
              <a:rPr lang="en-US" dirty="0"/>
              <a:t>Fourth level</a:t>
            </a:r>
          </a:p>
          <a:p>
            <a:pPr lvl="0"/>
            <a:endParaRPr lang="en-US" dirty="0"/>
          </a:p>
        </p:txBody>
      </p:sp>
      <p:sp>
        <p:nvSpPr>
          <p:cNvPr id="9" name="Text Placeholder 8"/>
          <p:cNvSpPr>
            <a:spLocks noGrp="1"/>
          </p:cNvSpPr>
          <p:nvPr>
            <p:ph type="body" sz="quarter" idx="17" hasCustomPrompt="1"/>
          </p:nvPr>
        </p:nvSpPr>
        <p:spPr>
          <a:xfrm>
            <a:off x="6479118" y="1113368"/>
            <a:ext cx="4944533" cy="5196417"/>
          </a:xfrm>
          <a:prstGeom prst="rect">
            <a:avLst/>
          </a:prstGeom>
        </p:spPr>
        <p:txBody>
          <a:bodyPr/>
          <a:lstStyle>
            <a:lvl1pPr marL="380990" indent="-380990">
              <a:lnSpc>
                <a:spcPct val="100000"/>
              </a:lnSpc>
              <a:buFont typeface="Arial" panose="020B0604020202020204" pitchFamily="34" charset="0"/>
              <a:buChar char="•"/>
              <a:defRPr sz="2133" b="0"/>
            </a:lvl1pPr>
            <a:lvl2pPr marL="383108" indent="-383108">
              <a:lnSpc>
                <a:spcPct val="100000"/>
              </a:lnSpc>
              <a:buFont typeface="Arial" panose="020B0604020202020204" pitchFamily="34" charset="0"/>
              <a:buChar char="•"/>
              <a:defRPr sz="1733" b="0"/>
            </a:lvl2pPr>
            <a:lvl3pPr marL="596885" indent="-232828">
              <a:lnSpc>
                <a:spcPct val="100000"/>
              </a:lnSpc>
              <a:buFont typeface="Arial" panose="020B0604020202020204" pitchFamily="34" charset="0"/>
              <a:buChar char="−"/>
              <a:defRPr sz="1867" b="0"/>
            </a:lvl3pPr>
            <a:lvl4pPr marL="831830" indent="-234945">
              <a:lnSpc>
                <a:spcPct val="100000"/>
              </a:lnSpc>
              <a:tabLst/>
              <a:defRPr sz="1867" b="0"/>
            </a:lvl4pPr>
            <a:lvl5pPr marL="1079473" indent="-247644">
              <a:lnSpc>
                <a:spcPct val="100000"/>
              </a:lnSpc>
              <a:defRPr sz="1867" b="0"/>
            </a:lvl5pPr>
          </a:lstStyle>
          <a:p>
            <a:pPr lvl="0"/>
            <a:r>
              <a:rPr lang="en-US" dirty="0"/>
              <a:t>Click to add text</a:t>
            </a:r>
          </a:p>
          <a:p>
            <a:pPr lvl="2"/>
            <a:r>
              <a:rPr lang="en-US" dirty="0"/>
              <a:t>Second level</a:t>
            </a:r>
          </a:p>
          <a:p>
            <a:pPr lvl="3"/>
            <a:r>
              <a:rPr lang="en-US" dirty="0"/>
              <a:t>Third level</a:t>
            </a:r>
          </a:p>
          <a:p>
            <a:pPr lvl="4"/>
            <a:r>
              <a:rPr lang="en-US" dirty="0"/>
              <a:t>Fourth level</a:t>
            </a:r>
          </a:p>
        </p:txBody>
      </p:sp>
      <p:sp>
        <p:nvSpPr>
          <p:cNvPr id="4" name="Titel 3">
            <a:extLst>
              <a:ext uri="{FF2B5EF4-FFF2-40B4-BE49-F238E27FC236}">
                <a16:creationId xmlns:a16="http://schemas.microsoft.com/office/drawing/2014/main" id="{3872E2A8-E205-4778-8440-C86A31617406}"/>
              </a:ext>
            </a:extLst>
          </p:cNvPr>
          <p:cNvSpPr>
            <a:spLocks noGrp="1"/>
          </p:cNvSpPr>
          <p:nvPr>
            <p:ph type="title"/>
          </p:nvPr>
        </p:nvSpPr>
        <p:spPr/>
        <p:txBody>
          <a:bodyPr/>
          <a:lstStyle/>
          <a:p>
            <a:r>
              <a:rPr lang="en-US"/>
              <a:t>Click to edit Master title style</a:t>
            </a:r>
            <a:endParaRPr lang="en-US" dirty="0"/>
          </a:p>
        </p:txBody>
      </p:sp>
      <p:sp>
        <p:nvSpPr>
          <p:cNvPr id="5" name="Date Placeholder 4">
            <a:extLst>
              <a:ext uri="{FF2B5EF4-FFF2-40B4-BE49-F238E27FC236}">
                <a16:creationId xmlns:a16="http://schemas.microsoft.com/office/drawing/2014/main" id="{ADE4B11B-E592-4BB9-AE34-F70CB195E727}"/>
              </a:ext>
            </a:extLst>
          </p:cNvPr>
          <p:cNvSpPr>
            <a:spLocks noGrp="1"/>
          </p:cNvSpPr>
          <p:nvPr>
            <p:ph type="dt" sz="half" idx="18"/>
          </p:nvPr>
        </p:nvSpPr>
        <p:spPr/>
        <p:txBody>
          <a:bodyPr/>
          <a:lstStyle/>
          <a:p>
            <a:endParaRPr lang="en-US" dirty="0"/>
          </a:p>
        </p:txBody>
      </p:sp>
      <p:sp>
        <p:nvSpPr>
          <p:cNvPr id="7" name="Footer Placeholder 6">
            <a:extLst>
              <a:ext uri="{FF2B5EF4-FFF2-40B4-BE49-F238E27FC236}">
                <a16:creationId xmlns:a16="http://schemas.microsoft.com/office/drawing/2014/main" id="{6F1A4215-8A59-48E0-8F12-9F23CA60220A}"/>
              </a:ext>
            </a:extLst>
          </p:cNvPr>
          <p:cNvSpPr>
            <a:spLocks noGrp="1"/>
          </p:cNvSpPr>
          <p:nvPr>
            <p:ph type="ftr" sz="quarter" idx="19"/>
          </p:nvPr>
        </p:nvSpPr>
        <p:spPr/>
        <p:txBody>
          <a:bodyPr/>
          <a:lstStyle/>
          <a:p>
            <a:endParaRPr lang="en-US" dirty="0"/>
          </a:p>
        </p:txBody>
      </p:sp>
      <p:sp>
        <p:nvSpPr>
          <p:cNvPr id="10" name="Slide Number Placeholder 9">
            <a:extLst>
              <a:ext uri="{FF2B5EF4-FFF2-40B4-BE49-F238E27FC236}">
                <a16:creationId xmlns:a16="http://schemas.microsoft.com/office/drawing/2014/main" id="{CF294D08-94E6-49A2-9DF7-3985093964AC}"/>
              </a:ext>
            </a:extLst>
          </p:cNvPr>
          <p:cNvSpPr>
            <a:spLocks noGrp="1"/>
          </p:cNvSpPr>
          <p:nvPr>
            <p:ph type="sldNum" sz="quarter" idx="20"/>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3190767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text and image (right)">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6096000" y="0"/>
            <a:ext cx="6096000" cy="6858000"/>
          </a:xfrm>
          <a:prstGeom prst="rect">
            <a:avLst/>
          </a:prstGeom>
          <a:solidFill>
            <a:schemeClr val="accent6"/>
          </a:solidFill>
        </p:spPr>
        <p:txBody>
          <a:bodyPr tIns="2916000"/>
          <a:lstStyle>
            <a:lvl1pPr marL="0" indent="0" algn="ctr">
              <a:lnSpc>
                <a:spcPct val="100000"/>
              </a:lnSpc>
              <a:buFontTx/>
              <a:buNone/>
              <a:defRPr/>
            </a:lvl1pPr>
          </a:lstStyle>
          <a:p>
            <a:r>
              <a:rPr lang="en-US" noProof="0" dirty="0"/>
              <a:t>Drag picture to placeholder </a:t>
            </a:r>
            <a:br>
              <a:rPr lang="en-US" noProof="0" dirty="0"/>
            </a:br>
            <a:r>
              <a:rPr lang="en-US" noProof="0" dirty="0"/>
              <a:t>or click icon to add</a:t>
            </a:r>
          </a:p>
        </p:txBody>
      </p:sp>
      <p:sp>
        <p:nvSpPr>
          <p:cNvPr id="11" name="Text Placeholder 8"/>
          <p:cNvSpPr>
            <a:spLocks noGrp="1"/>
          </p:cNvSpPr>
          <p:nvPr>
            <p:ph type="body" sz="quarter" idx="24" hasCustomPrompt="1"/>
          </p:nvPr>
        </p:nvSpPr>
        <p:spPr>
          <a:xfrm>
            <a:off x="768352" y="1113368"/>
            <a:ext cx="4944533" cy="5196417"/>
          </a:xfrm>
          <a:prstGeom prst="rect">
            <a:avLst/>
          </a:prstGeom>
        </p:spPr>
        <p:txBody>
          <a:bodyPr>
            <a:normAutofit/>
          </a:bodyPr>
          <a:lstStyle>
            <a:lvl1pPr marL="0" indent="0">
              <a:lnSpc>
                <a:spcPct val="100000"/>
              </a:lnSpc>
              <a:buFont typeface="Arial" charset="0"/>
              <a:buNone/>
              <a:defRPr sz="2133" b="0"/>
            </a:lvl1pPr>
            <a:lvl2pPr marL="480472" indent="-480472">
              <a:lnSpc>
                <a:spcPct val="100000"/>
              </a:lnSpc>
              <a:buFont typeface="+mj-lt"/>
              <a:buAutoNum type="arabicPeriod"/>
              <a:defRPr sz="2133" b="0"/>
            </a:lvl2pPr>
            <a:lvl3pPr marL="486821" indent="0">
              <a:lnSpc>
                <a:spcPct val="100000"/>
              </a:lnSpc>
              <a:buFont typeface="Arial" charset="0"/>
              <a:buNone/>
              <a:defRPr sz="2133" b="0"/>
            </a:lvl3pPr>
            <a:lvl4pPr marL="732348" indent="0">
              <a:lnSpc>
                <a:spcPct val="100000"/>
              </a:lnSpc>
              <a:buNone/>
              <a:tabLst/>
              <a:defRPr sz="2133" b="0"/>
            </a:lvl4pPr>
            <a:lvl5pPr marL="967293" indent="0">
              <a:lnSpc>
                <a:spcPct val="100000"/>
              </a:lnSpc>
              <a:buFont typeface="Arial" charset="0"/>
              <a:buNone/>
              <a:defRPr sz="2133" b="0" baseline="0"/>
            </a:lvl5pPr>
          </a:lstStyle>
          <a:p>
            <a:pPr lvl="0"/>
            <a:r>
              <a:rPr lang="en-US" dirty="0"/>
              <a:t>Click to add text</a:t>
            </a:r>
          </a:p>
        </p:txBody>
      </p:sp>
      <p:sp>
        <p:nvSpPr>
          <p:cNvPr id="3" name="Title 2">
            <a:extLst>
              <a:ext uri="{FF2B5EF4-FFF2-40B4-BE49-F238E27FC236}">
                <a16:creationId xmlns:a16="http://schemas.microsoft.com/office/drawing/2014/main" id="{3B1301CE-B3DE-49E1-B3B2-EA2475A78BC7}"/>
              </a:ext>
            </a:extLst>
          </p:cNvPr>
          <p:cNvSpPr>
            <a:spLocks noGrp="1"/>
          </p:cNvSpPr>
          <p:nvPr>
            <p:ph type="title"/>
          </p:nvPr>
        </p:nvSpPr>
        <p:spPr>
          <a:xfrm>
            <a:off x="768351" y="260351"/>
            <a:ext cx="4944533" cy="673100"/>
          </a:xfrm>
        </p:spPr>
        <p:txBody>
          <a:bodyPr/>
          <a:lstStyle>
            <a:lvl1pPr>
              <a:defRPr/>
            </a:lvl1pPr>
          </a:lstStyle>
          <a:p>
            <a:r>
              <a:rPr lang="en-US"/>
              <a:t>Click to edit Master title style</a:t>
            </a:r>
            <a:endParaRPr lang="en-US" dirty="0"/>
          </a:p>
        </p:txBody>
      </p:sp>
      <p:sp>
        <p:nvSpPr>
          <p:cNvPr id="6" name="Date Placeholder 5">
            <a:extLst>
              <a:ext uri="{FF2B5EF4-FFF2-40B4-BE49-F238E27FC236}">
                <a16:creationId xmlns:a16="http://schemas.microsoft.com/office/drawing/2014/main" id="{D3F7EFBD-DB9C-45C5-9F2E-C46AEC5F67DA}"/>
              </a:ext>
            </a:extLst>
          </p:cNvPr>
          <p:cNvSpPr>
            <a:spLocks noGrp="1"/>
          </p:cNvSpPr>
          <p:nvPr>
            <p:ph type="dt" sz="half" idx="25"/>
          </p:nvPr>
        </p:nvSpPr>
        <p:spPr/>
        <p:txBody>
          <a:bodyPr/>
          <a:lstStyle/>
          <a:p>
            <a:endParaRPr lang="en-US" dirty="0"/>
          </a:p>
        </p:txBody>
      </p:sp>
      <p:sp>
        <p:nvSpPr>
          <p:cNvPr id="7" name="Footer Placeholder 6">
            <a:extLst>
              <a:ext uri="{FF2B5EF4-FFF2-40B4-BE49-F238E27FC236}">
                <a16:creationId xmlns:a16="http://schemas.microsoft.com/office/drawing/2014/main" id="{753377E4-E0A6-4CAB-B97D-2004235209BF}"/>
              </a:ext>
            </a:extLst>
          </p:cNvPr>
          <p:cNvSpPr>
            <a:spLocks noGrp="1"/>
          </p:cNvSpPr>
          <p:nvPr>
            <p:ph type="ftr" sz="quarter" idx="26"/>
          </p:nvPr>
        </p:nvSpPr>
        <p:spPr/>
        <p:txBody>
          <a:bodyPr/>
          <a:lstStyle/>
          <a:p>
            <a:endParaRPr lang="en-US" dirty="0"/>
          </a:p>
        </p:txBody>
      </p:sp>
      <p:sp>
        <p:nvSpPr>
          <p:cNvPr id="8" name="Slide Number Placeholder 7">
            <a:extLst>
              <a:ext uri="{FF2B5EF4-FFF2-40B4-BE49-F238E27FC236}">
                <a16:creationId xmlns:a16="http://schemas.microsoft.com/office/drawing/2014/main" id="{BE4FCB58-7D88-4A1A-B1DD-02B1B052F520}"/>
              </a:ext>
            </a:extLst>
          </p:cNvPr>
          <p:cNvSpPr>
            <a:spLocks noGrp="1"/>
          </p:cNvSpPr>
          <p:nvPr>
            <p:ph type="sldNum" sz="quarter" idx="2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551789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text and image (left)">
    <p:spTree>
      <p:nvGrpSpPr>
        <p:cNvPr id="1" name=""/>
        <p:cNvGrpSpPr/>
        <p:nvPr/>
      </p:nvGrpSpPr>
      <p:grpSpPr>
        <a:xfrm>
          <a:off x="0" y="0"/>
          <a:ext cx="0" cy="0"/>
          <a:chOff x="0" y="0"/>
          <a:chExt cx="0" cy="0"/>
        </a:xfrm>
      </p:grpSpPr>
      <p:sp>
        <p:nvSpPr>
          <p:cNvPr id="12" name="Picture Placeholder 9"/>
          <p:cNvSpPr>
            <a:spLocks noGrp="1"/>
          </p:cNvSpPr>
          <p:nvPr>
            <p:ph type="pic" sz="quarter" idx="24" hasCustomPrompt="1"/>
          </p:nvPr>
        </p:nvSpPr>
        <p:spPr>
          <a:xfrm>
            <a:off x="0" y="0"/>
            <a:ext cx="6096000" cy="6858000"/>
          </a:xfrm>
          <a:prstGeom prst="rect">
            <a:avLst/>
          </a:prstGeom>
          <a:solidFill>
            <a:schemeClr val="accent6"/>
          </a:solidFill>
        </p:spPr>
        <p:txBody>
          <a:bodyPr tIns="2916000"/>
          <a:lstStyle>
            <a:lvl1pPr marL="0" indent="0" algn="ctr">
              <a:lnSpc>
                <a:spcPct val="100000"/>
              </a:lnSpc>
              <a:buFontTx/>
              <a:buNone/>
              <a:defRPr/>
            </a:lvl1pPr>
          </a:lstStyle>
          <a:p>
            <a:r>
              <a:rPr lang="en-US" noProof="0" dirty="0"/>
              <a:t>Drag picture to placeholder</a:t>
            </a:r>
            <a:br>
              <a:rPr lang="en-US" noProof="0" dirty="0"/>
            </a:br>
            <a:r>
              <a:rPr lang="en-US" noProof="0" dirty="0"/>
              <a:t>or click icon to add</a:t>
            </a:r>
          </a:p>
        </p:txBody>
      </p:sp>
      <p:sp>
        <p:nvSpPr>
          <p:cNvPr id="18" name="Text Placeholder 8"/>
          <p:cNvSpPr>
            <a:spLocks noGrp="1"/>
          </p:cNvSpPr>
          <p:nvPr>
            <p:ph type="body" sz="quarter" idx="25" hasCustomPrompt="1"/>
          </p:nvPr>
        </p:nvSpPr>
        <p:spPr>
          <a:xfrm>
            <a:off x="6479118" y="1113368"/>
            <a:ext cx="4909063" cy="5196417"/>
          </a:xfrm>
          <a:prstGeom prst="rect">
            <a:avLst/>
          </a:prstGeom>
        </p:spPr>
        <p:txBody>
          <a:bodyPr>
            <a:normAutofit/>
          </a:bodyPr>
          <a:lstStyle>
            <a:lvl1pPr marL="0" indent="0">
              <a:lnSpc>
                <a:spcPct val="100000"/>
              </a:lnSpc>
              <a:buFont typeface="Arial" charset="0"/>
              <a:buNone/>
              <a:defRPr sz="2133" b="0"/>
            </a:lvl1pPr>
            <a:lvl2pPr marL="480472" indent="-480472">
              <a:lnSpc>
                <a:spcPct val="100000"/>
              </a:lnSpc>
              <a:buFont typeface="+mj-lt"/>
              <a:buAutoNum type="arabicPeriod"/>
              <a:defRPr sz="2133" b="0"/>
            </a:lvl2pPr>
            <a:lvl3pPr marL="486821" indent="0">
              <a:lnSpc>
                <a:spcPct val="100000"/>
              </a:lnSpc>
              <a:buFont typeface="Arial" charset="0"/>
              <a:buNone/>
              <a:defRPr sz="2133" b="0"/>
            </a:lvl3pPr>
            <a:lvl4pPr marL="732348" indent="0">
              <a:lnSpc>
                <a:spcPct val="100000"/>
              </a:lnSpc>
              <a:buNone/>
              <a:tabLst/>
              <a:defRPr sz="2133" b="0"/>
            </a:lvl4pPr>
            <a:lvl5pPr marL="967293" indent="0">
              <a:lnSpc>
                <a:spcPct val="100000"/>
              </a:lnSpc>
              <a:buFont typeface="Arial" charset="0"/>
              <a:buNone/>
              <a:defRPr sz="2133" b="0" baseline="0"/>
            </a:lvl5pPr>
          </a:lstStyle>
          <a:p>
            <a:pPr lvl="0"/>
            <a:r>
              <a:rPr lang="en-US" dirty="0"/>
              <a:t>Click to add text</a:t>
            </a:r>
          </a:p>
        </p:txBody>
      </p:sp>
      <p:sp>
        <p:nvSpPr>
          <p:cNvPr id="4" name="Title 3">
            <a:extLst>
              <a:ext uri="{FF2B5EF4-FFF2-40B4-BE49-F238E27FC236}">
                <a16:creationId xmlns:a16="http://schemas.microsoft.com/office/drawing/2014/main" id="{1AEE6764-BCD9-4C0F-8D7F-6DAB3E0116B1}"/>
              </a:ext>
            </a:extLst>
          </p:cNvPr>
          <p:cNvSpPr>
            <a:spLocks noGrp="1"/>
          </p:cNvSpPr>
          <p:nvPr>
            <p:ph type="title"/>
          </p:nvPr>
        </p:nvSpPr>
        <p:spPr>
          <a:xfrm>
            <a:off x="6479118" y="260351"/>
            <a:ext cx="4909063" cy="673100"/>
          </a:xfrm>
        </p:spPr>
        <p:txBody>
          <a:bodyPr/>
          <a:lstStyle>
            <a:lvl1pPr>
              <a:defRPr/>
            </a:lvl1pPr>
          </a:lstStyle>
          <a:p>
            <a:r>
              <a:rPr lang="en-US"/>
              <a:t>Click to edit Master title style</a:t>
            </a:r>
            <a:endParaRPr lang="en-US" dirty="0"/>
          </a:p>
        </p:txBody>
      </p:sp>
      <p:sp>
        <p:nvSpPr>
          <p:cNvPr id="9" name="Date Placeholder 8">
            <a:extLst>
              <a:ext uri="{FF2B5EF4-FFF2-40B4-BE49-F238E27FC236}">
                <a16:creationId xmlns:a16="http://schemas.microsoft.com/office/drawing/2014/main" id="{10B3F087-DB20-4A94-AB80-B37ECB4779CB}"/>
              </a:ext>
            </a:extLst>
          </p:cNvPr>
          <p:cNvSpPr>
            <a:spLocks noGrp="1"/>
          </p:cNvSpPr>
          <p:nvPr>
            <p:ph type="dt" sz="half" idx="26"/>
          </p:nvPr>
        </p:nvSpPr>
        <p:spPr/>
        <p:txBody>
          <a:bodyPr/>
          <a:lstStyle/>
          <a:p>
            <a:endParaRPr lang="en-US" dirty="0"/>
          </a:p>
        </p:txBody>
      </p:sp>
      <p:sp>
        <p:nvSpPr>
          <p:cNvPr id="10" name="Footer Placeholder 9">
            <a:extLst>
              <a:ext uri="{FF2B5EF4-FFF2-40B4-BE49-F238E27FC236}">
                <a16:creationId xmlns:a16="http://schemas.microsoft.com/office/drawing/2014/main" id="{9C6D60D1-99A0-4A98-BC8E-3EF57AA94001}"/>
              </a:ext>
            </a:extLst>
          </p:cNvPr>
          <p:cNvSpPr>
            <a:spLocks noGrp="1"/>
          </p:cNvSpPr>
          <p:nvPr>
            <p:ph type="ftr" sz="quarter" idx="27"/>
          </p:nvPr>
        </p:nvSpPr>
        <p:spPr/>
        <p:txBody>
          <a:bodyPr/>
          <a:lstStyle/>
          <a:p>
            <a:endParaRPr lang="en-US" dirty="0"/>
          </a:p>
        </p:txBody>
      </p:sp>
      <p:sp>
        <p:nvSpPr>
          <p:cNvPr id="11" name="Slide Number Placeholder 10">
            <a:extLst>
              <a:ext uri="{FF2B5EF4-FFF2-40B4-BE49-F238E27FC236}">
                <a16:creationId xmlns:a16="http://schemas.microsoft.com/office/drawing/2014/main" id="{676BAC64-3B0D-463F-8B20-473CDA4BD824}"/>
              </a:ext>
            </a:extLst>
          </p:cNvPr>
          <p:cNvSpPr>
            <a:spLocks noGrp="1"/>
          </p:cNvSpPr>
          <p:nvPr>
            <p:ph type="sldNum" sz="quarter" idx="2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043481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text and image (right large)">
    <p:spTree>
      <p:nvGrpSpPr>
        <p:cNvPr id="1" name=""/>
        <p:cNvGrpSpPr/>
        <p:nvPr/>
      </p:nvGrpSpPr>
      <p:grpSpPr>
        <a:xfrm>
          <a:off x="0" y="0"/>
          <a:ext cx="0" cy="0"/>
          <a:chOff x="0" y="0"/>
          <a:chExt cx="0" cy="0"/>
        </a:xfrm>
      </p:grpSpPr>
      <p:sp>
        <p:nvSpPr>
          <p:cNvPr id="15" name="Picture Placeholder 9"/>
          <p:cNvSpPr>
            <a:spLocks noGrp="1"/>
          </p:cNvSpPr>
          <p:nvPr>
            <p:ph type="pic" sz="quarter" idx="14" hasCustomPrompt="1"/>
          </p:nvPr>
        </p:nvSpPr>
        <p:spPr>
          <a:xfrm>
            <a:off x="4673780" y="1113368"/>
            <a:ext cx="6749869" cy="5196417"/>
          </a:xfrm>
          <a:prstGeom prst="rect">
            <a:avLst/>
          </a:prstGeom>
          <a:solidFill>
            <a:schemeClr val="accent6"/>
          </a:solidFill>
        </p:spPr>
        <p:txBody>
          <a:bodyPr tIns="2196000"/>
          <a:lstStyle>
            <a:lvl1pPr marL="0" indent="0" algn="ctr">
              <a:lnSpc>
                <a:spcPct val="100000"/>
              </a:lnSpc>
              <a:buFontTx/>
              <a:buNone/>
              <a:defRPr/>
            </a:lvl1pPr>
          </a:lstStyle>
          <a:p>
            <a:r>
              <a:rPr lang="en-US" noProof="0" dirty="0"/>
              <a:t>Drag picture to placeholder or click icon to add</a:t>
            </a:r>
          </a:p>
        </p:txBody>
      </p:sp>
      <p:sp>
        <p:nvSpPr>
          <p:cNvPr id="8" name="Text Placeholder 8"/>
          <p:cNvSpPr>
            <a:spLocks noGrp="1"/>
          </p:cNvSpPr>
          <p:nvPr>
            <p:ph type="body" sz="quarter" idx="24" hasCustomPrompt="1"/>
          </p:nvPr>
        </p:nvSpPr>
        <p:spPr>
          <a:xfrm>
            <a:off x="768352" y="1113368"/>
            <a:ext cx="3521427" cy="5196417"/>
          </a:xfrm>
          <a:prstGeom prst="rect">
            <a:avLst/>
          </a:prstGeom>
        </p:spPr>
        <p:txBody>
          <a:bodyPr>
            <a:normAutofit/>
          </a:bodyPr>
          <a:lstStyle>
            <a:lvl1pPr marL="0" indent="0">
              <a:lnSpc>
                <a:spcPct val="100000"/>
              </a:lnSpc>
              <a:buFont typeface="Arial" charset="0"/>
              <a:buNone/>
              <a:defRPr sz="2133" b="0"/>
            </a:lvl1pPr>
            <a:lvl2pPr marL="480472" indent="-480472">
              <a:lnSpc>
                <a:spcPct val="100000"/>
              </a:lnSpc>
              <a:buFont typeface="+mj-lt"/>
              <a:buAutoNum type="arabicPeriod"/>
              <a:defRPr sz="2133" b="0"/>
            </a:lvl2pPr>
            <a:lvl3pPr marL="486821" indent="0">
              <a:lnSpc>
                <a:spcPct val="100000"/>
              </a:lnSpc>
              <a:buFont typeface="Arial" charset="0"/>
              <a:buNone/>
              <a:defRPr sz="2133" b="0"/>
            </a:lvl3pPr>
            <a:lvl4pPr marL="732348" indent="0">
              <a:lnSpc>
                <a:spcPct val="100000"/>
              </a:lnSpc>
              <a:buNone/>
              <a:tabLst/>
              <a:defRPr sz="2133" b="0"/>
            </a:lvl4pPr>
            <a:lvl5pPr marL="967293" indent="0">
              <a:lnSpc>
                <a:spcPct val="100000"/>
              </a:lnSpc>
              <a:buFont typeface="Arial" charset="0"/>
              <a:buNone/>
              <a:defRPr sz="2133" b="0" baseline="0"/>
            </a:lvl5pPr>
          </a:lstStyle>
          <a:p>
            <a:pPr lvl="0"/>
            <a:r>
              <a:rPr lang="en-US" dirty="0"/>
              <a:t>Click to add text</a:t>
            </a:r>
          </a:p>
        </p:txBody>
      </p:sp>
      <p:sp>
        <p:nvSpPr>
          <p:cNvPr id="2" name="Titel 1">
            <a:extLst>
              <a:ext uri="{FF2B5EF4-FFF2-40B4-BE49-F238E27FC236}">
                <a16:creationId xmlns:a16="http://schemas.microsoft.com/office/drawing/2014/main" id="{D82C27FB-C163-4802-BBE9-1194F6A07DDA}"/>
              </a:ext>
            </a:extLst>
          </p:cNvPr>
          <p:cNvSpPr>
            <a:spLocks noGrp="1"/>
          </p:cNvSpPr>
          <p:nvPr>
            <p:ph type="title"/>
          </p:nvPr>
        </p:nvSpPr>
        <p:spPr/>
        <p:txBody>
          <a:bodyPr/>
          <a:lstStyle>
            <a:lvl1pPr>
              <a:defRPr/>
            </a:lvl1pPr>
          </a:lstStyle>
          <a:p>
            <a:r>
              <a:rPr lang="en-US"/>
              <a:t>Click to edit Master title style</a:t>
            </a:r>
            <a:endParaRPr lang="en-US" dirty="0"/>
          </a:p>
        </p:txBody>
      </p:sp>
      <p:sp>
        <p:nvSpPr>
          <p:cNvPr id="6" name="Date Placeholder 5">
            <a:extLst>
              <a:ext uri="{FF2B5EF4-FFF2-40B4-BE49-F238E27FC236}">
                <a16:creationId xmlns:a16="http://schemas.microsoft.com/office/drawing/2014/main" id="{15946856-8546-4DA9-9A8E-E5AE5A89C49C}"/>
              </a:ext>
            </a:extLst>
          </p:cNvPr>
          <p:cNvSpPr>
            <a:spLocks noGrp="1"/>
          </p:cNvSpPr>
          <p:nvPr>
            <p:ph type="dt" sz="half" idx="25"/>
          </p:nvPr>
        </p:nvSpPr>
        <p:spPr/>
        <p:txBody>
          <a:bodyPr/>
          <a:lstStyle/>
          <a:p>
            <a:endParaRPr lang="en-US" dirty="0"/>
          </a:p>
        </p:txBody>
      </p:sp>
      <p:sp>
        <p:nvSpPr>
          <p:cNvPr id="7" name="Footer Placeholder 6">
            <a:extLst>
              <a:ext uri="{FF2B5EF4-FFF2-40B4-BE49-F238E27FC236}">
                <a16:creationId xmlns:a16="http://schemas.microsoft.com/office/drawing/2014/main" id="{175E8465-767D-44BA-B892-E9FA43E13D51}"/>
              </a:ext>
            </a:extLst>
          </p:cNvPr>
          <p:cNvSpPr>
            <a:spLocks noGrp="1"/>
          </p:cNvSpPr>
          <p:nvPr>
            <p:ph type="ftr" sz="quarter" idx="26"/>
          </p:nvPr>
        </p:nvSpPr>
        <p:spPr/>
        <p:txBody>
          <a:bodyPr/>
          <a:lstStyle/>
          <a:p>
            <a:endParaRPr lang="en-US" dirty="0"/>
          </a:p>
        </p:txBody>
      </p:sp>
      <p:sp>
        <p:nvSpPr>
          <p:cNvPr id="9" name="Slide Number Placeholder 8">
            <a:extLst>
              <a:ext uri="{FF2B5EF4-FFF2-40B4-BE49-F238E27FC236}">
                <a16:creationId xmlns:a16="http://schemas.microsoft.com/office/drawing/2014/main" id="{6786D917-89B9-4999-9898-0406930D63BE}"/>
              </a:ext>
            </a:extLst>
          </p:cNvPr>
          <p:cNvSpPr>
            <a:spLocks noGrp="1"/>
          </p:cNvSpPr>
          <p:nvPr>
            <p:ph type="sldNum" sz="quarter" idx="2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382044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2E9D58-40AC-8B93-CB16-85E8A60E7DD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NL"/>
          </a:p>
        </p:txBody>
      </p:sp>
      <p:sp>
        <p:nvSpPr>
          <p:cNvPr id="3" name="Text Placeholder 2">
            <a:extLst>
              <a:ext uri="{FF2B5EF4-FFF2-40B4-BE49-F238E27FC236}">
                <a16:creationId xmlns:a16="http://schemas.microsoft.com/office/drawing/2014/main" id="{44405CA4-E124-D391-5940-F596D32C84B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457CE16-5BC1-B98F-F65C-A9DB6A5C0D96}"/>
              </a:ext>
            </a:extLst>
          </p:cNvPr>
          <p:cNvSpPr>
            <a:spLocks noGrp="1"/>
          </p:cNvSpPr>
          <p:nvPr>
            <p:ph type="dt" sz="half" idx="10"/>
          </p:nvPr>
        </p:nvSpPr>
        <p:spPr/>
        <p:txBody>
          <a:bodyPr/>
          <a:lstStyle/>
          <a:p>
            <a:fld id="{036B0891-7476-4D8C-837F-BB2F6F398C80}" type="datetimeFigureOut">
              <a:rPr lang="en-NL" smtClean="0"/>
              <a:t>10/23/2025</a:t>
            </a:fld>
            <a:endParaRPr lang="en-NL"/>
          </a:p>
        </p:txBody>
      </p:sp>
      <p:sp>
        <p:nvSpPr>
          <p:cNvPr id="5" name="Footer Placeholder 4">
            <a:extLst>
              <a:ext uri="{FF2B5EF4-FFF2-40B4-BE49-F238E27FC236}">
                <a16:creationId xmlns:a16="http://schemas.microsoft.com/office/drawing/2014/main" id="{37D88E15-191B-9CDD-49D4-19D718566AAA}"/>
              </a:ext>
            </a:extLst>
          </p:cNvPr>
          <p:cNvSpPr>
            <a:spLocks noGrp="1"/>
          </p:cNvSpPr>
          <p:nvPr>
            <p:ph type="ftr" sz="quarter" idx="11"/>
          </p:nvPr>
        </p:nvSpPr>
        <p:spPr/>
        <p:txBody>
          <a:bodyPr/>
          <a:lstStyle/>
          <a:p>
            <a:endParaRPr lang="en-NL"/>
          </a:p>
        </p:txBody>
      </p:sp>
      <p:sp>
        <p:nvSpPr>
          <p:cNvPr id="6" name="Slide Number Placeholder 5">
            <a:extLst>
              <a:ext uri="{FF2B5EF4-FFF2-40B4-BE49-F238E27FC236}">
                <a16:creationId xmlns:a16="http://schemas.microsoft.com/office/drawing/2014/main" id="{C2B52DE0-075F-32ED-D105-4F4D305FF97B}"/>
              </a:ext>
            </a:extLst>
          </p:cNvPr>
          <p:cNvSpPr>
            <a:spLocks noGrp="1"/>
          </p:cNvSpPr>
          <p:nvPr>
            <p:ph type="sldNum" sz="quarter" idx="12"/>
          </p:nvPr>
        </p:nvSpPr>
        <p:spPr/>
        <p:txBody>
          <a:bodyPr/>
          <a:lstStyle/>
          <a:p>
            <a:fld id="{A4C5E35F-323C-4AC9-A193-D482FFFB2350}" type="slidenum">
              <a:rPr lang="en-NL" smtClean="0"/>
              <a:t>‹#›</a:t>
            </a:fld>
            <a:endParaRPr lang="en-NL"/>
          </a:p>
        </p:txBody>
      </p:sp>
    </p:spTree>
    <p:extLst>
      <p:ext uri="{BB962C8B-B14F-4D97-AF65-F5344CB8AC3E}">
        <p14:creationId xmlns:p14="http://schemas.microsoft.com/office/powerpoint/2010/main" val="246196128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text and image (right large) - 2">
    <p:spTree>
      <p:nvGrpSpPr>
        <p:cNvPr id="1" name=""/>
        <p:cNvGrpSpPr/>
        <p:nvPr/>
      </p:nvGrpSpPr>
      <p:grpSpPr>
        <a:xfrm>
          <a:off x="0" y="0"/>
          <a:ext cx="0" cy="0"/>
          <a:chOff x="0" y="0"/>
          <a:chExt cx="0" cy="0"/>
        </a:xfrm>
      </p:grpSpPr>
      <p:sp>
        <p:nvSpPr>
          <p:cNvPr id="15" name="Picture Placeholder 9"/>
          <p:cNvSpPr>
            <a:spLocks noGrp="1"/>
          </p:cNvSpPr>
          <p:nvPr>
            <p:ph type="pic" sz="quarter" idx="14" hasCustomPrompt="1"/>
          </p:nvPr>
        </p:nvSpPr>
        <p:spPr>
          <a:xfrm>
            <a:off x="4673780" y="1113368"/>
            <a:ext cx="6749869" cy="5196417"/>
          </a:xfrm>
          <a:prstGeom prst="roundRect">
            <a:avLst>
              <a:gd name="adj" fmla="val 2994"/>
            </a:avLst>
          </a:prstGeom>
          <a:solidFill>
            <a:schemeClr val="accent6"/>
          </a:solidFill>
          <a:effectLst>
            <a:outerShdw blurRad="139700" dist="12700" dir="2700000" sx="101000" sy="101000" algn="t" rotWithShape="0">
              <a:srgbClr val="353535">
                <a:alpha val="41000"/>
              </a:srgbClr>
            </a:outerShdw>
          </a:effectLst>
          <a:extLst>
            <a:ext uri="{53640926-AAD7-44D8-BBD7-CCE9431645EC}">
              <a14:shadowObscured xmlns:a14="http://schemas.microsoft.com/office/drawing/2010/main"/>
            </a:ext>
          </a:extLst>
        </p:spPr>
        <p:txBody>
          <a:bodyPr lIns="0" tIns="2196000" rIns="0" bIns="0"/>
          <a:lstStyle>
            <a:lvl1pPr marL="0" indent="0" algn="ctr">
              <a:lnSpc>
                <a:spcPct val="100000"/>
              </a:lnSpc>
              <a:buFontTx/>
              <a:buNone/>
              <a:defRPr/>
            </a:lvl1pPr>
          </a:lstStyle>
          <a:p>
            <a:r>
              <a:rPr lang="en-US" noProof="0" dirty="0"/>
              <a:t>Drag picture to placeholder or click icon to add</a:t>
            </a:r>
          </a:p>
        </p:txBody>
      </p:sp>
      <p:sp>
        <p:nvSpPr>
          <p:cNvPr id="8" name="Text Placeholder 8"/>
          <p:cNvSpPr>
            <a:spLocks noGrp="1"/>
          </p:cNvSpPr>
          <p:nvPr>
            <p:ph type="body" sz="quarter" idx="24" hasCustomPrompt="1"/>
          </p:nvPr>
        </p:nvSpPr>
        <p:spPr>
          <a:xfrm>
            <a:off x="768352" y="1113368"/>
            <a:ext cx="3521427" cy="5196417"/>
          </a:xfrm>
          <a:prstGeom prst="rect">
            <a:avLst/>
          </a:prstGeom>
        </p:spPr>
        <p:txBody>
          <a:bodyPr>
            <a:normAutofit/>
          </a:bodyPr>
          <a:lstStyle>
            <a:lvl1pPr marL="0" indent="0">
              <a:lnSpc>
                <a:spcPct val="100000"/>
              </a:lnSpc>
              <a:buFont typeface="Arial" charset="0"/>
              <a:buNone/>
              <a:defRPr sz="2133" b="0"/>
            </a:lvl1pPr>
            <a:lvl2pPr marL="480472" indent="-480472">
              <a:lnSpc>
                <a:spcPct val="100000"/>
              </a:lnSpc>
              <a:buFont typeface="+mj-lt"/>
              <a:buAutoNum type="arabicPeriod"/>
              <a:defRPr sz="2133" b="0"/>
            </a:lvl2pPr>
            <a:lvl3pPr marL="486821" indent="0">
              <a:lnSpc>
                <a:spcPct val="100000"/>
              </a:lnSpc>
              <a:buFont typeface="Arial" charset="0"/>
              <a:buNone/>
              <a:defRPr sz="2133" b="0"/>
            </a:lvl3pPr>
            <a:lvl4pPr marL="732348" indent="0">
              <a:lnSpc>
                <a:spcPct val="100000"/>
              </a:lnSpc>
              <a:buNone/>
              <a:tabLst/>
              <a:defRPr sz="2133" b="0"/>
            </a:lvl4pPr>
            <a:lvl5pPr marL="967293" indent="0">
              <a:lnSpc>
                <a:spcPct val="100000"/>
              </a:lnSpc>
              <a:buFont typeface="Arial" charset="0"/>
              <a:buNone/>
              <a:defRPr sz="2133" b="0" baseline="0"/>
            </a:lvl5pPr>
          </a:lstStyle>
          <a:p>
            <a:pPr lvl="0"/>
            <a:r>
              <a:rPr lang="en-US" dirty="0"/>
              <a:t>Click to add text</a:t>
            </a:r>
          </a:p>
        </p:txBody>
      </p:sp>
      <p:sp>
        <p:nvSpPr>
          <p:cNvPr id="3" name="Date Placeholder 2">
            <a:extLst>
              <a:ext uri="{FF2B5EF4-FFF2-40B4-BE49-F238E27FC236}">
                <a16:creationId xmlns:a16="http://schemas.microsoft.com/office/drawing/2014/main" id="{136B6A0F-FAB0-4F8C-9459-30EDA0835272}"/>
              </a:ext>
            </a:extLst>
          </p:cNvPr>
          <p:cNvSpPr>
            <a:spLocks noGrp="1"/>
          </p:cNvSpPr>
          <p:nvPr>
            <p:ph type="dt" sz="half" idx="25"/>
          </p:nvPr>
        </p:nvSpPr>
        <p:spPr/>
        <p:txBody>
          <a:bodyPr/>
          <a:lstStyle/>
          <a:p>
            <a:endParaRPr lang="en-US" dirty="0"/>
          </a:p>
        </p:txBody>
      </p:sp>
      <p:sp>
        <p:nvSpPr>
          <p:cNvPr id="4" name="Footer Placeholder 3">
            <a:extLst>
              <a:ext uri="{FF2B5EF4-FFF2-40B4-BE49-F238E27FC236}">
                <a16:creationId xmlns:a16="http://schemas.microsoft.com/office/drawing/2014/main" id="{B59A77CE-E662-481F-BCC4-5E6BB30CACEC}"/>
              </a:ext>
            </a:extLst>
          </p:cNvPr>
          <p:cNvSpPr>
            <a:spLocks noGrp="1"/>
          </p:cNvSpPr>
          <p:nvPr>
            <p:ph type="ftr" sz="quarter" idx="26"/>
          </p:nvPr>
        </p:nvSpPr>
        <p:spPr/>
        <p:txBody>
          <a:bodyPr/>
          <a:lstStyle/>
          <a:p>
            <a:endParaRPr lang="en-US" dirty="0"/>
          </a:p>
        </p:txBody>
      </p:sp>
      <p:sp>
        <p:nvSpPr>
          <p:cNvPr id="5" name="Slide Number Placeholder 4">
            <a:extLst>
              <a:ext uri="{FF2B5EF4-FFF2-40B4-BE49-F238E27FC236}">
                <a16:creationId xmlns:a16="http://schemas.microsoft.com/office/drawing/2014/main" id="{F5D6AD45-0EAC-4DBD-8C61-C0F4ACB53601}"/>
              </a:ext>
            </a:extLst>
          </p:cNvPr>
          <p:cNvSpPr>
            <a:spLocks noGrp="1"/>
          </p:cNvSpPr>
          <p:nvPr>
            <p:ph type="sldNum" sz="quarter" idx="27"/>
          </p:nvPr>
        </p:nvSpPr>
        <p:spPr/>
        <p:txBody>
          <a:bodyPr/>
          <a:lstStyle/>
          <a:p>
            <a:fld id="{82F89014-7F8D-47C1-8D79-17A715C9D2BB}" type="slidenum">
              <a:rPr lang="en-US" smtClean="0"/>
              <a:pPr/>
              <a:t>‹#›</a:t>
            </a:fld>
            <a:endParaRPr lang="en-US" dirty="0"/>
          </a:p>
        </p:txBody>
      </p:sp>
      <p:sp>
        <p:nvSpPr>
          <p:cNvPr id="2" name="Titel 1">
            <a:extLst>
              <a:ext uri="{FF2B5EF4-FFF2-40B4-BE49-F238E27FC236}">
                <a16:creationId xmlns:a16="http://schemas.microsoft.com/office/drawing/2014/main" id="{D82C27FB-C163-4802-BBE9-1194F6A07DDA}"/>
              </a:ext>
            </a:extLst>
          </p:cNvPr>
          <p:cNvSpPr>
            <a:spLocks noGrp="1"/>
          </p:cNvSpPr>
          <p:nvPr>
            <p:ph type="title"/>
          </p:nvPr>
        </p:nvSpPr>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3790018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text and image (right small)">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6479115" y="1113368"/>
            <a:ext cx="4944535" cy="5196417"/>
          </a:xfrm>
          <a:prstGeom prst="rect">
            <a:avLst/>
          </a:prstGeom>
          <a:solidFill>
            <a:schemeClr val="accent6"/>
          </a:solidFill>
        </p:spPr>
        <p:txBody>
          <a:bodyPr tIns="2196000"/>
          <a:lstStyle>
            <a:lvl1pPr marL="0" indent="0" algn="ctr">
              <a:lnSpc>
                <a:spcPct val="100000"/>
              </a:lnSpc>
              <a:buFontTx/>
              <a:buNone/>
              <a:defRPr/>
            </a:lvl1pPr>
          </a:lstStyle>
          <a:p>
            <a:r>
              <a:rPr lang="en-US" noProof="0" dirty="0"/>
              <a:t>Drag picture to placeholder or click icon to add</a:t>
            </a:r>
          </a:p>
        </p:txBody>
      </p:sp>
      <p:sp>
        <p:nvSpPr>
          <p:cNvPr id="9" name="Text Placeholder 8"/>
          <p:cNvSpPr>
            <a:spLocks noGrp="1"/>
          </p:cNvSpPr>
          <p:nvPr>
            <p:ph type="body" sz="quarter" idx="13" hasCustomPrompt="1"/>
          </p:nvPr>
        </p:nvSpPr>
        <p:spPr>
          <a:xfrm>
            <a:off x="768351" y="1113368"/>
            <a:ext cx="4944533" cy="5196417"/>
          </a:xfrm>
          <a:prstGeom prst="rect">
            <a:avLst/>
          </a:prstGeom>
        </p:spPr>
        <p:txBody>
          <a:bodyPr/>
          <a:lstStyle>
            <a:lvl1pPr marL="380990" indent="-380990">
              <a:lnSpc>
                <a:spcPct val="100000"/>
              </a:lnSpc>
              <a:buFont typeface="Arial" panose="020B0604020202020204" pitchFamily="34" charset="0"/>
              <a:buChar char="•"/>
              <a:defRPr sz="2133" b="0" baseline="0"/>
            </a:lvl1pPr>
            <a:lvl2pPr marL="380990" indent="-380990">
              <a:lnSpc>
                <a:spcPct val="100000"/>
              </a:lnSpc>
              <a:buFont typeface="Arial" panose="020B0604020202020204" pitchFamily="34" charset="0"/>
              <a:buChar char="•"/>
              <a:defRPr sz="1733" b="0"/>
            </a:lvl2pPr>
            <a:lvl3pPr marL="596885" indent="-232828">
              <a:lnSpc>
                <a:spcPct val="100000"/>
              </a:lnSpc>
              <a:buFont typeface="Arial" panose="020B0604020202020204" pitchFamily="34" charset="0"/>
              <a:buChar char="−"/>
              <a:defRPr sz="1867" b="0"/>
            </a:lvl3pPr>
            <a:lvl4pPr marL="831830" indent="-234945">
              <a:lnSpc>
                <a:spcPct val="100000"/>
              </a:lnSpc>
              <a:tabLst/>
              <a:defRPr sz="1867" b="0"/>
            </a:lvl4pPr>
            <a:lvl5pPr marL="1079473" indent="-247644">
              <a:lnSpc>
                <a:spcPct val="100000"/>
              </a:lnSpc>
              <a:defRPr sz="1867" b="0"/>
            </a:lvl5pPr>
            <a:lvl6pPr marL="2285943" indent="0">
              <a:buNone/>
              <a:defRPr/>
            </a:lvl6pPr>
          </a:lstStyle>
          <a:p>
            <a:pPr lvl="0"/>
            <a:r>
              <a:rPr lang="en-US" dirty="0"/>
              <a:t>Click to add text</a:t>
            </a:r>
          </a:p>
          <a:p>
            <a:pPr lvl="2"/>
            <a:r>
              <a:rPr lang="en-US" dirty="0"/>
              <a:t>Second level</a:t>
            </a:r>
          </a:p>
          <a:p>
            <a:pPr lvl="3"/>
            <a:r>
              <a:rPr lang="en-US" dirty="0"/>
              <a:t>Third level</a:t>
            </a:r>
          </a:p>
          <a:p>
            <a:pPr lvl="4"/>
            <a:r>
              <a:rPr lang="en-US" dirty="0"/>
              <a:t>Fourth level</a:t>
            </a:r>
          </a:p>
          <a:p>
            <a:pPr lvl="0"/>
            <a:endParaRPr lang="en-US" dirty="0"/>
          </a:p>
        </p:txBody>
      </p:sp>
      <p:sp>
        <p:nvSpPr>
          <p:cNvPr id="3" name="Titel 2">
            <a:extLst>
              <a:ext uri="{FF2B5EF4-FFF2-40B4-BE49-F238E27FC236}">
                <a16:creationId xmlns:a16="http://schemas.microsoft.com/office/drawing/2014/main" id="{F71526E6-52FE-4A12-AF1B-B37A25A00344}"/>
              </a:ext>
            </a:extLst>
          </p:cNvPr>
          <p:cNvSpPr>
            <a:spLocks noGrp="1"/>
          </p:cNvSpPr>
          <p:nvPr>
            <p:ph type="title"/>
          </p:nvPr>
        </p:nvSpPr>
        <p:spPr/>
        <p:txBody>
          <a:bodyPr/>
          <a:lstStyle/>
          <a:p>
            <a:r>
              <a:rPr lang="en-US"/>
              <a:t>Click to edit Master title style</a:t>
            </a:r>
            <a:endParaRPr lang="en-US" dirty="0"/>
          </a:p>
        </p:txBody>
      </p:sp>
      <p:sp>
        <p:nvSpPr>
          <p:cNvPr id="6" name="Date Placeholder 5">
            <a:extLst>
              <a:ext uri="{FF2B5EF4-FFF2-40B4-BE49-F238E27FC236}">
                <a16:creationId xmlns:a16="http://schemas.microsoft.com/office/drawing/2014/main" id="{077FD35B-6C0E-42DE-85B1-6521194AA6A7}"/>
              </a:ext>
            </a:extLst>
          </p:cNvPr>
          <p:cNvSpPr>
            <a:spLocks noGrp="1"/>
          </p:cNvSpPr>
          <p:nvPr>
            <p:ph type="dt" sz="half" idx="15"/>
          </p:nvPr>
        </p:nvSpPr>
        <p:spPr/>
        <p:txBody>
          <a:bodyPr/>
          <a:lstStyle/>
          <a:p>
            <a:endParaRPr lang="en-US" dirty="0"/>
          </a:p>
        </p:txBody>
      </p:sp>
      <p:sp>
        <p:nvSpPr>
          <p:cNvPr id="7" name="Footer Placeholder 6">
            <a:extLst>
              <a:ext uri="{FF2B5EF4-FFF2-40B4-BE49-F238E27FC236}">
                <a16:creationId xmlns:a16="http://schemas.microsoft.com/office/drawing/2014/main" id="{BB11B6FB-578C-4F3B-A98D-5AF9DECFC4C8}"/>
              </a:ext>
            </a:extLst>
          </p:cNvPr>
          <p:cNvSpPr>
            <a:spLocks noGrp="1"/>
          </p:cNvSpPr>
          <p:nvPr>
            <p:ph type="ftr" sz="quarter" idx="16"/>
          </p:nvPr>
        </p:nvSpPr>
        <p:spPr/>
        <p:txBody>
          <a:bodyPr/>
          <a:lstStyle/>
          <a:p>
            <a:endParaRPr lang="en-US" dirty="0"/>
          </a:p>
        </p:txBody>
      </p:sp>
      <p:sp>
        <p:nvSpPr>
          <p:cNvPr id="8" name="Slide Number Placeholder 7">
            <a:extLst>
              <a:ext uri="{FF2B5EF4-FFF2-40B4-BE49-F238E27FC236}">
                <a16:creationId xmlns:a16="http://schemas.microsoft.com/office/drawing/2014/main" id="{D518D1FF-B499-48AE-A463-FCD1B03277A3}"/>
              </a:ext>
            </a:extLst>
          </p:cNvPr>
          <p:cNvSpPr>
            <a:spLocks noGrp="1"/>
          </p:cNvSpPr>
          <p:nvPr>
            <p:ph type="sldNum" sz="quarter" idx="1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378281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text and image (right small) - 2">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6479115" y="1113368"/>
            <a:ext cx="4944535" cy="5196417"/>
          </a:xfrm>
          <a:prstGeom prst="roundRect">
            <a:avLst>
              <a:gd name="adj" fmla="val 3147"/>
            </a:avLst>
          </a:prstGeom>
          <a:solidFill>
            <a:schemeClr val="accent6"/>
          </a:solidFill>
          <a:effectLst>
            <a:outerShdw blurRad="139700" dist="12700" dir="2700000" sx="101000" sy="101000" algn="ctr" rotWithShape="0">
              <a:prstClr val="black">
                <a:alpha val="41000"/>
              </a:prstClr>
            </a:outerShdw>
          </a:effectLst>
        </p:spPr>
        <p:txBody>
          <a:bodyPr tIns="2196000"/>
          <a:lstStyle>
            <a:lvl1pPr marL="0" indent="0" algn="ctr">
              <a:lnSpc>
                <a:spcPct val="100000"/>
              </a:lnSpc>
              <a:buFontTx/>
              <a:buNone/>
              <a:defRPr/>
            </a:lvl1pPr>
          </a:lstStyle>
          <a:p>
            <a:r>
              <a:rPr lang="en-US" noProof="0" dirty="0"/>
              <a:t>Drag picture to placeholder or click icon to add</a:t>
            </a:r>
          </a:p>
        </p:txBody>
      </p:sp>
      <p:sp>
        <p:nvSpPr>
          <p:cNvPr id="9" name="Text Placeholder 8"/>
          <p:cNvSpPr>
            <a:spLocks noGrp="1"/>
          </p:cNvSpPr>
          <p:nvPr>
            <p:ph type="body" sz="quarter" idx="13" hasCustomPrompt="1"/>
          </p:nvPr>
        </p:nvSpPr>
        <p:spPr>
          <a:xfrm>
            <a:off x="768351" y="1113368"/>
            <a:ext cx="4944533" cy="5196417"/>
          </a:xfrm>
          <a:prstGeom prst="rect">
            <a:avLst/>
          </a:prstGeom>
        </p:spPr>
        <p:txBody>
          <a:bodyPr/>
          <a:lstStyle>
            <a:lvl1pPr marL="380990" indent="-380990">
              <a:lnSpc>
                <a:spcPct val="100000"/>
              </a:lnSpc>
              <a:buFont typeface="Arial" panose="020B0604020202020204" pitchFamily="34" charset="0"/>
              <a:buChar char="•"/>
              <a:defRPr sz="2133" b="0" baseline="0"/>
            </a:lvl1pPr>
            <a:lvl2pPr marL="380990" indent="-380990">
              <a:lnSpc>
                <a:spcPct val="100000"/>
              </a:lnSpc>
              <a:buFont typeface="Arial" panose="020B0604020202020204" pitchFamily="34" charset="0"/>
              <a:buChar char="•"/>
              <a:defRPr sz="1733" b="0"/>
            </a:lvl2pPr>
            <a:lvl3pPr marL="596885" indent="-232828">
              <a:lnSpc>
                <a:spcPct val="100000"/>
              </a:lnSpc>
              <a:buFont typeface="Arial" panose="020B0604020202020204" pitchFamily="34" charset="0"/>
              <a:buChar char="−"/>
              <a:defRPr sz="1867" b="0"/>
            </a:lvl3pPr>
            <a:lvl4pPr marL="831830" indent="-234945">
              <a:lnSpc>
                <a:spcPct val="100000"/>
              </a:lnSpc>
              <a:tabLst/>
              <a:defRPr sz="1867" b="0"/>
            </a:lvl4pPr>
            <a:lvl5pPr marL="1079473" indent="-247644">
              <a:lnSpc>
                <a:spcPct val="100000"/>
              </a:lnSpc>
              <a:defRPr sz="1867" b="0"/>
            </a:lvl5pPr>
            <a:lvl6pPr marL="2285943" indent="0">
              <a:buNone/>
              <a:defRPr/>
            </a:lvl6pPr>
          </a:lstStyle>
          <a:p>
            <a:pPr lvl="0"/>
            <a:r>
              <a:rPr lang="en-US" dirty="0"/>
              <a:t>Click to add text</a:t>
            </a:r>
          </a:p>
          <a:p>
            <a:pPr lvl="2"/>
            <a:r>
              <a:rPr lang="en-US" dirty="0"/>
              <a:t>Second level</a:t>
            </a:r>
          </a:p>
          <a:p>
            <a:pPr lvl="3"/>
            <a:r>
              <a:rPr lang="en-US" dirty="0"/>
              <a:t>Third level</a:t>
            </a:r>
          </a:p>
          <a:p>
            <a:pPr lvl="4"/>
            <a:r>
              <a:rPr lang="en-US" dirty="0"/>
              <a:t>Fourth level</a:t>
            </a:r>
          </a:p>
          <a:p>
            <a:pPr lvl="0"/>
            <a:endParaRPr lang="en-US" dirty="0"/>
          </a:p>
        </p:txBody>
      </p:sp>
      <p:sp>
        <p:nvSpPr>
          <p:cNvPr id="3" name="Titel 2">
            <a:extLst>
              <a:ext uri="{FF2B5EF4-FFF2-40B4-BE49-F238E27FC236}">
                <a16:creationId xmlns:a16="http://schemas.microsoft.com/office/drawing/2014/main" id="{F71526E6-52FE-4A12-AF1B-B37A25A00344}"/>
              </a:ext>
            </a:extLst>
          </p:cNvPr>
          <p:cNvSpPr>
            <a:spLocks noGrp="1"/>
          </p:cNvSpPr>
          <p:nvPr>
            <p:ph type="title"/>
          </p:nvPr>
        </p:nvSpPr>
        <p:spPr/>
        <p:txBody>
          <a:bodyPr/>
          <a:lstStyle/>
          <a:p>
            <a:r>
              <a:rPr lang="en-US"/>
              <a:t>Click to edit Master title style</a:t>
            </a:r>
            <a:endParaRPr lang="en-US" dirty="0"/>
          </a:p>
        </p:txBody>
      </p:sp>
      <p:sp>
        <p:nvSpPr>
          <p:cNvPr id="6" name="Date Placeholder 5">
            <a:extLst>
              <a:ext uri="{FF2B5EF4-FFF2-40B4-BE49-F238E27FC236}">
                <a16:creationId xmlns:a16="http://schemas.microsoft.com/office/drawing/2014/main" id="{D7DD8DB3-C531-4BAF-94DF-B0A78EC7175A}"/>
              </a:ext>
            </a:extLst>
          </p:cNvPr>
          <p:cNvSpPr>
            <a:spLocks noGrp="1"/>
          </p:cNvSpPr>
          <p:nvPr>
            <p:ph type="dt" sz="half" idx="15"/>
          </p:nvPr>
        </p:nvSpPr>
        <p:spPr/>
        <p:txBody>
          <a:bodyPr/>
          <a:lstStyle/>
          <a:p>
            <a:endParaRPr lang="en-US" dirty="0"/>
          </a:p>
        </p:txBody>
      </p:sp>
      <p:sp>
        <p:nvSpPr>
          <p:cNvPr id="7" name="Footer Placeholder 6">
            <a:extLst>
              <a:ext uri="{FF2B5EF4-FFF2-40B4-BE49-F238E27FC236}">
                <a16:creationId xmlns:a16="http://schemas.microsoft.com/office/drawing/2014/main" id="{8344BE83-BA14-49B6-A392-4BAD50F8603E}"/>
              </a:ext>
            </a:extLst>
          </p:cNvPr>
          <p:cNvSpPr>
            <a:spLocks noGrp="1"/>
          </p:cNvSpPr>
          <p:nvPr>
            <p:ph type="ftr" sz="quarter" idx="16"/>
          </p:nvPr>
        </p:nvSpPr>
        <p:spPr/>
        <p:txBody>
          <a:bodyPr/>
          <a:lstStyle/>
          <a:p>
            <a:endParaRPr lang="en-US" dirty="0"/>
          </a:p>
        </p:txBody>
      </p:sp>
      <p:sp>
        <p:nvSpPr>
          <p:cNvPr id="11" name="Slide Number Placeholder 10">
            <a:extLst>
              <a:ext uri="{FF2B5EF4-FFF2-40B4-BE49-F238E27FC236}">
                <a16:creationId xmlns:a16="http://schemas.microsoft.com/office/drawing/2014/main" id="{3F0C4FF9-2E18-439F-BB75-2227EBAD5880}"/>
              </a:ext>
            </a:extLst>
          </p:cNvPr>
          <p:cNvSpPr>
            <a:spLocks noGrp="1"/>
          </p:cNvSpPr>
          <p:nvPr>
            <p:ph type="sldNum" sz="quarter" idx="1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694762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image (wide)">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EBA7FD14-63CD-42B5-8123-E0D2D06AE6A3}"/>
              </a:ext>
            </a:extLst>
          </p:cNvPr>
          <p:cNvSpPr>
            <a:spLocks noGrp="1"/>
          </p:cNvSpPr>
          <p:nvPr>
            <p:ph type="title"/>
          </p:nvPr>
        </p:nvSpPr>
        <p:spPr/>
        <p:txBody>
          <a:bodyPr/>
          <a:lstStyle/>
          <a:p>
            <a:r>
              <a:rPr lang="en-US"/>
              <a:t>Click to edit Master title style</a:t>
            </a:r>
            <a:endParaRPr lang="en-US" dirty="0"/>
          </a:p>
        </p:txBody>
      </p:sp>
      <p:sp>
        <p:nvSpPr>
          <p:cNvPr id="4" name="Date Placeholder 3">
            <a:extLst>
              <a:ext uri="{FF2B5EF4-FFF2-40B4-BE49-F238E27FC236}">
                <a16:creationId xmlns:a16="http://schemas.microsoft.com/office/drawing/2014/main" id="{50D40CD0-E62A-40D6-A9A7-E90A7941CF89}"/>
              </a:ext>
            </a:extLst>
          </p:cNvPr>
          <p:cNvSpPr>
            <a:spLocks noGrp="1"/>
          </p:cNvSpPr>
          <p:nvPr>
            <p:ph type="dt" sz="half" idx="17"/>
          </p:nvPr>
        </p:nvSpPr>
        <p:spPr/>
        <p:txBody>
          <a:bodyPr/>
          <a:lstStyle/>
          <a:p>
            <a:endParaRPr lang="en-US" dirty="0"/>
          </a:p>
        </p:txBody>
      </p:sp>
      <p:sp>
        <p:nvSpPr>
          <p:cNvPr id="7" name="Footer Placeholder 6">
            <a:extLst>
              <a:ext uri="{FF2B5EF4-FFF2-40B4-BE49-F238E27FC236}">
                <a16:creationId xmlns:a16="http://schemas.microsoft.com/office/drawing/2014/main" id="{6871E6EE-F796-4FC9-A7D0-4C318002A703}"/>
              </a:ext>
            </a:extLst>
          </p:cNvPr>
          <p:cNvSpPr>
            <a:spLocks noGrp="1"/>
          </p:cNvSpPr>
          <p:nvPr>
            <p:ph type="ftr" sz="quarter" idx="18"/>
          </p:nvPr>
        </p:nvSpPr>
        <p:spPr/>
        <p:txBody>
          <a:bodyPr/>
          <a:lstStyle/>
          <a:p>
            <a:endParaRPr lang="en-US" dirty="0"/>
          </a:p>
        </p:txBody>
      </p:sp>
      <p:sp>
        <p:nvSpPr>
          <p:cNvPr id="8" name="Slide Number Placeholder 7">
            <a:extLst>
              <a:ext uri="{FF2B5EF4-FFF2-40B4-BE49-F238E27FC236}">
                <a16:creationId xmlns:a16="http://schemas.microsoft.com/office/drawing/2014/main" id="{8AA59B62-65E5-4805-9C65-6AB0D3219CEE}"/>
              </a:ext>
            </a:extLst>
          </p:cNvPr>
          <p:cNvSpPr>
            <a:spLocks noGrp="1"/>
          </p:cNvSpPr>
          <p:nvPr>
            <p:ph type="sldNum" sz="quarter" idx="19"/>
          </p:nvPr>
        </p:nvSpPr>
        <p:spPr/>
        <p:txBody>
          <a:bodyPr/>
          <a:lstStyle/>
          <a:p>
            <a:fld id="{82F89014-7F8D-47C1-8D79-17A715C9D2BB}" type="slidenum">
              <a:rPr lang="en-US" smtClean="0"/>
              <a:pPr/>
              <a:t>‹#›</a:t>
            </a:fld>
            <a:endParaRPr lang="en-US" dirty="0"/>
          </a:p>
        </p:txBody>
      </p:sp>
      <p:sp>
        <p:nvSpPr>
          <p:cNvPr id="5" name="Picture Placeholder 4">
            <a:extLst>
              <a:ext uri="{FF2B5EF4-FFF2-40B4-BE49-F238E27FC236}">
                <a16:creationId xmlns:a16="http://schemas.microsoft.com/office/drawing/2014/main" id="{41D87977-6410-4861-821B-247A28DFF45D}"/>
              </a:ext>
            </a:extLst>
          </p:cNvPr>
          <p:cNvSpPr>
            <a:spLocks noGrp="1"/>
          </p:cNvSpPr>
          <p:nvPr>
            <p:ph type="pic" sz="quarter" idx="20" hasCustomPrompt="1"/>
          </p:nvPr>
        </p:nvSpPr>
        <p:spPr>
          <a:xfrm>
            <a:off x="768351" y="1113368"/>
            <a:ext cx="10655300" cy="5196417"/>
          </a:xfrm>
          <a:solidFill>
            <a:schemeClr val="accent6"/>
          </a:solidFill>
        </p:spPr>
        <p:txBody>
          <a:bodyPr tIns="2088000"/>
          <a:lstStyle>
            <a:lvl1pPr marL="0" indent="0" algn="ctr">
              <a:buNone/>
              <a:defRPr/>
            </a:lvl1pPr>
          </a:lstStyle>
          <a:p>
            <a:pPr marL="0" marR="0" lvl="0" indent="0" algn="ctr" defTabSz="914377" rtl="0" eaLnBrk="1" fontAlgn="auto" latinLnBrk="0" hangingPunct="1">
              <a:lnSpc>
                <a:spcPct val="100000"/>
              </a:lnSpc>
              <a:spcBef>
                <a:spcPts val="0"/>
              </a:spcBef>
              <a:spcAft>
                <a:spcPts val="800"/>
              </a:spcAft>
              <a:buClr>
                <a:srgbClr val="FF6C00"/>
              </a:buClr>
              <a:buSzTx/>
              <a:buFont typeface="Arial" panose="020B0604020202020204" pitchFamily="34" charset="0"/>
              <a:buNone/>
              <a:tabLst>
                <a:tab pos="355591" algn="l"/>
              </a:tabLst>
              <a:defRPr/>
            </a:pPr>
            <a:r>
              <a:rPr lang="en-US" noProof="0" dirty="0"/>
              <a:t>Drag picture to placeholder or click icon to add</a:t>
            </a:r>
          </a:p>
        </p:txBody>
      </p:sp>
    </p:spTree>
    <p:extLst>
      <p:ext uri="{BB962C8B-B14F-4D97-AF65-F5344CB8AC3E}">
        <p14:creationId xmlns:p14="http://schemas.microsoft.com/office/powerpoint/2010/main" val="3870416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slide with video background">
    <p:spTree>
      <p:nvGrpSpPr>
        <p:cNvPr id="1" name=""/>
        <p:cNvGrpSpPr/>
        <p:nvPr/>
      </p:nvGrpSpPr>
      <p:grpSpPr>
        <a:xfrm>
          <a:off x="0" y="0"/>
          <a:ext cx="0" cy="0"/>
          <a:chOff x="0" y="0"/>
          <a:chExt cx="0" cy="0"/>
        </a:xfrm>
      </p:grpSpPr>
      <p:sp>
        <p:nvSpPr>
          <p:cNvPr id="4" name="Media Placeholder 3">
            <a:extLst>
              <a:ext uri="{FF2B5EF4-FFF2-40B4-BE49-F238E27FC236}">
                <a16:creationId xmlns:a16="http://schemas.microsoft.com/office/drawing/2014/main" id="{61EF6098-F062-48C8-804B-4CB80BE90332}"/>
              </a:ext>
            </a:extLst>
          </p:cNvPr>
          <p:cNvSpPr>
            <a:spLocks noGrp="1"/>
          </p:cNvSpPr>
          <p:nvPr>
            <p:ph type="media" sz="quarter" idx="17" hasCustomPrompt="1"/>
          </p:nvPr>
        </p:nvSpPr>
        <p:spPr>
          <a:xfrm>
            <a:off x="0" y="0"/>
            <a:ext cx="12192000" cy="6858000"/>
          </a:xfrm>
          <a:solidFill>
            <a:srgbClr val="3E4043">
              <a:alpha val="14902"/>
            </a:srgbClr>
          </a:solidFill>
        </p:spPr>
        <p:txBody>
          <a:bodyPr/>
          <a:lstStyle>
            <a:lvl1pPr marL="0" indent="0" algn="ctr">
              <a:buNone/>
              <a:defRPr/>
            </a:lvl1pPr>
          </a:lstStyle>
          <a:p>
            <a:pPr marL="0" marR="0" lvl="0" indent="0" algn="l" defTabSz="914377" rtl="0" eaLnBrk="1" fontAlgn="auto" latinLnBrk="0" hangingPunct="1">
              <a:lnSpc>
                <a:spcPct val="100000"/>
              </a:lnSpc>
              <a:spcBef>
                <a:spcPts val="0"/>
              </a:spcBef>
              <a:spcAft>
                <a:spcPts val="800"/>
              </a:spcAft>
              <a:buClr>
                <a:srgbClr val="FF6C00"/>
              </a:buClr>
              <a:buSzTx/>
              <a:buFont typeface="Arial" panose="020B0604020202020204" pitchFamily="34" charset="0"/>
              <a:buNone/>
              <a:tabLst>
                <a:tab pos="355591" algn="l"/>
              </a:tabLst>
              <a:defRPr/>
            </a:pPr>
            <a:r>
              <a:rPr lang="en-US" noProof="0" dirty="0"/>
              <a:t>Drag movie to placeholder or click icon to add</a:t>
            </a:r>
          </a:p>
        </p:txBody>
      </p:sp>
      <p:sp>
        <p:nvSpPr>
          <p:cNvPr id="3" name="Title 2">
            <a:extLst>
              <a:ext uri="{FF2B5EF4-FFF2-40B4-BE49-F238E27FC236}">
                <a16:creationId xmlns:a16="http://schemas.microsoft.com/office/drawing/2014/main" id="{9DE8C169-6D44-4FAB-8862-F0E9E8469FD6}"/>
              </a:ext>
            </a:extLst>
          </p:cNvPr>
          <p:cNvSpPr>
            <a:spLocks noGrp="1"/>
          </p:cNvSpPr>
          <p:nvPr>
            <p:ph type="title"/>
          </p:nvPr>
        </p:nvSpPr>
        <p:spPr>
          <a:xfrm>
            <a:off x="768351" y="5636685"/>
            <a:ext cx="10655299" cy="673100"/>
          </a:xfrm>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924087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5397">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10" name="Table Placeholder 6"/>
          <p:cNvSpPr>
            <a:spLocks noGrp="1"/>
          </p:cNvSpPr>
          <p:nvPr>
            <p:ph type="tbl" sz="quarter" idx="16"/>
          </p:nvPr>
        </p:nvSpPr>
        <p:spPr>
          <a:xfrm>
            <a:off x="768348" y="1113366"/>
            <a:ext cx="10653859" cy="5196417"/>
          </a:xfrm>
          <a:prstGeom prst="rect">
            <a:avLst/>
          </a:prstGeom>
        </p:spPr>
        <p:txBody>
          <a:bodyPr/>
          <a:lstStyle>
            <a:lvl1pPr marL="0" indent="0">
              <a:lnSpc>
                <a:spcPct val="100000"/>
              </a:lnSpc>
              <a:buNone/>
              <a:defRPr/>
            </a:lvl1pPr>
          </a:lstStyle>
          <a:p>
            <a:r>
              <a:rPr lang="en-US" noProof="0" dirty="0"/>
              <a:t>Click icon to add table</a:t>
            </a:r>
          </a:p>
        </p:txBody>
      </p:sp>
      <p:sp>
        <p:nvSpPr>
          <p:cNvPr id="3" name="Titel 2">
            <a:extLst>
              <a:ext uri="{FF2B5EF4-FFF2-40B4-BE49-F238E27FC236}">
                <a16:creationId xmlns:a16="http://schemas.microsoft.com/office/drawing/2014/main" id="{EBA7FD14-63CD-42B5-8123-E0D2D06AE6A3}"/>
              </a:ext>
            </a:extLst>
          </p:cNvPr>
          <p:cNvSpPr>
            <a:spLocks noGrp="1"/>
          </p:cNvSpPr>
          <p:nvPr>
            <p:ph type="title"/>
          </p:nvPr>
        </p:nvSpPr>
        <p:spPr/>
        <p:txBody>
          <a:bodyPr/>
          <a:lstStyle/>
          <a:p>
            <a:r>
              <a:rPr lang="en-US"/>
              <a:t>Click to edit Master title style</a:t>
            </a:r>
            <a:endParaRPr lang="en-US" dirty="0"/>
          </a:p>
        </p:txBody>
      </p:sp>
      <p:sp>
        <p:nvSpPr>
          <p:cNvPr id="4" name="Date Placeholder 3">
            <a:extLst>
              <a:ext uri="{FF2B5EF4-FFF2-40B4-BE49-F238E27FC236}">
                <a16:creationId xmlns:a16="http://schemas.microsoft.com/office/drawing/2014/main" id="{50D40CD0-E62A-40D6-A9A7-E90A7941CF89}"/>
              </a:ext>
            </a:extLst>
          </p:cNvPr>
          <p:cNvSpPr>
            <a:spLocks noGrp="1"/>
          </p:cNvSpPr>
          <p:nvPr>
            <p:ph type="dt" sz="half" idx="17"/>
          </p:nvPr>
        </p:nvSpPr>
        <p:spPr/>
        <p:txBody>
          <a:bodyPr/>
          <a:lstStyle/>
          <a:p>
            <a:endParaRPr lang="en-US" dirty="0"/>
          </a:p>
        </p:txBody>
      </p:sp>
      <p:sp>
        <p:nvSpPr>
          <p:cNvPr id="7" name="Footer Placeholder 6">
            <a:extLst>
              <a:ext uri="{FF2B5EF4-FFF2-40B4-BE49-F238E27FC236}">
                <a16:creationId xmlns:a16="http://schemas.microsoft.com/office/drawing/2014/main" id="{6871E6EE-F796-4FC9-A7D0-4C318002A703}"/>
              </a:ext>
            </a:extLst>
          </p:cNvPr>
          <p:cNvSpPr>
            <a:spLocks noGrp="1"/>
          </p:cNvSpPr>
          <p:nvPr>
            <p:ph type="ftr" sz="quarter" idx="18"/>
          </p:nvPr>
        </p:nvSpPr>
        <p:spPr/>
        <p:txBody>
          <a:bodyPr/>
          <a:lstStyle/>
          <a:p>
            <a:endParaRPr lang="en-US" dirty="0"/>
          </a:p>
        </p:txBody>
      </p:sp>
      <p:sp>
        <p:nvSpPr>
          <p:cNvPr id="8" name="Slide Number Placeholder 7">
            <a:extLst>
              <a:ext uri="{FF2B5EF4-FFF2-40B4-BE49-F238E27FC236}">
                <a16:creationId xmlns:a16="http://schemas.microsoft.com/office/drawing/2014/main" id="{8AA59B62-65E5-4805-9C65-6AB0D3219CEE}"/>
              </a:ext>
            </a:extLst>
          </p:cNvPr>
          <p:cNvSpPr>
            <a:spLocks noGrp="1"/>
          </p:cNvSpPr>
          <p:nvPr>
            <p:ph type="sldNum" sz="quarter" idx="19"/>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3312498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86045" y="3101091"/>
            <a:ext cx="3905956" cy="3756909"/>
          </a:xfrm>
          <a:prstGeom prst="rect">
            <a:avLst/>
          </a:prstGeom>
        </p:spPr>
      </p:pic>
      <p:sp>
        <p:nvSpPr>
          <p:cNvPr id="7" name="Title 1"/>
          <p:cNvSpPr>
            <a:spLocks noGrp="1"/>
          </p:cNvSpPr>
          <p:nvPr>
            <p:ph type="title" hasCustomPrompt="1"/>
          </p:nvPr>
        </p:nvSpPr>
        <p:spPr>
          <a:xfrm>
            <a:off x="768349" y="1113365"/>
            <a:ext cx="7987200" cy="4224000"/>
          </a:xfrm>
          <a:prstGeom prst="rect">
            <a:avLst/>
          </a:prstGeom>
        </p:spPr>
        <p:txBody>
          <a:bodyPr lIns="0" tIns="0" rIns="0">
            <a:normAutofit/>
          </a:bodyPr>
          <a:lstStyle>
            <a:lvl1pPr marL="235194" indent="-235194">
              <a:lnSpc>
                <a:spcPct val="100000"/>
              </a:lnSpc>
              <a:spcAft>
                <a:spcPts val="1600"/>
              </a:spcAft>
              <a:defRPr sz="4800" baseline="0">
                <a:solidFill>
                  <a:schemeClr val="accent2"/>
                </a:solidFill>
              </a:defRPr>
            </a:lvl1pPr>
          </a:lstStyle>
          <a:p>
            <a:r>
              <a:rPr lang="en-US" dirty="0"/>
              <a:t>“Quote”</a:t>
            </a:r>
          </a:p>
        </p:txBody>
      </p:sp>
      <p:sp>
        <p:nvSpPr>
          <p:cNvPr id="4" name="Date Placeholder 3">
            <a:extLst>
              <a:ext uri="{FF2B5EF4-FFF2-40B4-BE49-F238E27FC236}">
                <a16:creationId xmlns:a16="http://schemas.microsoft.com/office/drawing/2014/main" id="{B0A140A6-5D0E-4488-95CA-4733486F593B}"/>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8B200B3A-B3FB-4A32-A145-4E221A432DD0}"/>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97DC275C-83AD-4E74-9F99-2A21F1C78853}"/>
              </a:ext>
            </a:extLst>
          </p:cNvPr>
          <p:cNvSpPr>
            <a:spLocks noGrp="1"/>
          </p:cNvSpPr>
          <p:nvPr>
            <p:ph type="sldNum" sz="quarter" idx="12"/>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4086519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Quote (white text - on dark image)">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0" y="0"/>
            <a:ext cx="12192000" cy="6858000"/>
          </a:xfrm>
          <a:prstGeom prst="rect">
            <a:avLst/>
          </a:prstGeom>
          <a:solidFill>
            <a:schemeClr val="accent6"/>
          </a:solidFill>
        </p:spPr>
        <p:txBody>
          <a:bodyPr/>
          <a:lstStyle>
            <a:lvl1pPr marL="0" indent="0" algn="ctr">
              <a:lnSpc>
                <a:spcPct val="100000"/>
              </a:lnSpc>
              <a:buNone/>
              <a:defRPr sz="2133"/>
            </a:lvl1pPr>
          </a:lstStyle>
          <a:p>
            <a:r>
              <a:rPr lang="en-US" noProof="0" dirty="0"/>
              <a:t>Drag picture into placeholder</a:t>
            </a:r>
          </a:p>
        </p:txBody>
      </p:sp>
      <p:sp>
        <p:nvSpPr>
          <p:cNvPr id="2" name="Date Placeholder 1">
            <a:extLst>
              <a:ext uri="{FF2B5EF4-FFF2-40B4-BE49-F238E27FC236}">
                <a16:creationId xmlns:a16="http://schemas.microsoft.com/office/drawing/2014/main" id="{095FDA8F-E5DE-42B3-BE10-7B8BCDC83F25}"/>
              </a:ext>
            </a:extLst>
          </p:cNvPr>
          <p:cNvSpPr>
            <a:spLocks noGrp="1"/>
          </p:cNvSpPr>
          <p:nvPr>
            <p:ph type="dt" sz="half" idx="14"/>
          </p:nvPr>
        </p:nvSpPr>
        <p:spPr/>
        <p:txBody>
          <a:bodyPr/>
          <a:lstStyle/>
          <a:p>
            <a:endParaRPr lang="en-US" dirty="0"/>
          </a:p>
        </p:txBody>
      </p:sp>
      <p:sp>
        <p:nvSpPr>
          <p:cNvPr id="3" name="Footer Placeholder 2">
            <a:extLst>
              <a:ext uri="{FF2B5EF4-FFF2-40B4-BE49-F238E27FC236}">
                <a16:creationId xmlns:a16="http://schemas.microsoft.com/office/drawing/2014/main" id="{ED6D733F-B7CE-451D-A09C-370A3D494B34}"/>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394006D7-7C1F-4025-93C7-D6BFDD015ACE}"/>
              </a:ext>
            </a:extLst>
          </p:cNvPr>
          <p:cNvSpPr>
            <a:spLocks noGrp="1"/>
          </p:cNvSpPr>
          <p:nvPr>
            <p:ph type="sldNum" sz="quarter" idx="16"/>
          </p:nvPr>
        </p:nvSpPr>
        <p:spPr/>
        <p:txBody>
          <a:bodyPr/>
          <a:lstStyle/>
          <a:p>
            <a:fld id="{82F89014-7F8D-47C1-8D79-17A715C9D2BB}" type="slidenum">
              <a:rPr lang="en-US" smtClean="0"/>
              <a:pPr/>
              <a:t>‹#›</a:t>
            </a:fld>
            <a:endParaRPr lang="en-US" dirty="0"/>
          </a:p>
        </p:txBody>
      </p:sp>
      <p:sp>
        <p:nvSpPr>
          <p:cNvPr id="7" name="Title 1">
            <a:extLst>
              <a:ext uri="{FF2B5EF4-FFF2-40B4-BE49-F238E27FC236}">
                <a16:creationId xmlns:a16="http://schemas.microsoft.com/office/drawing/2014/main" id="{C8A7EB86-3F9E-4A42-81FA-F215DE6BC51F}"/>
              </a:ext>
            </a:extLst>
          </p:cNvPr>
          <p:cNvSpPr>
            <a:spLocks noGrp="1"/>
          </p:cNvSpPr>
          <p:nvPr>
            <p:ph type="title" hasCustomPrompt="1"/>
          </p:nvPr>
        </p:nvSpPr>
        <p:spPr>
          <a:xfrm>
            <a:off x="768349" y="1113365"/>
            <a:ext cx="7987200" cy="4224000"/>
          </a:xfrm>
          <a:prstGeom prst="rect">
            <a:avLst/>
          </a:prstGeom>
        </p:spPr>
        <p:txBody>
          <a:bodyPr lIns="0" tIns="0" rIns="0">
            <a:normAutofit/>
          </a:bodyPr>
          <a:lstStyle>
            <a:lvl1pPr marL="235194" indent="-235194">
              <a:lnSpc>
                <a:spcPct val="100000"/>
              </a:lnSpc>
              <a:spcAft>
                <a:spcPts val="1600"/>
              </a:spcAft>
              <a:defRPr sz="4800" baseline="0">
                <a:solidFill>
                  <a:schemeClr val="bg1"/>
                </a:solidFill>
              </a:defRPr>
            </a:lvl1pPr>
          </a:lstStyle>
          <a:p>
            <a:r>
              <a:rPr lang="en-US" dirty="0"/>
              <a:t>“Quote”</a:t>
            </a:r>
          </a:p>
        </p:txBody>
      </p:sp>
    </p:spTree>
    <p:extLst>
      <p:ext uri="{BB962C8B-B14F-4D97-AF65-F5344CB8AC3E}">
        <p14:creationId xmlns:p14="http://schemas.microsoft.com/office/powerpoint/2010/main" val="3269231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Quote (dark text - on light image)">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0" y="0"/>
            <a:ext cx="12192000" cy="6858000"/>
          </a:xfrm>
          <a:prstGeom prst="rect">
            <a:avLst/>
          </a:prstGeom>
          <a:solidFill>
            <a:schemeClr val="accent6"/>
          </a:solidFill>
        </p:spPr>
        <p:txBody>
          <a:bodyPr/>
          <a:lstStyle>
            <a:lvl1pPr marL="0" indent="0" algn="ctr">
              <a:lnSpc>
                <a:spcPct val="100000"/>
              </a:lnSpc>
              <a:buNone/>
              <a:defRPr sz="2133"/>
            </a:lvl1pPr>
          </a:lstStyle>
          <a:p>
            <a:r>
              <a:rPr lang="en-US" dirty="0"/>
              <a:t>Drag </a:t>
            </a:r>
            <a:r>
              <a:rPr lang="en-US" noProof="0" dirty="0"/>
              <a:t>picture</a:t>
            </a:r>
            <a:r>
              <a:rPr lang="en-US" dirty="0"/>
              <a:t> into placeholder</a:t>
            </a:r>
          </a:p>
        </p:txBody>
      </p:sp>
      <p:sp>
        <p:nvSpPr>
          <p:cNvPr id="2" name="Date Placeholder 1">
            <a:extLst>
              <a:ext uri="{FF2B5EF4-FFF2-40B4-BE49-F238E27FC236}">
                <a16:creationId xmlns:a16="http://schemas.microsoft.com/office/drawing/2014/main" id="{BB5D03DB-E24A-4B52-B9D9-B3D6DF213897}"/>
              </a:ext>
            </a:extLst>
          </p:cNvPr>
          <p:cNvSpPr>
            <a:spLocks noGrp="1"/>
          </p:cNvSpPr>
          <p:nvPr>
            <p:ph type="dt" sz="half" idx="14"/>
          </p:nvPr>
        </p:nvSpPr>
        <p:spPr/>
        <p:txBody>
          <a:bodyPr/>
          <a:lstStyle/>
          <a:p>
            <a:endParaRPr lang="en-US" dirty="0"/>
          </a:p>
        </p:txBody>
      </p:sp>
      <p:sp>
        <p:nvSpPr>
          <p:cNvPr id="3" name="Footer Placeholder 2">
            <a:extLst>
              <a:ext uri="{FF2B5EF4-FFF2-40B4-BE49-F238E27FC236}">
                <a16:creationId xmlns:a16="http://schemas.microsoft.com/office/drawing/2014/main" id="{F08D1E53-7D02-44DA-8691-6E53E6200A05}"/>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433AB17E-1E0B-4FA0-982D-17BEFEF8771F}"/>
              </a:ext>
            </a:extLst>
          </p:cNvPr>
          <p:cNvSpPr>
            <a:spLocks noGrp="1"/>
          </p:cNvSpPr>
          <p:nvPr>
            <p:ph type="sldNum" sz="quarter" idx="16"/>
          </p:nvPr>
        </p:nvSpPr>
        <p:spPr/>
        <p:txBody>
          <a:bodyPr/>
          <a:lstStyle/>
          <a:p>
            <a:fld id="{82F89014-7F8D-47C1-8D79-17A715C9D2BB}" type="slidenum">
              <a:rPr lang="en-US" smtClean="0"/>
              <a:pPr/>
              <a:t>‹#›</a:t>
            </a:fld>
            <a:endParaRPr lang="en-US" dirty="0"/>
          </a:p>
        </p:txBody>
      </p:sp>
      <p:sp>
        <p:nvSpPr>
          <p:cNvPr id="7" name="Title 1">
            <a:extLst>
              <a:ext uri="{FF2B5EF4-FFF2-40B4-BE49-F238E27FC236}">
                <a16:creationId xmlns:a16="http://schemas.microsoft.com/office/drawing/2014/main" id="{628E9124-E359-49E6-A14A-2497E35E512E}"/>
              </a:ext>
            </a:extLst>
          </p:cNvPr>
          <p:cNvSpPr>
            <a:spLocks noGrp="1"/>
          </p:cNvSpPr>
          <p:nvPr>
            <p:ph type="title" hasCustomPrompt="1"/>
          </p:nvPr>
        </p:nvSpPr>
        <p:spPr>
          <a:xfrm>
            <a:off x="768349" y="1113365"/>
            <a:ext cx="7987200" cy="4224000"/>
          </a:xfrm>
          <a:prstGeom prst="rect">
            <a:avLst/>
          </a:prstGeom>
        </p:spPr>
        <p:txBody>
          <a:bodyPr lIns="0" tIns="0" rIns="0">
            <a:normAutofit/>
          </a:bodyPr>
          <a:lstStyle>
            <a:lvl1pPr marL="235194" indent="-235194">
              <a:lnSpc>
                <a:spcPct val="100000"/>
              </a:lnSpc>
              <a:spcAft>
                <a:spcPts val="1600"/>
              </a:spcAft>
              <a:defRPr sz="4800" baseline="0">
                <a:solidFill>
                  <a:schemeClr val="tx1"/>
                </a:solidFill>
              </a:defRPr>
            </a:lvl1pPr>
          </a:lstStyle>
          <a:p>
            <a:r>
              <a:rPr lang="en-US" dirty="0"/>
              <a:t>“Quote”</a:t>
            </a:r>
          </a:p>
        </p:txBody>
      </p:sp>
    </p:spTree>
    <p:extLst>
      <p:ext uri="{BB962C8B-B14F-4D97-AF65-F5344CB8AC3E}">
        <p14:creationId xmlns:p14="http://schemas.microsoft.com/office/powerpoint/2010/main" val="57805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4226F7B-C707-4C07-B686-02CD29F0CADB}"/>
              </a:ext>
            </a:extLst>
          </p:cNvPr>
          <p:cNvSpPr>
            <a:spLocks noGrp="1"/>
          </p:cNvSpPr>
          <p:nvPr>
            <p:ph type="body" sz="quarter" idx="15" hasCustomPrompt="1"/>
          </p:nvPr>
        </p:nvSpPr>
        <p:spPr>
          <a:xfrm>
            <a:off x="768351" y="2593184"/>
            <a:ext cx="4944533" cy="2125837"/>
          </a:xfrm>
        </p:spPr>
        <p:txBody>
          <a:bodyPr/>
          <a:lstStyle>
            <a:lvl1pPr marL="0" indent="0">
              <a:buNone/>
              <a:tabLst/>
              <a:defRPr lang="en-US" sz="6667" kern="1200" dirty="0" smtClean="0">
                <a:solidFill>
                  <a:schemeClr val="tx1"/>
                </a:solidFill>
                <a:latin typeface="+mj-lt"/>
                <a:ea typeface="+mj-ea"/>
                <a:cs typeface="+mj-cs"/>
              </a:defRPr>
            </a:lvl1pPr>
          </a:lstStyle>
          <a:p>
            <a:pPr lvl="0"/>
            <a:r>
              <a:rPr lang="en-US" dirty="0"/>
              <a:t>Closing line</a:t>
            </a:r>
          </a:p>
        </p:txBody>
      </p:sp>
      <p:sp>
        <p:nvSpPr>
          <p:cNvPr id="12" name="Text Placeholder 11"/>
          <p:cNvSpPr>
            <a:spLocks noGrp="1"/>
          </p:cNvSpPr>
          <p:nvPr>
            <p:ph type="body" sz="quarter" idx="14" hasCustomPrompt="1"/>
          </p:nvPr>
        </p:nvSpPr>
        <p:spPr>
          <a:xfrm>
            <a:off x="768352" y="5774267"/>
            <a:ext cx="6816945" cy="598488"/>
          </a:xfrm>
          <a:prstGeom prst="rect">
            <a:avLst/>
          </a:prstGeom>
        </p:spPr>
        <p:txBody>
          <a:bodyPr lIns="0" tIns="0" rIns="0" bIns="0">
            <a:noAutofit/>
          </a:bodyPr>
          <a:lstStyle>
            <a:lvl1pPr marL="0" indent="0">
              <a:lnSpc>
                <a:spcPct val="100000"/>
              </a:lnSpc>
              <a:spcBef>
                <a:spcPts val="0"/>
              </a:spcBef>
              <a:buNone/>
              <a:defRPr sz="1867">
                <a:solidFill>
                  <a:schemeClr val="tx1"/>
                </a:solidFill>
              </a:defRPr>
            </a:lvl1pPr>
            <a:lvl2pPr marL="0" indent="0">
              <a:buNone/>
              <a:defRPr sz="1333"/>
            </a:lvl2pPr>
            <a:lvl3pPr marL="0" indent="0">
              <a:buNone/>
              <a:defRPr sz="1333"/>
            </a:lvl3pPr>
            <a:lvl4pPr marL="0" indent="0">
              <a:buNone/>
              <a:defRPr sz="1333"/>
            </a:lvl4pPr>
            <a:lvl5pPr marL="0" indent="0">
              <a:buNone/>
              <a:defRPr sz="1333"/>
            </a:lvl5pPr>
          </a:lstStyle>
          <a:p>
            <a:pPr lvl="0"/>
            <a:r>
              <a:rPr lang="en-US" dirty="0"/>
              <a:t>Department</a:t>
            </a:r>
            <a:br>
              <a:rPr lang="en-US" dirty="0"/>
            </a:br>
            <a:r>
              <a:rPr lang="en-US" dirty="0"/>
              <a:t>Date</a:t>
            </a:r>
          </a:p>
        </p:txBody>
      </p:sp>
      <p:pic>
        <p:nvPicPr>
          <p:cNvPr id="9" name="Picture 8">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045571" y="1711571"/>
            <a:ext cx="5146429" cy="5146429"/>
          </a:xfrm>
          <a:prstGeom prst="rect">
            <a:avLst/>
          </a:prstGeom>
        </p:spPr>
      </p:pic>
      <p:sp>
        <p:nvSpPr>
          <p:cNvPr id="7" name="Text Placeholder 9">
            <a:extLst>
              <a:ext uri="{FF2B5EF4-FFF2-40B4-BE49-F238E27FC236}">
                <a16:creationId xmlns:a16="http://schemas.microsoft.com/office/drawing/2014/main" id="{6A798CCC-F599-47BC-84EE-8CAA3D22063C}"/>
              </a:ext>
            </a:extLst>
          </p:cNvPr>
          <p:cNvSpPr>
            <a:spLocks noGrp="1"/>
          </p:cNvSpPr>
          <p:nvPr>
            <p:ph type="body" sz="quarter" idx="16" hasCustomPrompt="1"/>
          </p:nvPr>
        </p:nvSpPr>
        <p:spPr>
          <a:xfrm>
            <a:off x="768351" y="493184"/>
            <a:ext cx="736600" cy="812800"/>
          </a:xfrm>
          <a:prstGeom prst="rect">
            <a:avLst/>
          </a:prstGeom>
          <a:blipFill dpi="0"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p:spPr>
        <p:txBody>
          <a:bodyPr>
            <a:noAutofit/>
          </a:bodyPr>
          <a:lstStyle>
            <a:lvl1pPr marL="0" indent="0">
              <a:buNone/>
              <a:defRPr sz="133"/>
            </a:lvl1pPr>
          </a:lstStyle>
          <a:p>
            <a:pPr lvl="0"/>
            <a:r>
              <a:rPr lang="en-US" dirty="0"/>
              <a:t>.</a:t>
            </a:r>
          </a:p>
        </p:txBody>
      </p:sp>
    </p:spTree>
    <p:extLst>
      <p:ext uri="{BB962C8B-B14F-4D97-AF65-F5344CB8AC3E}">
        <p14:creationId xmlns:p14="http://schemas.microsoft.com/office/powerpoint/2010/main" val="420857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E0B072-753D-1C48-34DE-741D2E978076}"/>
              </a:ext>
            </a:extLst>
          </p:cNvPr>
          <p:cNvSpPr>
            <a:spLocks noGrp="1"/>
          </p:cNvSpPr>
          <p:nvPr>
            <p:ph type="title"/>
          </p:nvPr>
        </p:nvSpPr>
        <p:spPr/>
        <p:txBody>
          <a:bodyPr/>
          <a:lstStyle/>
          <a:p>
            <a:r>
              <a:rPr lang="en-US"/>
              <a:t>Click to edit Master title style</a:t>
            </a:r>
            <a:endParaRPr lang="en-NL"/>
          </a:p>
        </p:txBody>
      </p:sp>
      <p:sp>
        <p:nvSpPr>
          <p:cNvPr id="3" name="Content Placeholder 2">
            <a:extLst>
              <a:ext uri="{FF2B5EF4-FFF2-40B4-BE49-F238E27FC236}">
                <a16:creationId xmlns:a16="http://schemas.microsoft.com/office/drawing/2014/main" id="{1E7ECBEE-49CF-717F-DB63-08AAF7A46DE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
        <p:nvSpPr>
          <p:cNvPr id="4" name="Content Placeholder 3">
            <a:extLst>
              <a:ext uri="{FF2B5EF4-FFF2-40B4-BE49-F238E27FC236}">
                <a16:creationId xmlns:a16="http://schemas.microsoft.com/office/drawing/2014/main" id="{5D1141F4-D17A-3CA3-701D-00A2E6D8996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
        <p:nvSpPr>
          <p:cNvPr id="5" name="Date Placeholder 4">
            <a:extLst>
              <a:ext uri="{FF2B5EF4-FFF2-40B4-BE49-F238E27FC236}">
                <a16:creationId xmlns:a16="http://schemas.microsoft.com/office/drawing/2014/main" id="{2BDB4B24-0979-048C-FD3A-44C346A16BE5}"/>
              </a:ext>
            </a:extLst>
          </p:cNvPr>
          <p:cNvSpPr>
            <a:spLocks noGrp="1"/>
          </p:cNvSpPr>
          <p:nvPr>
            <p:ph type="dt" sz="half" idx="10"/>
          </p:nvPr>
        </p:nvSpPr>
        <p:spPr/>
        <p:txBody>
          <a:bodyPr/>
          <a:lstStyle/>
          <a:p>
            <a:fld id="{036B0891-7476-4D8C-837F-BB2F6F398C80}" type="datetimeFigureOut">
              <a:rPr lang="en-NL" smtClean="0"/>
              <a:t>10/23/2025</a:t>
            </a:fld>
            <a:endParaRPr lang="en-NL"/>
          </a:p>
        </p:txBody>
      </p:sp>
      <p:sp>
        <p:nvSpPr>
          <p:cNvPr id="6" name="Footer Placeholder 5">
            <a:extLst>
              <a:ext uri="{FF2B5EF4-FFF2-40B4-BE49-F238E27FC236}">
                <a16:creationId xmlns:a16="http://schemas.microsoft.com/office/drawing/2014/main" id="{A2B4FD60-BD74-D021-BC38-D72ED301D6B3}"/>
              </a:ext>
            </a:extLst>
          </p:cNvPr>
          <p:cNvSpPr>
            <a:spLocks noGrp="1"/>
          </p:cNvSpPr>
          <p:nvPr>
            <p:ph type="ftr" sz="quarter" idx="11"/>
          </p:nvPr>
        </p:nvSpPr>
        <p:spPr/>
        <p:txBody>
          <a:bodyPr/>
          <a:lstStyle/>
          <a:p>
            <a:endParaRPr lang="en-NL"/>
          </a:p>
        </p:txBody>
      </p:sp>
      <p:sp>
        <p:nvSpPr>
          <p:cNvPr id="7" name="Slide Number Placeholder 6">
            <a:extLst>
              <a:ext uri="{FF2B5EF4-FFF2-40B4-BE49-F238E27FC236}">
                <a16:creationId xmlns:a16="http://schemas.microsoft.com/office/drawing/2014/main" id="{CF4909D4-B473-D451-A6E5-B997EF9C9EEB}"/>
              </a:ext>
            </a:extLst>
          </p:cNvPr>
          <p:cNvSpPr>
            <a:spLocks noGrp="1"/>
          </p:cNvSpPr>
          <p:nvPr>
            <p:ph type="sldNum" sz="quarter" idx="12"/>
          </p:nvPr>
        </p:nvSpPr>
        <p:spPr/>
        <p:txBody>
          <a:bodyPr/>
          <a:lstStyle/>
          <a:p>
            <a:fld id="{A4C5E35F-323C-4AC9-A193-D482FFFB2350}" type="slidenum">
              <a:rPr lang="en-NL" smtClean="0"/>
              <a:t>‹#›</a:t>
            </a:fld>
            <a:endParaRPr lang="en-NL"/>
          </a:p>
        </p:txBody>
      </p:sp>
    </p:spTree>
    <p:extLst>
      <p:ext uri="{BB962C8B-B14F-4D97-AF65-F5344CB8AC3E}">
        <p14:creationId xmlns:p14="http://schemas.microsoft.com/office/powerpoint/2010/main" val="119678312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Title slide with white text and dark logo">
    <p:spTree>
      <p:nvGrpSpPr>
        <p:cNvPr id="1" name=""/>
        <p:cNvGrpSpPr/>
        <p:nvPr/>
      </p:nvGrpSpPr>
      <p:grpSpPr>
        <a:xfrm>
          <a:off x="0" y="0"/>
          <a:ext cx="0" cy="0"/>
          <a:chOff x="0" y="0"/>
          <a:chExt cx="0" cy="0"/>
        </a:xfrm>
      </p:grpSpPr>
      <p:sp>
        <p:nvSpPr>
          <p:cNvPr id="14" name="Picture Placeholder 13"/>
          <p:cNvSpPr>
            <a:spLocks noGrp="1"/>
          </p:cNvSpPr>
          <p:nvPr>
            <p:ph type="pic" sz="quarter" idx="15" hasCustomPrompt="1"/>
          </p:nvPr>
        </p:nvSpPr>
        <p:spPr>
          <a:xfrm>
            <a:off x="0" y="0"/>
            <a:ext cx="12192000" cy="6858000"/>
          </a:xfrm>
          <a:prstGeom prst="rect">
            <a:avLst/>
          </a:prstGeom>
          <a:solidFill>
            <a:schemeClr val="accent6"/>
          </a:solidFill>
        </p:spPr>
        <p:txBody>
          <a:bodyPr>
            <a:normAutofit/>
          </a:bodyPr>
          <a:lstStyle>
            <a:lvl1pPr marL="0" indent="0" algn="ctr">
              <a:lnSpc>
                <a:spcPct val="100000"/>
              </a:lnSpc>
              <a:buNone/>
              <a:defRPr sz="2133" baseline="0"/>
            </a:lvl1pPr>
          </a:lstStyle>
          <a:p>
            <a:r>
              <a:rPr lang="en-US" noProof="0" dirty="0"/>
              <a:t>Drag picture to placeholder or click icon to add</a:t>
            </a:r>
          </a:p>
        </p:txBody>
      </p:sp>
      <p:sp>
        <p:nvSpPr>
          <p:cNvPr id="2" name="Title 1"/>
          <p:cNvSpPr>
            <a:spLocks noGrp="1"/>
          </p:cNvSpPr>
          <p:nvPr>
            <p:ph type="ctrTitle" hasCustomPrompt="1"/>
          </p:nvPr>
        </p:nvSpPr>
        <p:spPr>
          <a:xfrm>
            <a:off x="768352" y="2212623"/>
            <a:ext cx="6816945" cy="2325511"/>
          </a:xfrm>
          <a:prstGeom prst="rect">
            <a:avLst/>
          </a:prstGeom>
        </p:spPr>
        <p:txBody>
          <a:bodyPr lIns="0" tIns="0" rIns="0" bIns="0" anchor="t" anchorCtr="0">
            <a:normAutofit/>
          </a:bodyPr>
          <a:lstStyle>
            <a:lvl1pPr algn="l">
              <a:lnSpc>
                <a:spcPct val="100000"/>
              </a:lnSpc>
              <a:defRPr sz="5067">
                <a:solidFill>
                  <a:schemeClr val="bg1"/>
                </a:solidFill>
              </a:defRPr>
            </a:lvl1pPr>
          </a:lstStyle>
          <a:p>
            <a:r>
              <a:rPr lang="en-US" noProof="0"/>
              <a:t>Click to edit title max over 2x lines</a:t>
            </a:r>
          </a:p>
        </p:txBody>
      </p:sp>
      <p:sp>
        <p:nvSpPr>
          <p:cNvPr id="12" name="Text Placeholder 11"/>
          <p:cNvSpPr>
            <a:spLocks noGrp="1"/>
          </p:cNvSpPr>
          <p:nvPr>
            <p:ph type="body" sz="quarter" idx="14" hasCustomPrompt="1"/>
          </p:nvPr>
        </p:nvSpPr>
        <p:spPr>
          <a:xfrm>
            <a:off x="768352" y="5881637"/>
            <a:ext cx="6816945" cy="653335"/>
          </a:xfrm>
          <a:prstGeom prst="rect">
            <a:avLst/>
          </a:prstGeom>
        </p:spPr>
        <p:txBody>
          <a:bodyPr lIns="0" tIns="0" rIns="0" bIns="0">
            <a:normAutofit/>
          </a:bodyPr>
          <a:lstStyle>
            <a:lvl1pPr marL="0" indent="0">
              <a:lnSpc>
                <a:spcPct val="100000"/>
              </a:lnSpc>
              <a:spcBef>
                <a:spcPts val="0"/>
              </a:spcBef>
              <a:spcAft>
                <a:spcPts val="0"/>
              </a:spcAft>
              <a:buNone/>
              <a:defRPr sz="1733"/>
            </a:lvl1pPr>
            <a:lvl2pPr marL="0" indent="0">
              <a:buNone/>
              <a:defRPr sz="1333"/>
            </a:lvl2pPr>
            <a:lvl3pPr marL="0" indent="0">
              <a:buNone/>
              <a:defRPr sz="1333"/>
            </a:lvl3pPr>
            <a:lvl4pPr marL="0" indent="0">
              <a:buNone/>
              <a:defRPr sz="1333"/>
            </a:lvl4pPr>
            <a:lvl5pPr marL="0" indent="0">
              <a:buNone/>
              <a:defRPr sz="1333"/>
            </a:lvl5pPr>
          </a:lstStyle>
          <a:p>
            <a:pPr lvl="0"/>
            <a:r>
              <a:rPr lang="en-US"/>
              <a:t>Month, year</a:t>
            </a:r>
            <a:br>
              <a:rPr lang="en-US"/>
            </a:br>
            <a:r>
              <a:rPr lang="en-US"/>
              <a:t>Name presenter</a:t>
            </a:r>
          </a:p>
        </p:txBody>
      </p:sp>
      <p:sp>
        <p:nvSpPr>
          <p:cNvPr id="9" name="Text Placeholder 6"/>
          <p:cNvSpPr>
            <a:spLocks noGrp="1"/>
          </p:cNvSpPr>
          <p:nvPr>
            <p:ph type="body" sz="quarter" idx="16" hasCustomPrompt="1"/>
          </p:nvPr>
        </p:nvSpPr>
        <p:spPr>
          <a:xfrm>
            <a:off x="768352" y="4651023"/>
            <a:ext cx="6816945" cy="1016000"/>
          </a:xfrm>
          <a:prstGeom prst="rect">
            <a:avLst/>
          </a:prstGeom>
        </p:spPr>
        <p:txBody>
          <a:bodyPr lIns="0" tIns="0" rIns="0" bIns="0">
            <a:normAutofit/>
          </a:bodyPr>
          <a:lstStyle>
            <a:lvl1pPr marL="0" indent="0">
              <a:lnSpc>
                <a:spcPct val="100000"/>
              </a:lnSpc>
              <a:buNone/>
              <a:defRPr sz="2667">
                <a:solidFill>
                  <a:srgbClr val="FF6C00"/>
                </a:solidFill>
              </a:defRPr>
            </a:lvl1pPr>
            <a:lvl2pPr marL="457189" indent="0">
              <a:lnSpc>
                <a:spcPts val="4800"/>
              </a:lnSpc>
              <a:buNone/>
              <a:defRPr sz="4000">
                <a:solidFill>
                  <a:srgbClr val="FF6C00"/>
                </a:solidFill>
              </a:defRPr>
            </a:lvl2pPr>
            <a:lvl3pPr marL="914377" indent="0">
              <a:lnSpc>
                <a:spcPts val="4800"/>
              </a:lnSpc>
              <a:buNone/>
              <a:defRPr sz="4000">
                <a:solidFill>
                  <a:srgbClr val="FF6C00"/>
                </a:solidFill>
              </a:defRPr>
            </a:lvl3pPr>
            <a:lvl4pPr marL="1371566" indent="0">
              <a:lnSpc>
                <a:spcPts val="4800"/>
              </a:lnSpc>
              <a:buNone/>
              <a:defRPr sz="4000">
                <a:solidFill>
                  <a:srgbClr val="FF6C00"/>
                </a:solidFill>
              </a:defRPr>
            </a:lvl4pPr>
            <a:lvl5pPr marL="1828754" indent="0">
              <a:lnSpc>
                <a:spcPts val="4800"/>
              </a:lnSpc>
              <a:buNone/>
              <a:defRPr sz="4000">
                <a:solidFill>
                  <a:srgbClr val="FF6C00"/>
                </a:solidFill>
              </a:defRPr>
            </a:lvl5pPr>
          </a:lstStyle>
          <a:p>
            <a:pPr lvl="0"/>
            <a:r>
              <a:rPr lang="en-US"/>
              <a:t>Subtitle</a:t>
            </a:r>
          </a:p>
        </p:txBody>
      </p:sp>
      <p:sp>
        <p:nvSpPr>
          <p:cNvPr id="16" name="Text Placeholder 9"/>
          <p:cNvSpPr>
            <a:spLocks noGrp="1"/>
          </p:cNvSpPr>
          <p:nvPr>
            <p:ph type="body" sz="quarter" idx="13" hasCustomPrompt="1"/>
          </p:nvPr>
        </p:nvSpPr>
        <p:spPr>
          <a:xfrm>
            <a:off x="768351" y="493184"/>
            <a:ext cx="736600" cy="8128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33"/>
            </a:lvl1pPr>
          </a:lstStyle>
          <a:p>
            <a:pPr lvl="0"/>
            <a:r>
              <a:rPr lang="en-US"/>
              <a:t>.</a:t>
            </a:r>
          </a:p>
        </p:txBody>
      </p:sp>
    </p:spTree>
    <p:extLst>
      <p:ext uri="{BB962C8B-B14F-4D97-AF65-F5344CB8AC3E}">
        <p14:creationId xmlns:p14="http://schemas.microsoft.com/office/powerpoint/2010/main" val="451369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5" pos="5397">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Title slide with dark text and dark logo">
    <p:spTree>
      <p:nvGrpSpPr>
        <p:cNvPr id="1" name=""/>
        <p:cNvGrpSpPr/>
        <p:nvPr/>
      </p:nvGrpSpPr>
      <p:grpSpPr>
        <a:xfrm>
          <a:off x="0" y="0"/>
          <a:ext cx="0" cy="0"/>
          <a:chOff x="0" y="0"/>
          <a:chExt cx="0" cy="0"/>
        </a:xfrm>
      </p:grpSpPr>
      <p:sp>
        <p:nvSpPr>
          <p:cNvPr id="14" name="Picture Placeholder 13"/>
          <p:cNvSpPr>
            <a:spLocks noGrp="1"/>
          </p:cNvSpPr>
          <p:nvPr>
            <p:ph type="pic" sz="quarter" idx="15" hasCustomPrompt="1"/>
          </p:nvPr>
        </p:nvSpPr>
        <p:spPr>
          <a:xfrm>
            <a:off x="0" y="0"/>
            <a:ext cx="12192000" cy="6858000"/>
          </a:xfrm>
          <a:prstGeom prst="rect">
            <a:avLst/>
          </a:prstGeom>
          <a:solidFill>
            <a:schemeClr val="accent6"/>
          </a:solidFill>
        </p:spPr>
        <p:txBody>
          <a:bodyPr>
            <a:normAutofit/>
          </a:bodyPr>
          <a:lstStyle>
            <a:lvl1pPr marL="0" indent="0" algn="ctr">
              <a:lnSpc>
                <a:spcPct val="100000"/>
              </a:lnSpc>
              <a:buNone/>
              <a:defRPr sz="2133" baseline="0"/>
            </a:lvl1pPr>
          </a:lstStyle>
          <a:p>
            <a:r>
              <a:rPr lang="en-US" noProof="0" dirty="0"/>
              <a:t>Drag picture to placeholder or click icon to add</a:t>
            </a:r>
          </a:p>
        </p:txBody>
      </p:sp>
      <p:sp>
        <p:nvSpPr>
          <p:cNvPr id="2" name="Title 1"/>
          <p:cNvSpPr>
            <a:spLocks noGrp="1"/>
          </p:cNvSpPr>
          <p:nvPr>
            <p:ph type="ctrTitle" hasCustomPrompt="1"/>
          </p:nvPr>
        </p:nvSpPr>
        <p:spPr>
          <a:xfrm>
            <a:off x="768352" y="2212623"/>
            <a:ext cx="6816945" cy="2325511"/>
          </a:xfrm>
          <a:prstGeom prst="rect">
            <a:avLst/>
          </a:prstGeom>
        </p:spPr>
        <p:txBody>
          <a:bodyPr lIns="0" tIns="0" rIns="0" bIns="0" anchor="t" anchorCtr="0">
            <a:normAutofit/>
          </a:bodyPr>
          <a:lstStyle>
            <a:lvl1pPr algn="l">
              <a:lnSpc>
                <a:spcPct val="100000"/>
              </a:lnSpc>
              <a:defRPr sz="5067">
                <a:solidFill>
                  <a:srgbClr val="53565A"/>
                </a:solidFill>
              </a:defRPr>
            </a:lvl1pPr>
          </a:lstStyle>
          <a:p>
            <a:r>
              <a:rPr lang="en-US" noProof="0"/>
              <a:t>Click to edit title max over 2x lines</a:t>
            </a:r>
          </a:p>
        </p:txBody>
      </p:sp>
      <p:sp>
        <p:nvSpPr>
          <p:cNvPr id="12" name="Text Placeholder 11"/>
          <p:cNvSpPr>
            <a:spLocks noGrp="1"/>
          </p:cNvSpPr>
          <p:nvPr>
            <p:ph type="body" sz="quarter" idx="14" hasCustomPrompt="1"/>
          </p:nvPr>
        </p:nvSpPr>
        <p:spPr>
          <a:xfrm>
            <a:off x="768352" y="5881637"/>
            <a:ext cx="6816945" cy="653335"/>
          </a:xfrm>
          <a:prstGeom prst="rect">
            <a:avLst/>
          </a:prstGeom>
        </p:spPr>
        <p:txBody>
          <a:bodyPr lIns="0" tIns="0" rIns="0" bIns="0">
            <a:normAutofit/>
          </a:bodyPr>
          <a:lstStyle>
            <a:lvl1pPr marL="0" indent="0">
              <a:lnSpc>
                <a:spcPct val="100000"/>
              </a:lnSpc>
              <a:spcBef>
                <a:spcPts val="0"/>
              </a:spcBef>
              <a:spcAft>
                <a:spcPts val="0"/>
              </a:spcAft>
              <a:buNone/>
              <a:defRPr sz="1733"/>
            </a:lvl1pPr>
            <a:lvl2pPr marL="0" indent="0">
              <a:buNone/>
              <a:defRPr sz="1333"/>
            </a:lvl2pPr>
            <a:lvl3pPr marL="0" indent="0">
              <a:buNone/>
              <a:defRPr sz="1333"/>
            </a:lvl3pPr>
            <a:lvl4pPr marL="0" indent="0">
              <a:buNone/>
              <a:defRPr sz="1333"/>
            </a:lvl4pPr>
            <a:lvl5pPr marL="0" indent="0">
              <a:buNone/>
              <a:defRPr sz="1333"/>
            </a:lvl5pPr>
          </a:lstStyle>
          <a:p>
            <a:pPr lvl="0"/>
            <a:r>
              <a:rPr lang="en-US"/>
              <a:t>Month, year</a:t>
            </a:r>
            <a:br>
              <a:rPr lang="en-US"/>
            </a:br>
            <a:r>
              <a:rPr lang="en-US"/>
              <a:t>Name presenter</a:t>
            </a:r>
          </a:p>
        </p:txBody>
      </p:sp>
      <p:sp>
        <p:nvSpPr>
          <p:cNvPr id="9" name="Text Placeholder 6"/>
          <p:cNvSpPr>
            <a:spLocks noGrp="1"/>
          </p:cNvSpPr>
          <p:nvPr>
            <p:ph type="body" sz="quarter" idx="16" hasCustomPrompt="1"/>
          </p:nvPr>
        </p:nvSpPr>
        <p:spPr>
          <a:xfrm>
            <a:off x="768352" y="4651023"/>
            <a:ext cx="6816945" cy="1016000"/>
          </a:xfrm>
          <a:prstGeom prst="rect">
            <a:avLst/>
          </a:prstGeom>
        </p:spPr>
        <p:txBody>
          <a:bodyPr lIns="0" tIns="0" rIns="0" bIns="0">
            <a:normAutofit/>
          </a:bodyPr>
          <a:lstStyle>
            <a:lvl1pPr marL="0" indent="0">
              <a:lnSpc>
                <a:spcPct val="100000"/>
              </a:lnSpc>
              <a:buNone/>
              <a:defRPr sz="2667">
                <a:solidFill>
                  <a:srgbClr val="FF6C00"/>
                </a:solidFill>
              </a:defRPr>
            </a:lvl1pPr>
            <a:lvl2pPr marL="457189" indent="0">
              <a:lnSpc>
                <a:spcPts val="4800"/>
              </a:lnSpc>
              <a:buNone/>
              <a:defRPr sz="4000">
                <a:solidFill>
                  <a:srgbClr val="FF6C00"/>
                </a:solidFill>
              </a:defRPr>
            </a:lvl2pPr>
            <a:lvl3pPr marL="914377" indent="0">
              <a:lnSpc>
                <a:spcPts val="4800"/>
              </a:lnSpc>
              <a:buNone/>
              <a:defRPr sz="4000">
                <a:solidFill>
                  <a:srgbClr val="FF6C00"/>
                </a:solidFill>
              </a:defRPr>
            </a:lvl3pPr>
            <a:lvl4pPr marL="1371566" indent="0">
              <a:lnSpc>
                <a:spcPts val="4800"/>
              </a:lnSpc>
              <a:buNone/>
              <a:defRPr sz="4000">
                <a:solidFill>
                  <a:srgbClr val="FF6C00"/>
                </a:solidFill>
              </a:defRPr>
            </a:lvl4pPr>
            <a:lvl5pPr marL="1828754" indent="0">
              <a:lnSpc>
                <a:spcPts val="4800"/>
              </a:lnSpc>
              <a:buNone/>
              <a:defRPr sz="4000">
                <a:solidFill>
                  <a:srgbClr val="FF6C00"/>
                </a:solidFill>
              </a:defRPr>
            </a:lvl5pPr>
          </a:lstStyle>
          <a:p>
            <a:pPr lvl="0"/>
            <a:r>
              <a:rPr lang="en-US"/>
              <a:t>Subtitle</a:t>
            </a:r>
          </a:p>
        </p:txBody>
      </p:sp>
      <p:sp>
        <p:nvSpPr>
          <p:cNvPr id="8" name="Text Placeholder 9">
            <a:extLst>
              <a:ext uri="{FF2B5EF4-FFF2-40B4-BE49-F238E27FC236}">
                <a16:creationId xmlns:a16="http://schemas.microsoft.com/office/drawing/2014/main" id="{246A4B26-CBD6-4EC3-9BB2-03D1059EC06C}"/>
              </a:ext>
            </a:extLst>
          </p:cNvPr>
          <p:cNvSpPr>
            <a:spLocks noGrp="1"/>
          </p:cNvSpPr>
          <p:nvPr>
            <p:ph type="body" sz="quarter" idx="13" hasCustomPrompt="1"/>
          </p:nvPr>
        </p:nvSpPr>
        <p:spPr>
          <a:xfrm>
            <a:off x="768351" y="493184"/>
            <a:ext cx="736600" cy="8128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33"/>
            </a:lvl1pPr>
          </a:lstStyle>
          <a:p>
            <a:pPr lvl="0"/>
            <a:r>
              <a:rPr lang="en-US"/>
              <a:t>.</a:t>
            </a:r>
          </a:p>
        </p:txBody>
      </p:sp>
    </p:spTree>
    <p:extLst>
      <p:ext uri="{BB962C8B-B14F-4D97-AF65-F5344CB8AC3E}">
        <p14:creationId xmlns:p14="http://schemas.microsoft.com/office/powerpoint/2010/main" val="118673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Title slide with orange text and dark logo">
    <p:spTree>
      <p:nvGrpSpPr>
        <p:cNvPr id="1" name=""/>
        <p:cNvGrpSpPr/>
        <p:nvPr/>
      </p:nvGrpSpPr>
      <p:grpSpPr>
        <a:xfrm>
          <a:off x="0" y="0"/>
          <a:ext cx="0" cy="0"/>
          <a:chOff x="0" y="0"/>
          <a:chExt cx="0" cy="0"/>
        </a:xfrm>
      </p:grpSpPr>
      <p:sp>
        <p:nvSpPr>
          <p:cNvPr id="14" name="Picture Placeholder 13"/>
          <p:cNvSpPr>
            <a:spLocks noGrp="1"/>
          </p:cNvSpPr>
          <p:nvPr>
            <p:ph type="pic" sz="quarter" idx="15" hasCustomPrompt="1"/>
          </p:nvPr>
        </p:nvSpPr>
        <p:spPr>
          <a:xfrm>
            <a:off x="0" y="0"/>
            <a:ext cx="12192000" cy="6858000"/>
          </a:xfrm>
          <a:prstGeom prst="rect">
            <a:avLst/>
          </a:prstGeom>
          <a:solidFill>
            <a:schemeClr val="accent6"/>
          </a:solidFill>
        </p:spPr>
        <p:txBody>
          <a:bodyPr>
            <a:normAutofit/>
          </a:bodyPr>
          <a:lstStyle>
            <a:lvl1pPr marL="0" indent="0" algn="ctr">
              <a:lnSpc>
                <a:spcPct val="100000"/>
              </a:lnSpc>
              <a:buNone/>
              <a:defRPr sz="2133" baseline="0"/>
            </a:lvl1pPr>
          </a:lstStyle>
          <a:p>
            <a:r>
              <a:rPr lang="en-US" noProof="0" dirty="0"/>
              <a:t>Drag picture to placeholder or click icon to add</a:t>
            </a:r>
          </a:p>
        </p:txBody>
      </p:sp>
      <p:sp>
        <p:nvSpPr>
          <p:cNvPr id="2" name="Title 1"/>
          <p:cNvSpPr>
            <a:spLocks noGrp="1"/>
          </p:cNvSpPr>
          <p:nvPr>
            <p:ph type="ctrTitle" hasCustomPrompt="1"/>
          </p:nvPr>
        </p:nvSpPr>
        <p:spPr>
          <a:xfrm>
            <a:off x="768352" y="2212623"/>
            <a:ext cx="6816945" cy="2325511"/>
          </a:xfrm>
          <a:prstGeom prst="rect">
            <a:avLst/>
          </a:prstGeom>
        </p:spPr>
        <p:txBody>
          <a:bodyPr lIns="0" tIns="0" rIns="0" bIns="0" anchor="t" anchorCtr="0">
            <a:normAutofit/>
          </a:bodyPr>
          <a:lstStyle>
            <a:lvl1pPr algn="l">
              <a:lnSpc>
                <a:spcPct val="100000"/>
              </a:lnSpc>
              <a:defRPr sz="5067">
                <a:solidFill>
                  <a:schemeClr val="accent2"/>
                </a:solidFill>
              </a:defRPr>
            </a:lvl1pPr>
          </a:lstStyle>
          <a:p>
            <a:r>
              <a:rPr lang="en-US" noProof="0"/>
              <a:t>Click to edit title max over 2x lines</a:t>
            </a:r>
          </a:p>
        </p:txBody>
      </p:sp>
      <p:sp>
        <p:nvSpPr>
          <p:cNvPr id="12" name="Text Placeholder 11"/>
          <p:cNvSpPr>
            <a:spLocks noGrp="1"/>
          </p:cNvSpPr>
          <p:nvPr>
            <p:ph type="body" sz="quarter" idx="14" hasCustomPrompt="1"/>
          </p:nvPr>
        </p:nvSpPr>
        <p:spPr>
          <a:xfrm>
            <a:off x="768352" y="5881637"/>
            <a:ext cx="6816945" cy="653335"/>
          </a:xfrm>
          <a:prstGeom prst="rect">
            <a:avLst/>
          </a:prstGeom>
        </p:spPr>
        <p:txBody>
          <a:bodyPr lIns="0" tIns="0" rIns="0" bIns="0">
            <a:normAutofit/>
          </a:bodyPr>
          <a:lstStyle>
            <a:lvl1pPr marL="0" indent="0">
              <a:lnSpc>
                <a:spcPct val="100000"/>
              </a:lnSpc>
              <a:spcBef>
                <a:spcPts val="0"/>
              </a:spcBef>
              <a:spcAft>
                <a:spcPts val="0"/>
              </a:spcAft>
              <a:buNone/>
              <a:defRPr sz="1733"/>
            </a:lvl1pPr>
            <a:lvl2pPr marL="0" indent="0">
              <a:buNone/>
              <a:defRPr sz="1333"/>
            </a:lvl2pPr>
            <a:lvl3pPr marL="0" indent="0">
              <a:buNone/>
              <a:defRPr sz="1333"/>
            </a:lvl3pPr>
            <a:lvl4pPr marL="0" indent="0">
              <a:buNone/>
              <a:defRPr sz="1333"/>
            </a:lvl4pPr>
            <a:lvl5pPr marL="0" indent="0">
              <a:buNone/>
              <a:defRPr sz="1333"/>
            </a:lvl5pPr>
          </a:lstStyle>
          <a:p>
            <a:pPr lvl="0"/>
            <a:r>
              <a:rPr lang="en-US"/>
              <a:t>Month, year</a:t>
            </a:r>
            <a:br>
              <a:rPr lang="en-US"/>
            </a:br>
            <a:r>
              <a:rPr lang="en-US"/>
              <a:t>Name presenter</a:t>
            </a:r>
          </a:p>
        </p:txBody>
      </p:sp>
      <p:sp>
        <p:nvSpPr>
          <p:cNvPr id="9" name="Text Placeholder 6"/>
          <p:cNvSpPr>
            <a:spLocks noGrp="1"/>
          </p:cNvSpPr>
          <p:nvPr>
            <p:ph type="body" sz="quarter" idx="16" hasCustomPrompt="1"/>
          </p:nvPr>
        </p:nvSpPr>
        <p:spPr>
          <a:xfrm>
            <a:off x="768352" y="4651023"/>
            <a:ext cx="6816945" cy="1016000"/>
          </a:xfrm>
          <a:prstGeom prst="rect">
            <a:avLst/>
          </a:prstGeom>
        </p:spPr>
        <p:txBody>
          <a:bodyPr lIns="0" tIns="0" rIns="0" bIns="0">
            <a:normAutofit/>
          </a:bodyPr>
          <a:lstStyle>
            <a:lvl1pPr marL="0" indent="0">
              <a:lnSpc>
                <a:spcPct val="100000"/>
              </a:lnSpc>
              <a:buNone/>
              <a:defRPr sz="2667">
                <a:solidFill>
                  <a:srgbClr val="FF6C00"/>
                </a:solidFill>
              </a:defRPr>
            </a:lvl1pPr>
            <a:lvl2pPr marL="457189" indent="0">
              <a:lnSpc>
                <a:spcPts val="4800"/>
              </a:lnSpc>
              <a:buNone/>
              <a:defRPr sz="4000">
                <a:solidFill>
                  <a:srgbClr val="FF6C00"/>
                </a:solidFill>
              </a:defRPr>
            </a:lvl2pPr>
            <a:lvl3pPr marL="914377" indent="0">
              <a:lnSpc>
                <a:spcPts val="4800"/>
              </a:lnSpc>
              <a:buNone/>
              <a:defRPr sz="4000">
                <a:solidFill>
                  <a:srgbClr val="FF6C00"/>
                </a:solidFill>
              </a:defRPr>
            </a:lvl3pPr>
            <a:lvl4pPr marL="1371566" indent="0">
              <a:lnSpc>
                <a:spcPts val="4800"/>
              </a:lnSpc>
              <a:buNone/>
              <a:defRPr sz="4000">
                <a:solidFill>
                  <a:srgbClr val="FF6C00"/>
                </a:solidFill>
              </a:defRPr>
            </a:lvl4pPr>
            <a:lvl5pPr marL="1828754" indent="0">
              <a:lnSpc>
                <a:spcPts val="4800"/>
              </a:lnSpc>
              <a:buNone/>
              <a:defRPr sz="4000">
                <a:solidFill>
                  <a:srgbClr val="FF6C00"/>
                </a:solidFill>
              </a:defRPr>
            </a:lvl5pPr>
          </a:lstStyle>
          <a:p>
            <a:pPr lvl="0"/>
            <a:r>
              <a:rPr lang="en-US"/>
              <a:t>Subtitle</a:t>
            </a:r>
          </a:p>
        </p:txBody>
      </p:sp>
      <p:sp>
        <p:nvSpPr>
          <p:cNvPr id="8" name="Text Placeholder 9">
            <a:extLst>
              <a:ext uri="{FF2B5EF4-FFF2-40B4-BE49-F238E27FC236}">
                <a16:creationId xmlns:a16="http://schemas.microsoft.com/office/drawing/2014/main" id="{8C401EA3-16A6-47D3-9D6E-A27DFE2287EA}"/>
              </a:ext>
            </a:extLst>
          </p:cNvPr>
          <p:cNvSpPr>
            <a:spLocks noGrp="1"/>
          </p:cNvSpPr>
          <p:nvPr>
            <p:ph type="body" sz="quarter" idx="13" hasCustomPrompt="1"/>
          </p:nvPr>
        </p:nvSpPr>
        <p:spPr>
          <a:xfrm>
            <a:off x="768351" y="493184"/>
            <a:ext cx="736600" cy="8128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33"/>
            </a:lvl1pPr>
          </a:lstStyle>
          <a:p>
            <a:pPr lvl="0"/>
            <a:r>
              <a:rPr lang="en-US"/>
              <a:t>.</a:t>
            </a:r>
          </a:p>
        </p:txBody>
      </p:sp>
    </p:spTree>
    <p:extLst>
      <p:ext uri="{BB962C8B-B14F-4D97-AF65-F5344CB8AC3E}">
        <p14:creationId xmlns:p14="http://schemas.microsoft.com/office/powerpoint/2010/main" val="3785058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Title slide with white text and white logo">
    <p:spTree>
      <p:nvGrpSpPr>
        <p:cNvPr id="1" name=""/>
        <p:cNvGrpSpPr/>
        <p:nvPr/>
      </p:nvGrpSpPr>
      <p:grpSpPr>
        <a:xfrm>
          <a:off x="0" y="0"/>
          <a:ext cx="0" cy="0"/>
          <a:chOff x="0" y="0"/>
          <a:chExt cx="0" cy="0"/>
        </a:xfrm>
      </p:grpSpPr>
      <p:sp>
        <p:nvSpPr>
          <p:cNvPr id="14" name="AchtergrondBeeld"/>
          <p:cNvSpPr>
            <a:spLocks noGrp="1"/>
          </p:cNvSpPr>
          <p:nvPr>
            <p:ph type="pic" sz="quarter" idx="15" hasCustomPrompt="1"/>
          </p:nvPr>
        </p:nvSpPr>
        <p:spPr>
          <a:xfrm>
            <a:off x="0" y="0"/>
            <a:ext cx="12192000" cy="6858000"/>
          </a:xfrm>
          <a:prstGeom prst="rect">
            <a:avLst/>
          </a:prstGeom>
          <a:solidFill>
            <a:srgbClr val="3E4043">
              <a:alpha val="14902"/>
            </a:srgbClr>
          </a:solidFill>
        </p:spPr>
        <p:txBody>
          <a:bodyPr>
            <a:normAutofit/>
          </a:bodyPr>
          <a:lstStyle>
            <a:lvl1pPr marL="0" indent="0" algn="ctr">
              <a:lnSpc>
                <a:spcPct val="100000"/>
              </a:lnSpc>
              <a:buNone/>
              <a:defRPr sz="2133" baseline="0"/>
            </a:lvl1pPr>
          </a:lstStyle>
          <a:p>
            <a:r>
              <a:rPr lang="en-US" noProof="0" dirty="0"/>
              <a:t>Drag picture to placeholder or click icon to add</a:t>
            </a:r>
          </a:p>
        </p:txBody>
      </p:sp>
      <p:sp>
        <p:nvSpPr>
          <p:cNvPr id="12" name="Text Placeholder 11"/>
          <p:cNvSpPr>
            <a:spLocks noGrp="1"/>
          </p:cNvSpPr>
          <p:nvPr>
            <p:ph type="body" sz="quarter" idx="14" hasCustomPrompt="1"/>
          </p:nvPr>
        </p:nvSpPr>
        <p:spPr>
          <a:xfrm>
            <a:off x="768352" y="5881637"/>
            <a:ext cx="6816945" cy="653335"/>
          </a:xfrm>
          <a:prstGeom prst="rect">
            <a:avLst/>
          </a:prstGeom>
        </p:spPr>
        <p:txBody>
          <a:bodyPr lIns="0" tIns="0" rIns="0" bIns="0">
            <a:normAutofit/>
          </a:bodyPr>
          <a:lstStyle>
            <a:lvl1pPr marL="0" indent="0">
              <a:lnSpc>
                <a:spcPct val="100000"/>
              </a:lnSpc>
              <a:spcBef>
                <a:spcPts val="0"/>
              </a:spcBef>
              <a:spcAft>
                <a:spcPts val="0"/>
              </a:spcAft>
              <a:buNone/>
              <a:defRPr sz="1733">
                <a:solidFill>
                  <a:schemeClr val="bg1"/>
                </a:solidFill>
              </a:defRPr>
            </a:lvl1pPr>
            <a:lvl2pPr marL="0" indent="0">
              <a:buNone/>
              <a:defRPr sz="1333"/>
            </a:lvl2pPr>
            <a:lvl3pPr marL="0" indent="0">
              <a:buNone/>
              <a:defRPr sz="1333"/>
            </a:lvl3pPr>
            <a:lvl4pPr marL="0" indent="0">
              <a:buNone/>
              <a:defRPr sz="1333"/>
            </a:lvl4pPr>
            <a:lvl5pPr marL="0" indent="0">
              <a:buNone/>
              <a:defRPr sz="1333"/>
            </a:lvl5pPr>
          </a:lstStyle>
          <a:p>
            <a:pPr lvl="0"/>
            <a:r>
              <a:rPr lang="en-US"/>
              <a:t>Month, year</a:t>
            </a:r>
            <a:br>
              <a:rPr lang="en-US"/>
            </a:br>
            <a:r>
              <a:rPr lang="en-US"/>
              <a:t>Name presenter</a:t>
            </a:r>
          </a:p>
        </p:txBody>
      </p:sp>
      <p:sp>
        <p:nvSpPr>
          <p:cNvPr id="20" name="Title 1"/>
          <p:cNvSpPr>
            <a:spLocks noGrp="1"/>
          </p:cNvSpPr>
          <p:nvPr>
            <p:ph type="ctrTitle" hasCustomPrompt="1"/>
          </p:nvPr>
        </p:nvSpPr>
        <p:spPr>
          <a:xfrm>
            <a:off x="768352" y="2212623"/>
            <a:ext cx="6816945" cy="2325511"/>
          </a:xfrm>
          <a:prstGeom prst="rect">
            <a:avLst/>
          </a:prstGeom>
        </p:spPr>
        <p:txBody>
          <a:bodyPr lIns="0" tIns="0" rIns="0" bIns="0" anchor="t" anchorCtr="0">
            <a:normAutofit/>
          </a:bodyPr>
          <a:lstStyle>
            <a:lvl1pPr algn="l">
              <a:lnSpc>
                <a:spcPct val="100000"/>
              </a:lnSpc>
              <a:defRPr sz="5067">
                <a:solidFill>
                  <a:schemeClr val="bg1"/>
                </a:solidFill>
              </a:defRPr>
            </a:lvl1pPr>
          </a:lstStyle>
          <a:p>
            <a:r>
              <a:rPr lang="en-US" noProof="0"/>
              <a:t>Click to edit title max over 2x lines</a:t>
            </a:r>
          </a:p>
        </p:txBody>
      </p:sp>
      <p:sp>
        <p:nvSpPr>
          <p:cNvPr id="21" name="Text Placeholder 6"/>
          <p:cNvSpPr>
            <a:spLocks noGrp="1"/>
          </p:cNvSpPr>
          <p:nvPr>
            <p:ph type="body" sz="quarter" idx="16" hasCustomPrompt="1"/>
          </p:nvPr>
        </p:nvSpPr>
        <p:spPr>
          <a:xfrm>
            <a:off x="768352" y="4651023"/>
            <a:ext cx="6816945" cy="1016000"/>
          </a:xfrm>
          <a:prstGeom prst="rect">
            <a:avLst/>
          </a:prstGeom>
        </p:spPr>
        <p:txBody>
          <a:bodyPr lIns="0" tIns="0" rIns="0" bIns="0">
            <a:normAutofit/>
          </a:bodyPr>
          <a:lstStyle>
            <a:lvl1pPr marL="0" indent="0">
              <a:lnSpc>
                <a:spcPct val="100000"/>
              </a:lnSpc>
              <a:buNone/>
              <a:defRPr sz="2667">
                <a:solidFill>
                  <a:srgbClr val="FF6C00"/>
                </a:solidFill>
              </a:defRPr>
            </a:lvl1pPr>
            <a:lvl2pPr marL="457189" indent="0">
              <a:lnSpc>
                <a:spcPts val="4800"/>
              </a:lnSpc>
              <a:buNone/>
              <a:defRPr sz="4000">
                <a:solidFill>
                  <a:srgbClr val="FF6C00"/>
                </a:solidFill>
              </a:defRPr>
            </a:lvl2pPr>
            <a:lvl3pPr marL="914377" indent="0">
              <a:lnSpc>
                <a:spcPts val="4800"/>
              </a:lnSpc>
              <a:buNone/>
              <a:defRPr sz="4000">
                <a:solidFill>
                  <a:srgbClr val="FF6C00"/>
                </a:solidFill>
              </a:defRPr>
            </a:lvl3pPr>
            <a:lvl4pPr marL="1371566" indent="0">
              <a:lnSpc>
                <a:spcPts val="4800"/>
              </a:lnSpc>
              <a:buNone/>
              <a:defRPr sz="4000">
                <a:solidFill>
                  <a:srgbClr val="FF6C00"/>
                </a:solidFill>
              </a:defRPr>
            </a:lvl4pPr>
            <a:lvl5pPr marL="1828754" indent="0">
              <a:lnSpc>
                <a:spcPts val="4800"/>
              </a:lnSpc>
              <a:buNone/>
              <a:defRPr sz="4000">
                <a:solidFill>
                  <a:srgbClr val="FF6C00"/>
                </a:solidFill>
              </a:defRPr>
            </a:lvl5pPr>
          </a:lstStyle>
          <a:p>
            <a:pPr lvl="0"/>
            <a:r>
              <a:rPr lang="en-US"/>
              <a:t>Subtitle</a:t>
            </a:r>
          </a:p>
        </p:txBody>
      </p:sp>
      <p:sp>
        <p:nvSpPr>
          <p:cNvPr id="7" name="Text Placeholder 9">
            <a:extLst>
              <a:ext uri="{FF2B5EF4-FFF2-40B4-BE49-F238E27FC236}">
                <a16:creationId xmlns:a16="http://schemas.microsoft.com/office/drawing/2014/main" id="{F59E71B1-F750-4435-986C-7F9EF2056098}"/>
              </a:ext>
            </a:extLst>
          </p:cNvPr>
          <p:cNvSpPr>
            <a:spLocks noGrp="1"/>
          </p:cNvSpPr>
          <p:nvPr>
            <p:ph type="body" sz="quarter" idx="13" hasCustomPrompt="1"/>
          </p:nvPr>
        </p:nvSpPr>
        <p:spPr>
          <a:xfrm>
            <a:off x="768351" y="493184"/>
            <a:ext cx="736600" cy="8128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33"/>
            </a:lvl1pPr>
          </a:lstStyle>
          <a:p>
            <a:pPr lvl="0"/>
            <a:r>
              <a:rPr lang="en-US"/>
              <a:t>.</a:t>
            </a:r>
          </a:p>
        </p:txBody>
      </p:sp>
    </p:spTree>
    <p:extLst>
      <p:ext uri="{BB962C8B-B14F-4D97-AF65-F5344CB8AC3E}">
        <p14:creationId xmlns:p14="http://schemas.microsoft.com/office/powerpoint/2010/main" val="848418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Title slide with orange text and white logo">
    <p:spTree>
      <p:nvGrpSpPr>
        <p:cNvPr id="1" name=""/>
        <p:cNvGrpSpPr/>
        <p:nvPr/>
      </p:nvGrpSpPr>
      <p:grpSpPr>
        <a:xfrm>
          <a:off x="0" y="0"/>
          <a:ext cx="0" cy="0"/>
          <a:chOff x="0" y="0"/>
          <a:chExt cx="0" cy="0"/>
        </a:xfrm>
      </p:grpSpPr>
      <p:sp>
        <p:nvSpPr>
          <p:cNvPr id="14" name="AchtergrondBeeld"/>
          <p:cNvSpPr>
            <a:spLocks noGrp="1"/>
          </p:cNvSpPr>
          <p:nvPr>
            <p:ph type="pic" sz="quarter" idx="15" hasCustomPrompt="1"/>
          </p:nvPr>
        </p:nvSpPr>
        <p:spPr>
          <a:xfrm>
            <a:off x="0" y="0"/>
            <a:ext cx="12192000" cy="6858000"/>
          </a:xfrm>
          <a:prstGeom prst="rect">
            <a:avLst/>
          </a:prstGeom>
          <a:solidFill>
            <a:srgbClr val="3E4043">
              <a:alpha val="14902"/>
            </a:srgbClr>
          </a:solidFill>
        </p:spPr>
        <p:txBody>
          <a:bodyPr>
            <a:normAutofit/>
          </a:bodyPr>
          <a:lstStyle>
            <a:lvl1pPr marL="0" indent="0" algn="ctr">
              <a:lnSpc>
                <a:spcPct val="100000"/>
              </a:lnSpc>
              <a:buNone/>
              <a:defRPr sz="2133" baseline="0"/>
            </a:lvl1pPr>
          </a:lstStyle>
          <a:p>
            <a:r>
              <a:rPr lang="en-US" noProof="0" dirty="0"/>
              <a:t>Drag picture to placeholder or click icon to add</a:t>
            </a:r>
          </a:p>
        </p:txBody>
      </p:sp>
      <p:sp>
        <p:nvSpPr>
          <p:cNvPr id="12" name="Text Placeholder 11"/>
          <p:cNvSpPr>
            <a:spLocks noGrp="1"/>
          </p:cNvSpPr>
          <p:nvPr>
            <p:ph type="body" sz="quarter" idx="14" hasCustomPrompt="1"/>
          </p:nvPr>
        </p:nvSpPr>
        <p:spPr>
          <a:xfrm>
            <a:off x="768352" y="5881637"/>
            <a:ext cx="6816945" cy="653335"/>
          </a:xfrm>
          <a:prstGeom prst="rect">
            <a:avLst/>
          </a:prstGeom>
        </p:spPr>
        <p:txBody>
          <a:bodyPr lIns="0" tIns="0" rIns="0" bIns="0">
            <a:normAutofit/>
          </a:bodyPr>
          <a:lstStyle>
            <a:lvl1pPr marL="0" indent="0">
              <a:lnSpc>
                <a:spcPct val="100000"/>
              </a:lnSpc>
              <a:spcBef>
                <a:spcPts val="0"/>
              </a:spcBef>
              <a:spcAft>
                <a:spcPts val="0"/>
              </a:spcAft>
              <a:buNone/>
              <a:defRPr sz="1733">
                <a:solidFill>
                  <a:schemeClr val="bg1"/>
                </a:solidFill>
              </a:defRPr>
            </a:lvl1pPr>
            <a:lvl2pPr marL="0" indent="0">
              <a:buNone/>
              <a:defRPr sz="1333"/>
            </a:lvl2pPr>
            <a:lvl3pPr marL="0" indent="0">
              <a:buNone/>
              <a:defRPr sz="1333"/>
            </a:lvl3pPr>
            <a:lvl4pPr marL="0" indent="0">
              <a:buNone/>
              <a:defRPr sz="1333"/>
            </a:lvl4pPr>
            <a:lvl5pPr marL="0" indent="0">
              <a:buNone/>
              <a:defRPr sz="1333"/>
            </a:lvl5pPr>
          </a:lstStyle>
          <a:p>
            <a:pPr lvl="0"/>
            <a:r>
              <a:rPr lang="en-US"/>
              <a:t>Month, year</a:t>
            </a:r>
            <a:br>
              <a:rPr lang="en-US"/>
            </a:br>
            <a:r>
              <a:rPr lang="en-US"/>
              <a:t>Name presenter</a:t>
            </a:r>
          </a:p>
        </p:txBody>
      </p:sp>
      <p:sp>
        <p:nvSpPr>
          <p:cNvPr id="20" name="Title 1"/>
          <p:cNvSpPr>
            <a:spLocks noGrp="1"/>
          </p:cNvSpPr>
          <p:nvPr>
            <p:ph type="ctrTitle" hasCustomPrompt="1"/>
          </p:nvPr>
        </p:nvSpPr>
        <p:spPr>
          <a:xfrm>
            <a:off x="768352" y="2212623"/>
            <a:ext cx="6816945" cy="2325511"/>
          </a:xfrm>
          <a:prstGeom prst="rect">
            <a:avLst/>
          </a:prstGeom>
        </p:spPr>
        <p:txBody>
          <a:bodyPr lIns="0" tIns="0" rIns="0" bIns="0" anchor="t" anchorCtr="0">
            <a:normAutofit/>
          </a:bodyPr>
          <a:lstStyle>
            <a:lvl1pPr algn="l">
              <a:lnSpc>
                <a:spcPct val="100000"/>
              </a:lnSpc>
              <a:defRPr sz="5067">
                <a:solidFill>
                  <a:schemeClr val="accent2"/>
                </a:solidFill>
              </a:defRPr>
            </a:lvl1pPr>
          </a:lstStyle>
          <a:p>
            <a:r>
              <a:rPr lang="en-US" noProof="0"/>
              <a:t>Click to edit title max over 2x lines</a:t>
            </a:r>
          </a:p>
        </p:txBody>
      </p:sp>
      <p:sp>
        <p:nvSpPr>
          <p:cNvPr id="21" name="Text Placeholder 6"/>
          <p:cNvSpPr>
            <a:spLocks noGrp="1"/>
          </p:cNvSpPr>
          <p:nvPr>
            <p:ph type="body" sz="quarter" idx="16" hasCustomPrompt="1"/>
          </p:nvPr>
        </p:nvSpPr>
        <p:spPr>
          <a:xfrm>
            <a:off x="768352" y="4651023"/>
            <a:ext cx="6816945" cy="1016000"/>
          </a:xfrm>
          <a:prstGeom prst="rect">
            <a:avLst/>
          </a:prstGeom>
        </p:spPr>
        <p:txBody>
          <a:bodyPr lIns="0" tIns="0" rIns="0" bIns="0">
            <a:normAutofit/>
          </a:bodyPr>
          <a:lstStyle>
            <a:lvl1pPr marL="0" indent="0">
              <a:lnSpc>
                <a:spcPct val="100000"/>
              </a:lnSpc>
              <a:buNone/>
              <a:defRPr sz="2667">
                <a:solidFill>
                  <a:srgbClr val="FF6C00"/>
                </a:solidFill>
              </a:defRPr>
            </a:lvl1pPr>
            <a:lvl2pPr marL="457189" indent="0">
              <a:lnSpc>
                <a:spcPts val="4800"/>
              </a:lnSpc>
              <a:buNone/>
              <a:defRPr sz="4000">
                <a:solidFill>
                  <a:srgbClr val="FF6C00"/>
                </a:solidFill>
              </a:defRPr>
            </a:lvl2pPr>
            <a:lvl3pPr marL="914377" indent="0">
              <a:lnSpc>
                <a:spcPts val="4800"/>
              </a:lnSpc>
              <a:buNone/>
              <a:defRPr sz="4000">
                <a:solidFill>
                  <a:srgbClr val="FF6C00"/>
                </a:solidFill>
              </a:defRPr>
            </a:lvl3pPr>
            <a:lvl4pPr marL="1371566" indent="0">
              <a:lnSpc>
                <a:spcPts val="4800"/>
              </a:lnSpc>
              <a:buNone/>
              <a:defRPr sz="4000">
                <a:solidFill>
                  <a:srgbClr val="FF6C00"/>
                </a:solidFill>
              </a:defRPr>
            </a:lvl4pPr>
            <a:lvl5pPr marL="1828754" indent="0">
              <a:lnSpc>
                <a:spcPts val="4800"/>
              </a:lnSpc>
              <a:buNone/>
              <a:defRPr sz="4000">
                <a:solidFill>
                  <a:srgbClr val="FF6C00"/>
                </a:solidFill>
              </a:defRPr>
            </a:lvl5pPr>
          </a:lstStyle>
          <a:p>
            <a:pPr lvl="0"/>
            <a:r>
              <a:rPr lang="en-US"/>
              <a:t>Subtitle</a:t>
            </a:r>
          </a:p>
        </p:txBody>
      </p:sp>
      <p:sp>
        <p:nvSpPr>
          <p:cNvPr id="8" name="Text Placeholder 9">
            <a:extLst>
              <a:ext uri="{FF2B5EF4-FFF2-40B4-BE49-F238E27FC236}">
                <a16:creationId xmlns:a16="http://schemas.microsoft.com/office/drawing/2014/main" id="{0E6E70A5-8AF3-4A7A-B204-A2BBA103534A}"/>
              </a:ext>
            </a:extLst>
          </p:cNvPr>
          <p:cNvSpPr>
            <a:spLocks noGrp="1"/>
          </p:cNvSpPr>
          <p:nvPr>
            <p:ph type="body" sz="quarter" idx="13" hasCustomPrompt="1"/>
          </p:nvPr>
        </p:nvSpPr>
        <p:spPr>
          <a:xfrm>
            <a:off x="768351" y="493184"/>
            <a:ext cx="736600" cy="8128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33"/>
            </a:lvl1pPr>
          </a:lstStyle>
          <a:p>
            <a:pPr lvl="0"/>
            <a:r>
              <a:rPr lang="en-US"/>
              <a:t>.</a:t>
            </a:r>
          </a:p>
        </p:txBody>
      </p:sp>
    </p:spTree>
    <p:extLst>
      <p:ext uri="{BB962C8B-B14F-4D97-AF65-F5344CB8AC3E}">
        <p14:creationId xmlns:p14="http://schemas.microsoft.com/office/powerpoint/2010/main" val="4000171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Title slide with orange and gray text and white logo">
    <p:spTree>
      <p:nvGrpSpPr>
        <p:cNvPr id="1" name=""/>
        <p:cNvGrpSpPr/>
        <p:nvPr/>
      </p:nvGrpSpPr>
      <p:grpSpPr>
        <a:xfrm>
          <a:off x="0" y="0"/>
          <a:ext cx="0" cy="0"/>
          <a:chOff x="0" y="0"/>
          <a:chExt cx="0" cy="0"/>
        </a:xfrm>
      </p:grpSpPr>
      <p:sp>
        <p:nvSpPr>
          <p:cNvPr id="14" name="AchtergrondBeeld"/>
          <p:cNvSpPr>
            <a:spLocks noGrp="1"/>
          </p:cNvSpPr>
          <p:nvPr>
            <p:ph type="pic" sz="quarter" idx="15" hasCustomPrompt="1"/>
          </p:nvPr>
        </p:nvSpPr>
        <p:spPr>
          <a:xfrm>
            <a:off x="0" y="0"/>
            <a:ext cx="12192000" cy="6858000"/>
          </a:xfrm>
          <a:prstGeom prst="rect">
            <a:avLst/>
          </a:prstGeom>
          <a:solidFill>
            <a:srgbClr val="3E4043">
              <a:alpha val="14902"/>
            </a:srgbClr>
          </a:solidFill>
        </p:spPr>
        <p:txBody>
          <a:bodyPr>
            <a:normAutofit/>
          </a:bodyPr>
          <a:lstStyle>
            <a:lvl1pPr marL="0" indent="0" algn="ctr">
              <a:lnSpc>
                <a:spcPct val="100000"/>
              </a:lnSpc>
              <a:buNone/>
              <a:defRPr sz="2133" baseline="0"/>
            </a:lvl1pPr>
          </a:lstStyle>
          <a:p>
            <a:r>
              <a:rPr lang="en-US" noProof="0" dirty="0"/>
              <a:t>Drag picture to placeholder or click icon to add</a:t>
            </a:r>
          </a:p>
        </p:txBody>
      </p:sp>
      <p:sp>
        <p:nvSpPr>
          <p:cNvPr id="12" name="Text Placeholder 11"/>
          <p:cNvSpPr>
            <a:spLocks noGrp="1"/>
          </p:cNvSpPr>
          <p:nvPr>
            <p:ph type="body" sz="quarter" idx="14" hasCustomPrompt="1"/>
          </p:nvPr>
        </p:nvSpPr>
        <p:spPr>
          <a:xfrm>
            <a:off x="768352" y="5881637"/>
            <a:ext cx="6816945" cy="653335"/>
          </a:xfrm>
          <a:prstGeom prst="rect">
            <a:avLst/>
          </a:prstGeom>
        </p:spPr>
        <p:txBody>
          <a:bodyPr lIns="0" tIns="0" rIns="0" bIns="0">
            <a:normAutofit/>
          </a:bodyPr>
          <a:lstStyle>
            <a:lvl1pPr marL="0" indent="0">
              <a:lnSpc>
                <a:spcPct val="100000"/>
              </a:lnSpc>
              <a:spcBef>
                <a:spcPts val="0"/>
              </a:spcBef>
              <a:spcAft>
                <a:spcPts val="0"/>
              </a:spcAft>
              <a:buNone/>
              <a:defRPr sz="1733">
                <a:solidFill>
                  <a:schemeClr val="tx1"/>
                </a:solidFill>
              </a:defRPr>
            </a:lvl1pPr>
            <a:lvl2pPr marL="0" indent="0">
              <a:buNone/>
              <a:defRPr sz="1333"/>
            </a:lvl2pPr>
            <a:lvl3pPr marL="0" indent="0">
              <a:buNone/>
              <a:defRPr sz="1333"/>
            </a:lvl3pPr>
            <a:lvl4pPr marL="0" indent="0">
              <a:buNone/>
              <a:defRPr sz="1333"/>
            </a:lvl4pPr>
            <a:lvl5pPr marL="0" indent="0">
              <a:buNone/>
              <a:defRPr sz="1333"/>
            </a:lvl5pPr>
          </a:lstStyle>
          <a:p>
            <a:pPr lvl="0"/>
            <a:r>
              <a:rPr lang="en-US"/>
              <a:t>Month, year</a:t>
            </a:r>
            <a:br>
              <a:rPr lang="en-US"/>
            </a:br>
            <a:r>
              <a:rPr lang="en-US"/>
              <a:t>Name presenter</a:t>
            </a:r>
          </a:p>
        </p:txBody>
      </p:sp>
      <p:sp>
        <p:nvSpPr>
          <p:cNvPr id="20" name="Title 1"/>
          <p:cNvSpPr>
            <a:spLocks noGrp="1"/>
          </p:cNvSpPr>
          <p:nvPr>
            <p:ph type="ctrTitle" hasCustomPrompt="1"/>
          </p:nvPr>
        </p:nvSpPr>
        <p:spPr>
          <a:xfrm>
            <a:off x="768352" y="2212623"/>
            <a:ext cx="6816945" cy="2325511"/>
          </a:xfrm>
          <a:prstGeom prst="rect">
            <a:avLst/>
          </a:prstGeom>
        </p:spPr>
        <p:txBody>
          <a:bodyPr lIns="0" tIns="0" rIns="0" bIns="0" anchor="t" anchorCtr="0">
            <a:normAutofit/>
          </a:bodyPr>
          <a:lstStyle>
            <a:lvl1pPr algn="l">
              <a:lnSpc>
                <a:spcPct val="100000"/>
              </a:lnSpc>
              <a:defRPr sz="5067">
                <a:solidFill>
                  <a:schemeClr val="accent2"/>
                </a:solidFill>
              </a:defRPr>
            </a:lvl1pPr>
          </a:lstStyle>
          <a:p>
            <a:r>
              <a:rPr lang="en-US" noProof="0"/>
              <a:t>Click to edit title max over 2x lines</a:t>
            </a:r>
          </a:p>
        </p:txBody>
      </p:sp>
      <p:sp>
        <p:nvSpPr>
          <p:cNvPr id="21" name="Text Placeholder 6"/>
          <p:cNvSpPr>
            <a:spLocks noGrp="1"/>
          </p:cNvSpPr>
          <p:nvPr>
            <p:ph type="body" sz="quarter" idx="16" hasCustomPrompt="1"/>
          </p:nvPr>
        </p:nvSpPr>
        <p:spPr>
          <a:xfrm>
            <a:off x="768352" y="4651023"/>
            <a:ext cx="6816945" cy="1016000"/>
          </a:xfrm>
          <a:prstGeom prst="rect">
            <a:avLst/>
          </a:prstGeom>
        </p:spPr>
        <p:txBody>
          <a:bodyPr lIns="0" tIns="0" rIns="0" bIns="0">
            <a:normAutofit/>
          </a:bodyPr>
          <a:lstStyle>
            <a:lvl1pPr marL="0" indent="0">
              <a:lnSpc>
                <a:spcPct val="100000"/>
              </a:lnSpc>
              <a:buNone/>
              <a:defRPr sz="2667">
                <a:solidFill>
                  <a:srgbClr val="FF6C00"/>
                </a:solidFill>
              </a:defRPr>
            </a:lvl1pPr>
            <a:lvl2pPr marL="457189" indent="0">
              <a:lnSpc>
                <a:spcPts val="4800"/>
              </a:lnSpc>
              <a:buNone/>
              <a:defRPr sz="4000">
                <a:solidFill>
                  <a:srgbClr val="FF6C00"/>
                </a:solidFill>
              </a:defRPr>
            </a:lvl2pPr>
            <a:lvl3pPr marL="914377" indent="0">
              <a:lnSpc>
                <a:spcPts val="4800"/>
              </a:lnSpc>
              <a:buNone/>
              <a:defRPr sz="4000">
                <a:solidFill>
                  <a:srgbClr val="FF6C00"/>
                </a:solidFill>
              </a:defRPr>
            </a:lvl3pPr>
            <a:lvl4pPr marL="1371566" indent="0">
              <a:lnSpc>
                <a:spcPts val="4800"/>
              </a:lnSpc>
              <a:buNone/>
              <a:defRPr sz="4000">
                <a:solidFill>
                  <a:srgbClr val="FF6C00"/>
                </a:solidFill>
              </a:defRPr>
            </a:lvl4pPr>
            <a:lvl5pPr marL="1828754" indent="0">
              <a:lnSpc>
                <a:spcPts val="4800"/>
              </a:lnSpc>
              <a:buNone/>
              <a:defRPr sz="4000">
                <a:solidFill>
                  <a:srgbClr val="FF6C00"/>
                </a:solidFill>
              </a:defRPr>
            </a:lvl5pPr>
          </a:lstStyle>
          <a:p>
            <a:pPr lvl="0"/>
            <a:r>
              <a:rPr lang="en-US"/>
              <a:t>Subtitle</a:t>
            </a:r>
          </a:p>
        </p:txBody>
      </p:sp>
      <p:sp>
        <p:nvSpPr>
          <p:cNvPr id="8" name="Text Placeholder 9">
            <a:extLst>
              <a:ext uri="{FF2B5EF4-FFF2-40B4-BE49-F238E27FC236}">
                <a16:creationId xmlns:a16="http://schemas.microsoft.com/office/drawing/2014/main" id="{0E6E70A5-8AF3-4A7A-B204-A2BBA103534A}"/>
              </a:ext>
            </a:extLst>
          </p:cNvPr>
          <p:cNvSpPr>
            <a:spLocks noGrp="1"/>
          </p:cNvSpPr>
          <p:nvPr>
            <p:ph type="body" sz="quarter" idx="13" hasCustomPrompt="1"/>
          </p:nvPr>
        </p:nvSpPr>
        <p:spPr>
          <a:xfrm>
            <a:off x="768351" y="493184"/>
            <a:ext cx="736600" cy="8128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33"/>
            </a:lvl1pPr>
          </a:lstStyle>
          <a:p>
            <a:pPr lvl="0"/>
            <a:r>
              <a:rPr lang="en-US"/>
              <a:t>.</a:t>
            </a:r>
          </a:p>
        </p:txBody>
      </p:sp>
    </p:spTree>
    <p:extLst>
      <p:ext uri="{BB962C8B-B14F-4D97-AF65-F5344CB8AC3E}">
        <p14:creationId xmlns:p14="http://schemas.microsoft.com/office/powerpoint/2010/main" val="476365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Main title slide with subtitle">
    <p:spTree>
      <p:nvGrpSpPr>
        <p:cNvPr id="1" name=""/>
        <p:cNvGrpSpPr/>
        <p:nvPr/>
      </p:nvGrpSpPr>
      <p:grpSpPr>
        <a:xfrm>
          <a:off x="0" y="0"/>
          <a:ext cx="0" cy="0"/>
          <a:chOff x="0" y="0"/>
          <a:chExt cx="0" cy="0"/>
        </a:xfrm>
      </p:grpSpPr>
      <p:sp>
        <p:nvSpPr>
          <p:cNvPr id="18" name="Text Placeholder 11"/>
          <p:cNvSpPr>
            <a:spLocks noGrp="1"/>
          </p:cNvSpPr>
          <p:nvPr>
            <p:ph type="body" sz="quarter" idx="14" hasCustomPrompt="1"/>
          </p:nvPr>
        </p:nvSpPr>
        <p:spPr>
          <a:xfrm>
            <a:off x="768352" y="5881637"/>
            <a:ext cx="6816945" cy="653335"/>
          </a:xfrm>
          <a:prstGeom prst="rect">
            <a:avLst/>
          </a:prstGeom>
        </p:spPr>
        <p:txBody>
          <a:bodyPr lIns="0" tIns="0" rIns="0" bIns="0">
            <a:normAutofit/>
          </a:bodyPr>
          <a:lstStyle>
            <a:lvl1pPr marL="0" indent="0" algn="l">
              <a:lnSpc>
                <a:spcPct val="100000"/>
              </a:lnSpc>
              <a:spcBef>
                <a:spcPts val="0"/>
              </a:spcBef>
              <a:spcAft>
                <a:spcPts val="0"/>
              </a:spcAft>
              <a:buFont typeface="Arial" charset="0"/>
              <a:buNone/>
              <a:defRPr sz="1733"/>
            </a:lvl1pPr>
            <a:lvl2pPr marL="0" indent="0">
              <a:buNone/>
              <a:defRPr sz="1333"/>
            </a:lvl2pPr>
            <a:lvl3pPr marL="0" indent="0">
              <a:buNone/>
              <a:defRPr sz="1333"/>
            </a:lvl3pPr>
            <a:lvl4pPr marL="0" indent="0">
              <a:buNone/>
              <a:defRPr sz="1333"/>
            </a:lvl4pPr>
            <a:lvl5pPr marL="0" indent="0">
              <a:buNone/>
              <a:defRPr sz="1333"/>
            </a:lvl5pPr>
          </a:lstStyle>
          <a:p>
            <a:pPr lvl="0"/>
            <a:r>
              <a:rPr lang="en-US"/>
              <a:t>Month, year</a:t>
            </a:r>
            <a:br>
              <a:rPr lang="en-US"/>
            </a:br>
            <a:r>
              <a:rPr lang="en-US"/>
              <a:t>Name presenter</a:t>
            </a:r>
          </a:p>
        </p:txBody>
      </p:sp>
      <p:sp>
        <p:nvSpPr>
          <p:cNvPr id="8" name="Title 1"/>
          <p:cNvSpPr>
            <a:spLocks noGrp="1"/>
          </p:cNvSpPr>
          <p:nvPr>
            <p:ph type="ctrTitle" hasCustomPrompt="1"/>
          </p:nvPr>
        </p:nvSpPr>
        <p:spPr>
          <a:xfrm>
            <a:off x="768352" y="2212623"/>
            <a:ext cx="6816945" cy="2325511"/>
          </a:xfrm>
          <a:prstGeom prst="rect">
            <a:avLst/>
          </a:prstGeom>
        </p:spPr>
        <p:txBody>
          <a:bodyPr lIns="0" tIns="0" rIns="0" bIns="0" anchor="t" anchorCtr="0">
            <a:normAutofit/>
          </a:bodyPr>
          <a:lstStyle>
            <a:lvl1pPr algn="l">
              <a:lnSpc>
                <a:spcPct val="100000"/>
              </a:lnSpc>
              <a:defRPr sz="5067">
                <a:solidFill>
                  <a:srgbClr val="53565A"/>
                </a:solidFill>
              </a:defRPr>
            </a:lvl1pPr>
          </a:lstStyle>
          <a:p>
            <a:r>
              <a:rPr lang="en-US" noProof="0"/>
              <a:t>Click to edit title max over 2x lines</a:t>
            </a:r>
          </a:p>
        </p:txBody>
      </p:sp>
      <p:sp>
        <p:nvSpPr>
          <p:cNvPr id="10" name="Text Placeholder 6"/>
          <p:cNvSpPr>
            <a:spLocks noGrp="1"/>
          </p:cNvSpPr>
          <p:nvPr>
            <p:ph type="body" sz="quarter" idx="16" hasCustomPrompt="1"/>
          </p:nvPr>
        </p:nvSpPr>
        <p:spPr>
          <a:xfrm>
            <a:off x="768352" y="4651023"/>
            <a:ext cx="6816945" cy="1016000"/>
          </a:xfrm>
          <a:prstGeom prst="rect">
            <a:avLst/>
          </a:prstGeom>
        </p:spPr>
        <p:txBody>
          <a:bodyPr lIns="0" tIns="0" rIns="0" bIns="0">
            <a:normAutofit/>
          </a:bodyPr>
          <a:lstStyle>
            <a:lvl1pPr marL="0" indent="0">
              <a:lnSpc>
                <a:spcPct val="100000"/>
              </a:lnSpc>
              <a:buNone/>
              <a:defRPr sz="2667">
                <a:solidFill>
                  <a:srgbClr val="FF6C00"/>
                </a:solidFill>
              </a:defRPr>
            </a:lvl1pPr>
            <a:lvl2pPr marL="457189" indent="0">
              <a:lnSpc>
                <a:spcPts val="4800"/>
              </a:lnSpc>
              <a:buNone/>
              <a:defRPr sz="4000">
                <a:solidFill>
                  <a:srgbClr val="FF6C00"/>
                </a:solidFill>
              </a:defRPr>
            </a:lvl2pPr>
            <a:lvl3pPr marL="914377" indent="0">
              <a:lnSpc>
                <a:spcPts val="4800"/>
              </a:lnSpc>
              <a:buNone/>
              <a:defRPr sz="4000">
                <a:solidFill>
                  <a:srgbClr val="FF6C00"/>
                </a:solidFill>
              </a:defRPr>
            </a:lvl3pPr>
            <a:lvl4pPr marL="1371566" indent="0">
              <a:lnSpc>
                <a:spcPts val="4800"/>
              </a:lnSpc>
              <a:buNone/>
              <a:defRPr sz="4000">
                <a:solidFill>
                  <a:srgbClr val="FF6C00"/>
                </a:solidFill>
              </a:defRPr>
            </a:lvl4pPr>
            <a:lvl5pPr marL="1828754" indent="0">
              <a:lnSpc>
                <a:spcPts val="4800"/>
              </a:lnSpc>
              <a:buNone/>
              <a:defRPr sz="4000">
                <a:solidFill>
                  <a:srgbClr val="FF6C00"/>
                </a:solidFill>
              </a:defRPr>
            </a:lvl5pPr>
          </a:lstStyle>
          <a:p>
            <a:pPr lvl="0"/>
            <a:r>
              <a:rPr lang="en-US"/>
              <a:t>Subtitle</a:t>
            </a:r>
          </a:p>
        </p:txBody>
      </p:sp>
      <p:pic>
        <p:nvPicPr>
          <p:cNvPr id="7" name="Picture 6">
            <a:extLst>
              <a:ext uri="{FF2B5EF4-FFF2-40B4-BE49-F238E27FC236}">
                <a16:creationId xmlns:a16="http://schemas.microsoft.com/office/drawing/2014/main" id="{8ED1E7E9-0B74-D54C-8C9A-067E1D0C0E9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45571" y="1711571"/>
            <a:ext cx="5146429" cy="5146429"/>
          </a:xfrm>
          <a:prstGeom prst="rect">
            <a:avLst/>
          </a:prstGeom>
        </p:spPr>
      </p:pic>
      <p:sp>
        <p:nvSpPr>
          <p:cNvPr id="11" name="Text Placeholder 9">
            <a:extLst>
              <a:ext uri="{FF2B5EF4-FFF2-40B4-BE49-F238E27FC236}">
                <a16:creationId xmlns:a16="http://schemas.microsoft.com/office/drawing/2014/main" id="{E8A0C770-19FC-43E2-AEE2-B18B053BEFFE}"/>
              </a:ext>
            </a:extLst>
          </p:cNvPr>
          <p:cNvSpPr>
            <a:spLocks noGrp="1"/>
          </p:cNvSpPr>
          <p:nvPr>
            <p:ph type="body" sz="quarter" idx="13" hasCustomPrompt="1"/>
          </p:nvPr>
        </p:nvSpPr>
        <p:spPr>
          <a:xfrm>
            <a:off x="768351" y="493184"/>
            <a:ext cx="736600" cy="812800"/>
          </a:xfrm>
          <a:prstGeom prst="rect">
            <a:avLst/>
          </a:prstGeom>
          <a:blipFill dpi="0"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p:spPr>
        <p:txBody>
          <a:bodyPr>
            <a:noAutofit/>
          </a:bodyPr>
          <a:lstStyle>
            <a:lvl1pPr marL="0" indent="0">
              <a:buNone/>
              <a:defRPr sz="133"/>
            </a:lvl1pPr>
          </a:lstStyle>
          <a:p>
            <a:pPr lvl="0"/>
            <a:r>
              <a:rPr lang="en-US"/>
              <a:t>.</a:t>
            </a:r>
          </a:p>
        </p:txBody>
      </p:sp>
    </p:spTree>
    <p:extLst>
      <p:ext uri="{BB962C8B-B14F-4D97-AF65-F5344CB8AC3E}">
        <p14:creationId xmlns:p14="http://schemas.microsoft.com/office/powerpoint/2010/main" val="1561801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Section Header">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cstate="print">
            <a:grayscl/>
            <a:extLst>
              <a:ext uri="{28A0092B-C50C-407E-A947-70E740481C1C}">
                <a14:useLocalDpi xmlns:a14="http://schemas.microsoft.com/office/drawing/2010/main" val="0"/>
              </a:ext>
            </a:extLst>
          </a:blip>
          <a:srcRect/>
          <a:stretch/>
        </p:blipFill>
        <p:spPr>
          <a:xfrm>
            <a:off x="-1" y="1"/>
            <a:ext cx="12185324" cy="1063548"/>
          </a:xfrm>
          <a:prstGeom prst="rect">
            <a:avLst/>
          </a:prstGeom>
        </p:spPr>
      </p:pic>
      <p:sp>
        <p:nvSpPr>
          <p:cNvPr id="7" name="Text Placeholder 6"/>
          <p:cNvSpPr>
            <a:spLocks noGrp="1"/>
          </p:cNvSpPr>
          <p:nvPr>
            <p:ph type="body" sz="quarter" idx="15" hasCustomPrompt="1"/>
          </p:nvPr>
        </p:nvSpPr>
        <p:spPr>
          <a:xfrm>
            <a:off x="768352" y="1418168"/>
            <a:ext cx="10655299" cy="2087032"/>
          </a:xfrm>
          <a:prstGeom prst="rect">
            <a:avLst/>
          </a:prstGeom>
        </p:spPr>
        <p:txBody>
          <a:bodyPr anchor="b">
            <a:noAutofit/>
          </a:bodyPr>
          <a:lstStyle>
            <a:lvl1pPr marL="0" indent="0" algn="ctr">
              <a:lnSpc>
                <a:spcPct val="100000"/>
              </a:lnSpc>
              <a:buNone/>
              <a:defRPr sz="5333">
                <a:solidFill>
                  <a:schemeClr val="tx1"/>
                </a:solidFill>
              </a:defRPr>
            </a:lvl1pPr>
            <a:lvl2pPr marL="457189" indent="0">
              <a:lnSpc>
                <a:spcPts val="4800"/>
              </a:lnSpc>
              <a:buNone/>
              <a:defRPr sz="4000">
                <a:solidFill>
                  <a:srgbClr val="FF6C00"/>
                </a:solidFill>
              </a:defRPr>
            </a:lvl2pPr>
            <a:lvl3pPr marL="914377" indent="0">
              <a:lnSpc>
                <a:spcPts val="4800"/>
              </a:lnSpc>
              <a:buNone/>
              <a:defRPr sz="4000">
                <a:solidFill>
                  <a:srgbClr val="FF6C00"/>
                </a:solidFill>
              </a:defRPr>
            </a:lvl3pPr>
            <a:lvl4pPr marL="1371566" indent="0">
              <a:lnSpc>
                <a:spcPts val="4800"/>
              </a:lnSpc>
              <a:buNone/>
              <a:defRPr sz="4000">
                <a:solidFill>
                  <a:srgbClr val="FF6C00"/>
                </a:solidFill>
              </a:defRPr>
            </a:lvl4pPr>
            <a:lvl5pPr marL="1828754" indent="0">
              <a:lnSpc>
                <a:spcPts val="4800"/>
              </a:lnSpc>
              <a:buNone/>
              <a:defRPr sz="4000">
                <a:solidFill>
                  <a:srgbClr val="FF6C00"/>
                </a:solidFill>
              </a:defRPr>
            </a:lvl5pPr>
          </a:lstStyle>
          <a:p>
            <a:pPr lvl="0"/>
            <a:r>
              <a:rPr lang="en-US"/>
              <a:t>Click to edit title</a:t>
            </a:r>
            <a:br>
              <a:rPr lang="en-US"/>
            </a:br>
            <a:r>
              <a:rPr lang="en-US"/>
              <a:t>max over 2 lines</a:t>
            </a:r>
          </a:p>
        </p:txBody>
      </p:sp>
      <p:sp>
        <p:nvSpPr>
          <p:cNvPr id="9" name="Title 1"/>
          <p:cNvSpPr>
            <a:spLocks noGrp="1"/>
          </p:cNvSpPr>
          <p:nvPr>
            <p:ph type="title" hasCustomPrompt="1"/>
          </p:nvPr>
        </p:nvSpPr>
        <p:spPr>
          <a:xfrm>
            <a:off x="768352" y="3522132"/>
            <a:ext cx="10655299" cy="880535"/>
          </a:xfrm>
        </p:spPr>
        <p:txBody>
          <a:bodyPr anchor="t">
            <a:noAutofit/>
          </a:bodyPr>
          <a:lstStyle>
            <a:lvl1pPr algn="ctr">
              <a:lnSpc>
                <a:spcPct val="100000"/>
              </a:lnSpc>
              <a:defRPr sz="2667">
                <a:solidFill>
                  <a:schemeClr val="accent2"/>
                </a:solidFill>
              </a:defRPr>
            </a:lvl1pPr>
          </a:lstStyle>
          <a:p>
            <a:r>
              <a:rPr lang="en-US"/>
              <a:t>Subtitle</a:t>
            </a:r>
          </a:p>
        </p:txBody>
      </p:sp>
      <p:sp>
        <p:nvSpPr>
          <p:cNvPr id="2" name="Date Placeholder 1">
            <a:extLst>
              <a:ext uri="{FF2B5EF4-FFF2-40B4-BE49-F238E27FC236}">
                <a16:creationId xmlns:a16="http://schemas.microsoft.com/office/drawing/2014/main" id="{BA6EA6FA-95FE-4F8F-85EC-1FAC96E3B7C1}"/>
              </a:ext>
            </a:extLst>
          </p:cNvPr>
          <p:cNvSpPr>
            <a:spLocks noGrp="1"/>
          </p:cNvSpPr>
          <p:nvPr>
            <p:ph type="dt" sz="half" idx="16"/>
          </p:nvPr>
        </p:nvSpPr>
        <p:spPr/>
        <p:txBody>
          <a:bodyPr/>
          <a:lstStyle/>
          <a:p>
            <a:endParaRPr lang="en-US" dirty="0"/>
          </a:p>
        </p:txBody>
      </p:sp>
      <p:sp>
        <p:nvSpPr>
          <p:cNvPr id="3" name="Footer Placeholder 2">
            <a:extLst>
              <a:ext uri="{FF2B5EF4-FFF2-40B4-BE49-F238E27FC236}">
                <a16:creationId xmlns:a16="http://schemas.microsoft.com/office/drawing/2014/main" id="{5A310452-B107-48F7-82C4-83CEEEAF2C79}"/>
              </a:ext>
            </a:extLst>
          </p:cNvPr>
          <p:cNvSpPr>
            <a:spLocks noGrp="1"/>
          </p:cNvSpPr>
          <p:nvPr>
            <p:ph type="ftr" sz="quarter" idx="17"/>
          </p:nvPr>
        </p:nvSpPr>
        <p:spPr/>
        <p:txBody>
          <a:bodyPr/>
          <a:lstStyle/>
          <a:p>
            <a:endParaRPr lang="en-US" dirty="0"/>
          </a:p>
        </p:txBody>
      </p:sp>
      <p:sp>
        <p:nvSpPr>
          <p:cNvPr id="4" name="Slide Number Placeholder 3">
            <a:extLst>
              <a:ext uri="{FF2B5EF4-FFF2-40B4-BE49-F238E27FC236}">
                <a16:creationId xmlns:a16="http://schemas.microsoft.com/office/drawing/2014/main" id="{02B5289F-FA18-43F2-8D12-2C70CDD7C8F0}"/>
              </a:ext>
            </a:extLst>
          </p:cNvPr>
          <p:cNvSpPr>
            <a:spLocks noGrp="1"/>
          </p:cNvSpPr>
          <p:nvPr>
            <p:ph type="sldNum" sz="quarter" idx="1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555859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18" name="Text Placeholder 1"/>
          <p:cNvSpPr>
            <a:spLocks noGrp="1"/>
          </p:cNvSpPr>
          <p:nvPr>
            <p:ph type="body" sz="quarter" idx="13"/>
          </p:nvPr>
        </p:nvSpPr>
        <p:spPr>
          <a:xfrm>
            <a:off x="768350" y="1113368"/>
            <a:ext cx="10655300" cy="5196417"/>
          </a:xfrm>
          <a:prstGeom prst="rect">
            <a:avLst/>
          </a:prstGeom>
        </p:spPr>
        <p:txBody>
          <a:bodyPr vert="horz" lIns="0" tIns="0" rIns="0" bIns="0" rtlCol="0">
            <a:normAutofit/>
          </a:bodyPr>
          <a:lstStyle>
            <a:lvl1pPr marL="383990" indent="-383990">
              <a:defRPr lang="en-GB" dirty="0"/>
            </a:lvl1pPr>
          </a:lstStyle>
          <a:p>
            <a:pPr marL="380990" lvl="0" indent="-380990">
              <a:lnSpc>
                <a:spcPct val="100000"/>
              </a:lnSpc>
            </a:pPr>
            <a:r>
              <a:rPr lang="en-US"/>
              <a:t>Click to edit Master text styles</a:t>
            </a:r>
          </a:p>
        </p:txBody>
      </p:sp>
      <p:sp>
        <p:nvSpPr>
          <p:cNvPr id="4" name="Titel 3">
            <a:extLst>
              <a:ext uri="{FF2B5EF4-FFF2-40B4-BE49-F238E27FC236}">
                <a16:creationId xmlns:a16="http://schemas.microsoft.com/office/drawing/2014/main" id="{70D682A7-E09E-481B-B790-3AF34F8C4EF7}"/>
              </a:ext>
            </a:extLst>
          </p:cNvPr>
          <p:cNvSpPr>
            <a:spLocks noGrp="1"/>
          </p:cNvSpPr>
          <p:nvPr>
            <p:ph type="title" hasCustomPrompt="1"/>
          </p:nvPr>
        </p:nvSpPr>
        <p:spPr/>
        <p:txBody>
          <a:bodyPr/>
          <a:lstStyle>
            <a:lvl1pPr>
              <a:defRPr/>
            </a:lvl1pPr>
          </a:lstStyle>
          <a:p>
            <a:r>
              <a:rPr lang="en-US"/>
              <a:t>Agenda</a:t>
            </a:r>
          </a:p>
        </p:txBody>
      </p:sp>
      <p:sp>
        <p:nvSpPr>
          <p:cNvPr id="2" name="Date Placeholder 1">
            <a:extLst>
              <a:ext uri="{FF2B5EF4-FFF2-40B4-BE49-F238E27FC236}">
                <a16:creationId xmlns:a16="http://schemas.microsoft.com/office/drawing/2014/main" id="{183A9B50-46B5-4E97-BF86-927797BF349C}"/>
              </a:ext>
            </a:extLst>
          </p:cNvPr>
          <p:cNvSpPr>
            <a:spLocks noGrp="1"/>
          </p:cNvSpPr>
          <p:nvPr>
            <p:ph type="dt" sz="half" idx="14"/>
          </p:nvPr>
        </p:nvSpPr>
        <p:spPr/>
        <p:txBody>
          <a:bodyPr/>
          <a:lstStyle/>
          <a:p>
            <a:fld id="{37FFCD0F-6FD7-423A-A678-0AA8290E11CF}" type="datetimeFigureOut">
              <a:rPr lang="de-DE" smtClean="0"/>
              <a:pPr/>
              <a:t>23.10.2025</a:t>
            </a:fld>
            <a:endParaRPr lang="de-DE"/>
          </a:p>
        </p:txBody>
      </p:sp>
      <p:sp>
        <p:nvSpPr>
          <p:cNvPr id="7" name="Footer Placeholder 6">
            <a:extLst>
              <a:ext uri="{FF2B5EF4-FFF2-40B4-BE49-F238E27FC236}">
                <a16:creationId xmlns:a16="http://schemas.microsoft.com/office/drawing/2014/main" id="{F1E6D825-B685-43C9-80D2-C60FD7D07855}"/>
              </a:ext>
            </a:extLst>
          </p:cNvPr>
          <p:cNvSpPr>
            <a:spLocks noGrp="1"/>
          </p:cNvSpPr>
          <p:nvPr>
            <p:ph type="ftr" sz="quarter" idx="15"/>
          </p:nvPr>
        </p:nvSpPr>
        <p:spPr/>
        <p:txBody>
          <a:bodyPr/>
          <a:lstStyle/>
          <a:p>
            <a:endParaRPr lang="de-DE"/>
          </a:p>
        </p:txBody>
      </p:sp>
      <p:sp>
        <p:nvSpPr>
          <p:cNvPr id="8" name="Slide Number Placeholder 7">
            <a:extLst>
              <a:ext uri="{FF2B5EF4-FFF2-40B4-BE49-F238E27FC236}">
                <a16:creationId xmlns:a16="http://schemas.microsoft.com/office/drawing/2014/main" id="{BB9D7424-FFC1-4F16-B297-C0AF041229F5}"/>
              </a:ext>
            </a:extLst>
          </p:cNvPr>
          <p:cNvSpPr>
            <a:spLocks noGrp="1"/>
          </p:cNvSpPr>
          <p:nvPr>
            <p:ph type="sldNum" sz="quarter" idx="16"/>
          </p:nvPr>
        </p:nvSpPr>
        <p:spPr/>
        <p:txBody>
          <a:bodyPr/>
          <a:lstStyle/>
          <a:p>
            <a:fld id="{82F89014-7F8D-47C1-8D79-17A715C9D2BB}" type="slidenum">
              <a:rPr lang="en-US" smtClean="0"/>
              <a:pPr/>
              <a:t>‹#›</a:t>
            </a:fld>
            <a:endParaRPr lang="en-US" dirty="0"/>
          </a:p>
        </p:txBody>
      </p:sp>
      <p:cxnSp>
        <p:nvCxnSpPr>
          <p:cNvPr id="3" name="Straight Connector 2">
            <a:extLst>
              <a:ext uri="{FF2B5EF4-FFF2-40B4-BE49-F238E27FC236}">
                <a16:creationId xmlns:a16="http://schemas.microsoft.com/office/drawing/2014/main" id="{F6CB8641-A472-26DF-D4FF-75F44A4F1BC3}"/>
              </a:ext>
            </a:extLst>
          </p:cNvPr>
          <p:cNvCxnSpPr/>
          <p:nvPr userDrawn="1"/>
        </p:nvCxnSpPr>
        <p:spPr>
          <a:xfrm flipV="1">
            <a:off x="768354" y="5924553"/>
            <a:ext cx="10655300"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27681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CC9CF60C-F237-4C35-B5B9-DCAC15891EE3}"/>
              </a:ext>
            </a:extLst>
          </p:cNvPr>
          <p:cNvSpPr>
            <a:spLocks noGrp="1"/>
          </p:cNvSpPr>
          <p:nvPr>
            <p:ph type="title"/>
          </p:nvPr>
        </p:nvSpPr>
        <p:spPr/>
        <p:txBody>
          <a:bodyPr/>
          <a:lstStyle>
            <a:lvl1pPr>
              <a:defRPr/>
            </a:lvl1pPr>
          </a:lstStyle>
          <a:p>
            <a:r>
              <a:rPr lang="en-US"/>
              <a:t>Click to edit Master title style</a:t>
            </a:r>
          </a:p>
        </p:txBody>
      </p:sp>
      <p:sp>
        <p:nvSpPr>
          <p:cNvPr id="3" name="Date Placeholder 2">
            <a:extLst>
              <a:ext uri="{FF2B5EF4-FFF2-40B4-BE49-F238E27FC236}">
                <a16:creationId xmlns:a16="http://schemas.microsoft.com/office/drawing/2014/main" id="{5249DBEF-F615-45A1-AA51-C34CD01BC994}"/>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0443A0FA-AB68-49F8-A8DA-E9F3A2F1B80A}"/>
              </a:ext>
            </a:extLst>
          </p:cNvPr>
          <p:cNvSpPr>
            <a:spLocks noGrp="1"/>
          </p:cNvSpPr>
          <p:nvPr>
            <p:ph type="ftr" sz="quarter" idx="11"/>
          </p:nvPr>
        </p:nvSpPr>
        <p:spPr/>
        <p:txBody>
          <a:bodyPr/>
          <a:lstStyle/>
          <a:p>
            <a:endParaRPr lang="en-US" dirty="0"/>
          </a:p>
        </p:txBody>
      </p:sp>
      <p:sp>
        <p:nvSpPr>
          <p:cNvPr id="8" name="Slide Number Placeholder 7">
            <a:extLst>
              <a:ext uri="{FF2B5EF4-FFF2-40B4-BE49-F238E27FC236}">
                <a16:creationId xmlns:a16="http://schemas.microsoft.com/office/drawing/2014/main" id="{E1F4F1C2-2D04-4080-9FD1-F04C6A8525E5}"/>
              </a:ext>
            </a:extLst>
          </p:cNvPr>
          <p:cNvSpPr>
            <a:spLocks noGrp="1"/>
          </p:cNvSpPr>
          <p:nvPr>
            <p:ph type="sldNum" sz="quarter" idx="12"/>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3394388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CAED7-3EDD-4EAA-2135-9321A91A03DB}"/>
              </a:ext>
            </a:extLst>
          </p:cNvPr>
          <p:cNvSpPr>
            <a:spLocks noGrp="1"/>
          </p:cNvSpPr>
          <p:nvPr>
            <p:ph type="title"/>
          </p:nvPr>
        </p:nvSpPr>
        <p:spPr>
          <a:xfrm>
            <a:off x="839788" y="365125"/>
            <a:ext cx="10515600" cy="1325563"/>
          </a:xfrm>
        </p:spPr>
        <p:txBody>
          <a:bodyPr/>
          <a:lstStyle/>
          <a:p>
            <a:r>
              <a:rPr lang="en-US"/>
              <a:t>Click to edit Master title style</a:t>
            </a:r>
            <a:endParaRPr lang="en-NL"/>
          </a:p>
        </p:txBody>
      </p:sp>
      <p:sp>
        <p:nvSpPr>
          <p:cNvPr id="3" name="Text Placeholder 2">
            <a:extLst>
              <a:ext uri="{FF2B5EF4-FFF2-40B4-BE49-F238E27FC236}">
                <a16:creationId xmlns:a16="http://schemas.microsoft.com/office/drawing/2014/main" id="{1FD9518D-5395-ACCE-AB6C-C7162C7CA3B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7E74139-7492-5FA5-894D-489BFA94C22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
        <p:nvSpPr>
          <p:cNvPr id="5" name="Text Placeholder 4">
            <a:extLst>
              <a:ext uri="{FF2B5EF4-FFF2-40B4-BE49-F238E27FC236}">
                <a16:creationId xmlns:a16="http://schemas.microsoft.com/office/drawing/2014/main" id="{FEC56572-2B65-D833-3AE0-BF0F9BFD930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C2FDBBB-0455-8B68-50F0-3B82658EF89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
        <p:nvSpPr>
          <p:cNvPr id="7" name="Date Placeholder 6">
            <a:extLst>
              <a:ext uri="{FF2B5EF4-FFF2-40B4-BE49-F238E27FC236}">
                <a16:creationId xmlns:a16="http://schemas.microsoft.com/office/drawing/2014/main" id="{DE656C0E-94D6-034D-0B1C-5E608E4B575C}"/>
              </a:ext>
            </a:extLst>
          </p:cNvPr>
          <p:cNvSpPr>
            <a:spLocks noGrp="1"/>
          </p:cNvSpPr>
          <p:nvPr>
            <p:ph type="dt" sz="half" idx="10"/>
          </p:nvPr>
        </p:nvSpPr>
        <p:spPr/>
        <p:txBody>
          <a:bodyPr/>
          <a:lstStyle/>
          <a:p>
            <a:fld id="{036B0891-7476-4D8C-837F-BB2F6F398C80}" type="datetimeFigureOut">
              <a:rPr lang="en-NL" smtClean="0"/>
              <a:t>10/23/2025</a:t>
            </a:fld>
            <a:endParaRPr lang="en-NL"/>
          </a:p>
        </p:txBody>
      </p:sp>
      <p:sp>
        <p:nvSpPr>
          <p:cNvPr id="8" name="Footer Placeholder 7">
            <a:extLst>
              <a:ext uri="{FF2B5EF4-FFF2-40B4-BE49-F238E27FC236}">
                <a16:creationId xmlns:a16="http://schemas.microsoft.com/office/drawing/2014/main" id="{7A93790D-23D7-8A7E-7CF9-70FFF68AF5EA}"/>
              </a:ext>
            </a:extLst>
          </p:cNvPr>
          <p:cNvSpPr>
            <a:spLocks noGrp="1"/>
          </p:cNvSpPr>
          <p:nvPr>
            <p:ph type="ftr" sz="quarter" idx="11"/>
          </p:nvPr>
        </p:nvSpPr>
        <p:spPr/>
        <p:txBody>
          <a:bodyPr/>
          <a:lstStyle/>
          <a:p>
            <a:endParaRPr lang="en-NL"/>
          </a:p>
        </p:txBody>
      </p:sp>
      <p:sp>
        <p:nvSpPr>
          <p:cNvPr id="9" name="Slide Number Placeholder 8">
            <a:extLst>
              <a:ext uri="{FF2B5EF4-FFF2-40B4-BE49-F238E27FC236}">
                <a16:creationId xmlns:a16="http://schemas.microsoft.com/office/drawing/2014/main" id="{B9097E88-6C81-534A-B298-9F9B265C847C}"/>
              </a:ext>
            </a:extLst>
          </p:cNvPr>
          <p:cNvSpPr>
            <a:spLocks noGrp="1"/>
          </p:cNvSpPr>
          <p:nvPr>
            <p:ph type="sldNum" sz="quarter" idx="12"/>
          </p:nvPr>
        </p:nvSpPr>
        <p:spPr/>
        <p:txBody>
          <a:bodyPr/>
          <a:lstStyle/>
          <a:p>
            <a:fld id="{A4C5E35F-323C-4AC9-A193-D482FFFB2350}" type="slidenum">
              <a:rPr lang="en-NL" smtClean="0"/>
              <a:t>‹#›</a:t>
            </a:fld>
            <a:endParaRPr lang="en-NL"/>
          </a:p>
        </p:txBody>
      </p:sp>
    </p:spTree>
    <p:extLst>
      <p:ext uri="{BB962C8B-B14F-4D97-AF65-F5344CB8AC3E}">
        <p14:creationId xmlns:p14="http://schemas.microsoft.com/office/powerpoint/2010/main" val="297943441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11" name="Text Placeholder 8"/>
          <p:cNvSpPr>
            <a:spLocks noGrp="1"/>
          </p:cNvSpPr>
          <p:nvPr>
            <p:ph type="body" sz="quarter" idx="13" hasCustomPrompt="1"/>
          </p:nvPr>
        </p:nvSpPr>
        <p:spPr>
          <a:xfrm>
            <a:off x="768351" y="1113368"/>
            <a:ext cx="10655300" cy="5196416"/>
          </a:xfrm>
          <a:prstGeom prst="rect">
            <a:avLst/>
          </a:prstGeom>
        </p:spPr>
        <p:txBody>
          <a:bodyPr>
            <a:normAutofit/>
          </a:bodyPr>
          <a:lstStyle>
            <a:lvl1pPr marL="0" indent="0">
              <a:lnSpc>
                <a:spcPct val="100000"/>
              </a:lnSpc>
              <a:buFont typeface="Arial" charset="0"/>
              <a:buNone/>
              <a:defRPr sz="2400" b="0"/>
            </a:lvl1pPr>
            <a:lvl2pPr marL="480472" indent="-480472">
              <a:lnSpc>
                <a:spcPct val="100000"/>
              </a:lnSpc>
              <a:buFont typeface="+mj-lt"/>
              <a:buAutoNum type="arabicPeriod"/>
              <a:defRPr sz="2133" b="0"/>
            </a:lvl2pPr>
            <a:lvl3pPr marL="486821" indent="0">
              <a:lnSpc>
                <a:spcPct val="100000"/>
              </a:lnSpc>
              <a:buFont typeface="Arial" charset="0"/>
              <a:buNone/>
              <a:defRPr sz="2133" b="0"/>
            </a:lvl3pPr>
            <a:lvl4pPr marL="732348" indent="0">
              <a:lnSpc>
                <a:spcPct val="100000"/>
              </a:lnSpc>
              <a:buNone/>
              <a:tabLst/>
              <a:defRPr sz="2133" b="0"/>
            </a:lvl4pPr>
            <a:lvl5pPr marL="967293" indent="0">
              <a:lnSpc>
                <a:spcPct val="100000"/>
              </a:lnSpc>
              <a:buFont typeface="Arial" charset="0"/>
              <a:buNone/>
              <a:defRPr sz="2133" b="0" baseline="0"/>
            </a:lvl5pPr>
          </a:lstStyle>
          <a:p>
            <a:pPr lvl="0"/>
            <a:r>
              <a:rPr lang="en-US"/>
              <a:t>Click to add text</a:t>
            </a:r>
          </a:p>
        </p:txBody>
      </p:sp>
      <p:sp>
        <p:nvSpPr>
          <p:cNvPr id="4" name="Titel 3">
            <a:extLst>
              <a:ext uri="{FF2B5EF4-FFF2-40B4-BE49-F238E27FC236}">
                <a16:creationId xmlns:a16="http://schemas.microsoft.com/office/drawing/2014/main" id="{1C4B0388-7C7E-45C3-A6E3-3E637FAB215F}"/>
              </a:ext>
            </a:extLst>
          </p:cNvPr>
          <p:cNvSpPr>
            <a:spLocks noGrp="1"/>
          </p:cNvSpPr>
          <p:nvPr>
            <p:ph type="title"/>
          </p:nvPr>
        </p:nvSpPr>
        <p:spPr/>
        <p:txBody>
          <a:bodyPr/>
          <a:lstStyle>
            <a:lvl1pPr>
              <a:defRPr/>
            </a:lvl1pPr>
          </a:lstStyle>
          <a:p>
            <a:r>
              <a:rPr lang="en-US"/>
              <a:t>Click to edit Master title style</a:t>
            </a:r>
          </a:p>
        </p:txBody>
      </p:sp>
      <p:sp>
        <p:nvSpPr>
          <p:cNvPr id="3" name="Date Placeholder 2">
            <a:extLst>
              <a:ext uri="{FF2B5EF4-FFF2-40B4-BE49-F238E27FC236}">
                <a16:creationId xmlns:a16="http://schemas.microsoft.com/office/drawing/2014/main" id="{CDC33F9F-6CBB-499E-A399-F579A1C082A4}"/>
              </a:ext>
            </a:extLst>
          </p:cNvPr>
          <p:cNvSpPr>
            <a:spLocks noGrp="1"/>
          </p:cNvSpPr>
          <p:nvPr>
            <p:ph type="dt" sz="half" idx="14"/>
          </p:nvPr>
        </p:nvSpPr>
        <p:spPr/>
        <p:txBody>
          <a:bodyPr/>
          <a:lstStyle/>
          <a:p>
            <a:endParaRPr lang="en-US" dirty="0"/>
          </a:p>
        </p:txBody>
      </p:sp>
      <p:sp>
        <p:nvSpPr>
          <p:cNvPr id="5" name="Footer Placeholder 4">
            <a:extLst>
              <a:ext uri="{FF2B5EF4-FFF2-40B4-BE49-F238E27FC236}">
                <a16:creationId xmlns:a16="http://schemas.microsoft.com/office/drawing/2014/main" id="{475B278D-E37B-46DC-954C-589B0EF3EA41}"/>
              </a:ext>
            </a:extLst>
          </p:cNvPr>
          <p:cNvSpPr>
            <a:spLocks noGrp="1"/>
          </p:cNvSpPr>
          <p:nvPr>
            <p:ph type="ftr" sz="quarter" idx="15"/>
          </p:nvPr>
        </p:nvSpPr>
        <p:spPr/>
        <p:txBody>
          <a:bodyPr/>
          <a:lstStyle/>
          <a:p>
            <a:endParaRPr lang="en-US" dirty="0"/>
          </a:p>
        </p:txBody>
      </p:sp>
      <p:sp>
        <p:nvSpPr>
          <p:cNvPr id="6" name="Slide Number Placeholder 5">
            <a:extLst>
              <a:ext uri="{FF2B5EF4-FFF2-40B4-BE49-F238E27FC236}">
                <a16:creationId xmlns:a16="http://schemas.microsoft.com/office/drawing/2014/main" id="{14826578-F514-4D23-8B3F-F3016B7CA922}"/>
              </a:ext>
            </a:extLst>
          </p:cNvPr>
          <p:cNvSpPr>
            <a:spLocks noGrp="1"/>
          </p:cNvSpPr>
          <p:nvPr>
            <p:ph type="sldNum" sz="quarter" idx="16"/>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4102038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and bullets">
    <p:spTree>
      <p:nvGrpSpPr>
        <p:cNvPr id="1" name=""/>
        <p:cNvGrpSpPr/>
        <p:nvPr/>
      </p:nvGrpSpPr>
      <p:grpSpPr>
        <a:xfrm>
          <a:off x="0" y="0"/>
          <a:ext cx="0" cy="0"/>
          <a:chOff x="0" y="0"/>
          <a:chExt cx="0" cy="0"/>
        </a:xfrm>
      </p:grpSpPr>
      <p:sp>
        <p:nvSpPr>
          <p:cNvPr id="14" name="Content Placeholder 2"/>
          <p:cNvSpPr>
            <a:spLocks noGrp="1"/>
          </p:cNvSpPr>
          <p:nvPr>
            <p:ph sz="quarter" idx="16" hasCustomPrompt="1"/>
          </p:nvPr>
        </p:nvSpPr>
        <p:spPr>
          <a:xfrm>
            <a:off x="768351" y="1113368"/>
            <a:ext cx="10655300" cy="5196417"/>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el 2">
            <a:extLst>
              <a:ext uri="{FF2B5EF4-FFF2-40B4-BE49-F238E27FC236}">
                <a16:creationId xmlns:a16="http://schemas.microsoft.com/office/drawing/2014/main" id="{90FE40DE-7E7D-4146-AB2D-5551E7E7415C}"/>
              </a:ext>
            </a:extLst>
          </p:cNvPr>
          <p:cNvSpPr>
            <a:spLocks noGrp="1"/>
          </p:cNvSpPr>
          <p:nvPr>
            <p:ph type="title"/>
          </p:nvPr>
        </p:nvSpPr>
        <p:spPr/>
        <p:txBody>
          <a:bodyPr/>
          <a:lstStyle>
            <a:lvl1pPr>
              <a:defRPr/>
            </a:lvl1pPr>
          </a:lstStyle>
          <a:p>
            <a:r>
              <a:rPr lang="en-US"/>
              <a:t>Click to edit Master title style</a:t>
            </a:r>
          </a:p>
        </p:txBody>
      </p:sp>
      <p:sp>
        <p:nvSpPr>
          <p:cNvPr id="4" name="Date Placeholder 3">
            <a:extLst>
              <a:ext uri="{FF2B5EF4-FFF2-40B4-BE49-F238E27FC236}">
                <a16:creationId xmlns:a16="http://schemas.microsoft.com/office/drawing/2014/main" id="{0EB1770B-7A94-4844-AD38-CF8FB3080003}"/>
              </a:ext>
            </a:extLst>
          </p:cNvPr>
          <p:cNvSpPr>
            <a:spLocks noGrp="1"/>
          </p:cNvSpPr>
          <p:nvPr>
            <p:ph type="dt" sz="half" idx="17"/>
          </p:nvPr>
        </p:nvSpPr>
        <p:spPr/>
        <p:txBody>
          <a:bodyPr/>
          <a:lstStyle/>
          <a:p>
            <a:endParaRPr lang="en-US" dirty="0"/>
          </a:p>
        </p:txBody>
      </p:sp>
      <p:sp>
        <p:nvSpPr>
          <p:cNvPr id="5" name="Footer Placeholder 4">
            <a:extLst>
              <a:ext uri="{FF2B5EF4-FFF2-40B4-BE49-F238E27FC236}">
                <a16:creationId xmlns:a16="http://schemas.microsoft.com/office/drawing/2014/main" id="{48F74F79-D68A-45F4-B9C7-F1CCDF9519A6}"/>
              </a:ext>
            </a:extLst>
          </p:cNvPr>
          <p:cNvSpPr>
            <a:spLocks noGrp="1"/>
          </p:cNvSpPr>
          <p:nvPr>
            <p:ph type="ftr" sz="quarter" idx="18"/>
          </p:nvPr>
        </p:nvSpPr>
        <p:spPr/>
        <p:txBody>
          <a:bodyPr/>
          <a:lstStyle/>
          <a:p>
            <a:endParaRPr lang="en-US" dirty="0"/>
          </a:p>
        </p:txBody>
      </p:sp>
      <p:sp>
        <p:nvSpPr>
          <p:cNvPr id="6" name="Slide Number Placeholder 5">
            <a:extLst>
              <a:ext uri="{FF2B5EF4-FFF2-40B4-BE49-F238E27FC236}">
                <a16:creationId xmlns:a16="http://schemas.microsoft.com/office/drawing/2014/main" id="{B6356A03-20E1-4E11-AF69-2080BD58C145}"/>
              </a:ext>
            </a:extLst>
          </p:cNvPr>
          <p:cNvSpPr>
            <a:spLocks noGrp="1"/>
          </p:cNvSpPr>
          <p:nvPr>
            <p:ph type="sldNum" sz="quarter" idx="19"/>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556194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and text two columns">
    <p:spTree>
      <p:nvGrpSpPr>
        <p:cNvPr id="1" name=""/>
        <p:cNvGrpSpPr/>
        <p:nvPr/>
      </p:nvGrpSpPr>
      <p:grpSpPr>
        <a:xfrm>
          <a:off x="0" y="0"/>
          <a:ext cx="0" cy="0"/>
          <a:chOff x="0" y="0"/>
          <a:chExt cx="0" cy="0"/>
        </a:xfrm>
      </p:grpSpPr>
      <p:sp>
        <p:nvSpPr>
          <p:cNvPr id="20" name="Text Placeholder 8"/>
          <p:cNvSpPr>
            <a:spLocks noGrp="1"/>
          </p:cNvSpPr>
          <p:nvPr>
            <p:ph type="body" sz="quarter" idx="23" hasCustomPrompt="1"/>
          </p:nvPr>
        </p:nvSpPr>
        <p:spPr>
          <a:xfrm>
            <a:off x="6479118" y="1113368"/>
            <a:ext cx="4944533" cy="5198400"/>
          </a:xfrm>
          <a:prstGeom prst="rect">
            <a:avLst/>
          </a:prstGeom>
        </p:spPr>
        <p:txBody>
          <a:bodyPr>
            <a:normAutofit/>
          </a:bodyPr>
          <a:lstStyle>
            <a:lvl1pPr marL="0" indent="0">
              <a:lnSpc>
                <a:spcPct val="100000"/>
              </a:lnSpc>
              <a:buFont typeface="Arial" charset="0"/>
              <a:buNone/>
              <a:defRPr sz="2133" b="0" baseline="0"/>
            </a:lvl1pPr>
            <a:lvl2pPr marL="480472" indent="-480472">
              <a:lnSpc>
                <a:spcPct val="100000"/>
              </a:lnSpc>
              <a:buFont typeface="+mj-lt"/>
              <a:buAutoNum type="arabicPeriod"/>
              <a:defRPr sz="2133" b="0"/>
            </a:lvl2pPr>
            <a:lvl3pPr marL="486821" indent="0">
              <a:lnSpc>
                <a:spcPct val="100000"/>
              </a:lnSpc>
              <a:buFont typeface="Arial" charset="0"/>
              <a:buNone/>
              <a:defRPr sz="2133" b="0"/>
            </a:lvl3pPr>
            <a:lvl4pPr marL="732348" indent="0">
              <a:lnSpc>
                <a:spcPct val="100000"/>
              </a:lnSpc>
              <a:buNone/>
              <a:tabLst/>
              <a:defRPr sz="2133" b="0"/>
            </a:lvl4pPr>
            <a:lvl5pPr marL="967293" indent="0">
              <a:lnSpc>
                <a:spcPct val="100000"/>
              </a:lnSpc>
              <a:buFont typeface="Arial" charset="0"/>
              <a:buNone/>
              <a:defRPr sz="2133" b="0" baseline="0"/>
            </a:lvl5pPr>
          </a:lstStyle>
          <a:p>
            <a:pPr lvl="0"/>
            <a:r>
              <a:rPr lang="en-US"/>
              <a:t>Click to add text</a:t>
            </a:r>
          </a:p>
        </p:txBody>
      </p:sp>
      <p:sp>
        <p:nvSpPr>
          <p:cNvPr id="23" name="Text Placeholder 8"/>
          <p:cNvSpPr>
            <a:spLocks noGrp="1"/>
          </p:cNvSpPr>
          <p:nvPr>
            <p:ph type="body" sz="quarter" idx="24" hasCustomPrompt="1"/>
          </p:nvPr>
        </p:nvSpPr>
        <p:spPr>
          <a:xfrm>
            <a:off x="768352" y="1113367"/>
            <a:ext cx="4944533" cy="5198400"/>
          </a:xfrm>
          <a:prstGeom prst="rect">
            <a:avLst/>
          </a:prstGeom>
        </p:spPr>
        <p:txBody>
          <a:bodyPr>
            <a:normAutofit/>
          </a:bodyPr>
          <a:lstStyle>
            <a:lvl1pPr marL="0" indent="0">
              <a:lnSpc>
                <a:spcPct val="100000"/>
              </a:lnSpc>
              <a:buFont typeface="Arial" charset="0"/>
              <a:buNone/>
              <a:defRPr sz="2133" b="0"/>
            </a:lvl1pPr>
            <a:lvl2pPr marL="480472" indent="-480472">
              <a:lnSpc>
                <a:spcPct val="100000"/>
              </a:lnSpc>
              <a:buFont typeface="+mj-lt"/>
              <a:buAutoNum type="arabicPeriod"/>
              <a:defRPr sz="2133" b="0"/>
            </a:lvl2pPr>
            <a:lvl3pPr marL="486821" indent="0">
              <a:lnSpc>
                <a:spcPct val="100000"/>
              </a:lnSpc>
              <a:buFont typeface="Arial" charset="0"/>
              <a:buNone/>
              <a:defRPr sz="2133" b="0"/>
            </a:lvl3pPr>
            <a:lvl4pPr marL="732348" indent="0">
              <a:lnSpc>
                <a:spcPct val="100000"/>
              </a:lnSpc>
              <a:buNone/>
              <a:tabLst/>
              <a:defRPr sz="2133" b="0"/>
            </a:lvl4pPr>
            <a:lvl5pPr marL="967293" indent="0">
              <a:lnSpc>
                <a:spcPct val="100000"/>
              </a:lnSpc>
              <a:buFont typeface="Arial" charset="0"/>
              <a:buNone/>
              <a:defRPr sz="2133" b="0" baseline="0"/>
            </a:lvl5pPr>
          </a:lstStyle>
          <a:p>
            <a:pPr lvl="0"/>
            <a:r>
              <a:rPr lang="en-US"/>
              <a:t>Click to add text</a:t>
            </a:r>
          </a:p>
        </p:txBody>
      </p:sp>
      <p:sp>
        <p:nvSpPr>
          <p:cNvPr id="4" name="Titel 3">
            <a:extLst>
              <a:ext uri="{FF2B5EF4-FFF2-40B4-BE49-F238E27FC236}">
                <a16:creationId xmlns:a16="http://schemas.microsoft.com/office/drawing/2014/main" id="{A1EA73AF-7637-4A6C-A4B0-311EBFC6D961}"/>
              </a:ext>
            </a:extLst>
          </p:cNvPr>
          <p:cNvSpPr>
            <a:spLocks noGrp="1"/>
          </p:cNvSpPr>
          <p:nvPr>
            <p:ph type="title"/>
          </p:nvPr>
        </p:nvSpPr>
        <p:spPr/>
        <p:txBody>
          <a:bodyPr/>
          <a:lstStyle>
            <a:lvl1pPr>
              <a:defRPr/>
            </a:lvl1pPr>
          </a:lstStyle>
          <a:p>
            <a:r>
              <a:rPr lang="en-US"/>
              <a:t>Click to edit Master title style</a:t>
            </a:r>
          </a:p>
        </p:txBody>
      </p:sp>
      <p:sp>
        <p:nvSpPr>
          <p:cNvPr id="5" name="Date Placeholder 4">
            <a:extLst>
              <a:ext uri="{FF2B5EF4-FFF2-40B4-BE49-F238E27FC236}">
                <a16:creationId xmlns:a16="http://schemas.microsoft.com/office/drawing/2014/main" id="{1C14264F-6D72-4F24-8CD7-BE495E8BB687}"/>
              </a:ext>
            </a:extLst>
          </p:cNvPr>
          <p:cNvSpPr>
            <a:spLocks noGrp="1"/>
          </p:cNvSpPr>
          <p:nvPr>
            <p:ph type="dt" sz="half" idx="25"/>
          </p:nvPr>
        </p:nvSpPr>
        <p:spPr/>
        <p:txBody>
          <a:bodyPr/>
          <a:lstStyle/>
          <a:p>
            <a:endParaRPr lang="en-US" dirty="0"/>
          </a:p>
        </p:txBody>
      </p:sp>
      <p:sp>
        <p:nvSpPr>
          <p:cNvPr id="7" name="Footer Placeholder 6">
            <a:extLst>
              <a:ext uri="{FF2B5EF4-FFF2-40B4-BE49-F238E27FC236}">
                <a16:creationId xmlns:a16="http://schemas.microsoft.com/office/drawing/2014/main" id="{E3CD3D90-6931-458C-A0AF-D2BBC25C8663}"/>
              </a:ext>
            </a:extLst>
          </p:cNvPr>
          <p:cNvSpPr>
            <a:spLocks noGrp="1"/>
          </p:cNvSpPr>
          <p:nvPr>
            <p:ph type="ftr" sz="quarter" idx="26"/>
          </p:nvPr>
        </p:nvSpPr>
        <p:spPr/>
        <p:txBody>
          <a:bodyPr/>
          <a:lstStyle/>
          <a:p>
            <a:endParaRPr lang="en-US" dirty="0"/>
          </a:p>
        </p:txBody>
      </p:sp>
      <p:sp>
        <p:nvSpPr>
          <p:cNvPr id="8" name="Slide Number Placeholder 7">
            <a:extLst>
              <a:ext uri="{FF2B5EF4-FFF2-40B4-BE49-F238E27FC236}">
                <a16:creationId xmlns:a16="http://schemas.microsoft.com/office/drawing/2014/main" id="{DE8558DF-C777-4C31-85A8-21E662F0A5EB}"/>
              </a:ext>
            </a:extLst>
          </p:cNvPr>
          <p:cNvSpPr>
            <a:spLocks noGrp="1"/>
          </p:cNvSpPr>
          <p:nvPr>
            <p:ph type="sldNum" sz="quarter" idx="2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931791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and bullets two column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768351" y="1113368"/>
            <a:ext cx="4944533" cy="5196417"/>
          </a:xfrm>
          <a:prstGeom prst="rect">
            <a:avLst/>
          </a:prstGeom>
        </p:spPr>
        <p:txBody>
          <a:bodyPr/>
          <a:lstStyle>
            <a:lvl1pPr marL="380990" indent="-380990">
              <a:lnSpc>
                <a:spcPct val="100000"/>
              </a:lnSpc>
              <a:buFont typeface="Arial" panose="020B0604020202020204" pitchFamily="34" charset="0"/>
              <a:buChar char="•"/>
              <a:defRPr sz="2133" b="0" baseline="0"/>
            </a:lvl1pPr>
            <a:lvl2pPr marL="380990" indent="-380990">
              <a:lnSpc>
                <a:spcPct val="100000"/>
              </a:lnSpc>
              <a:buFont typeface="Arial" panose="020B0604020202020204" pitchFamily="34" charset="0"/>
              <a:buChar char="•"/>
              <a:defRPr sz="1733" b="0"/>
            </a:lvl2pPr>
            <a:lvl3pPr marL="596885" indent="-232828">
              <a:lnSpc>
                <a:spcPct val="100000"/>
              </a:lnSpc>
              <a:buFont typeface="Arial" panose="020B0604020202020204" pitchFamily="34" charset="0"/>
              <a:buChar char="−"/>
              <a:defRPr sz="1867" b="0"/>
            </a:lvl3pPr>
            <a:lvl4pPr marL="831830" indent="-234945">
              <a:lnSpc>
                <a:spcPct val="100000"/>
              </a:lnSpc>
              <a:tabLst/>
              <a:defRPr sz="1867" b="0"/>
            </a:lvl4pPr>
            <a:lvl5pPr marL="1079473" indent="-247644">
              <a:lnSpc>
                <a:spcPct val="100000"/>
              </a:lnSpc>
              <a:defRPr sz="1867" b="0"/>
            </a:lvl5pPr>
            <a:lvl6pPr marL="2285943"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a:p>
        </p:txBody>
      </p:sp>
      <p:sp>
        <p:nvSpPr>
          <p:cNvPr id="9" name="Text Placeholder 8"/>
          <p:cNvSpPr>
            <a:spLocks noGrp="1"/>
          </p:cNvSpPr>
          <p:nvPr>
            <p:ph type="body" sz="quarter" idx="17" hasCustomPrompt="1"/>
          </p:nvPr>
        </p:nvSpPr>
        <p:spPr>
          <a:xfrm>
            <a:off x="6479118" y="1113368"/>
            <a:ext cx="4944533" cy="5196417"/>
          </a:xfrm>
          <a:prstGeom prst="rect">
            <a:avLst/>
          </a:prstGeom>
        </p:spPr>
        <p:txBody>
          <a:bodyPr/>
          <a:lstStyle>
            <a:lvl1pPr marL="380990" indent="-380990">
              <a:lnSpc>
                <a:spcPct val="100000"/>
              </a:lnSpc>
              <a:buFont typeface="Arial" panose="020B0604020202020204" pitchFamily="34" charset="0"/>
              <a:buChar char="•"/>
              <a:defRPr sz="2133" b="0"/>
            </a:lvl1pPr>
            <a:lvl2pPr marL="383108" indent="-383108">
              <a:lnSpc>
                <a:spcPct val="100000"/>
              </a:lnSpc>
              <a:buFont typeface="Arial" panose="020B0604020202020204" pitchFamily="34" charset="0"/>
              <a:buChar char="•"/>
              <a:defRPr sz="1733" b="0"/>
            </a:lvl2pPr>
            <a:lvl3pPr marL="596885" indent="-232828">
              <a:lnSpc>
                <a:spcPct val="100000"/>
              </a:lnSpc>
              <a:buFont typeface="Arial" panose="020B0604020202020204" pitchFamily="34" charset="0"/>
              <a:buChar char="−"/>
              <a:defRPr sz="1867" b="0"/>
            </a:lvl3pPr>
            <a:lvl4pPr marL="831830" indent="-234945">
              <a:lnSpc>
                <a:spcPct val="100000"/>
              </a:lnSpc>
              <a:tabLst/>
              <a:defRPr sz="1867" b="0"/>
            </a:lvl4pPr>
            <a:lvl5pPr marL="1079473" indent="-247644">
              <a:lnSpc>
                <a:spcPct val="100000"/>
              </a:lnSpc>
              <a:defRPr sz="1867" b="0"/>
            </a:lvl5pPr>
          </a:lstStyle>
          <a:p>
            <a:pPr lvl="0"/>
            <a:r>
              <a:rPr lang="en-US"/>
              <a:t>Click to add text</a:t>
            </a:r>
          </a:p>
          <a:p>
            <a:pPr lvl="2"/>
            <a:r>
              <a:rPr lang="en-US"/>
              <a:t>Second level</a:t>
            </a:r>
          </a:p>
          <a:p>
            <a:pPr lvl="3"/>
            <a:r>
              <a:rPr lang="en-US"/>
              <a:t>Third level</a:t>
            </a:r>
          </a:p>
          <a:p>
            <a:pPr lvl="4"/>
            <a:r>
              <a:rPr lang="en-US"/>
              <a:t>Fourth level</a:t>
            </a:r>
          </a:p>
        </p:txBody>
      </p:sp>
      <p:sp>
        <p:nvSpPr>
          <p:cNvPr id="4" name="Titel 3">
            <a:extLst>
              <a:ext uri="{FF2B5EF4-FFF2-40B4-BE49-F238E27FC236}">
                <a16:creationId xmlns:a16="http://schemas.microsoft.com/office/drawing/2014/main" id="{3872E2A8-E205-4778-8440-C86A31617406}"/>
              </a:ext>
            </a:extLst>
          </p:cNvPr>
          <p:cNvSpPr>
            <a:spLocks noGrp="1"/>
          </p:cNvSpPr>
          <p:nvPr>
            <p:ph type="title"/>
          </p:nvPr>
        </p:nvSpPr>
        <p:spPr/>
        <p:txBody>
          <a:bodyPr/>
          <a:lstStyle/>
          <a:p>
            <a:r>
              <a:rPr lang="en-US"/>
              <a:t>Click to edit Master title style</a:t>
            </a:r>
          </a:p>
        </p:txBody>
      </p:sp>
      <p:sp>
        <p:nvSpPr>
          <p:cNvPr id="5" name="Date Placeholder 4">
            <a:extLst>
              <a:ext uri="{FF2B5EF4-FFF2-40B4-BE49-F238E27FC236}">
                <a16:creationId xmlns:a16="http://schemas.microsoft.com/office/drawing/2014/main" id="{ADE4B11B-E592-4BB9-AE34-F70CB195E727}"/>
              </a:ext>
            </a:extLst>
          </p:cNvPr>
          <p:cNvSpPr>
            <a:spLocks noGrp="1"/>
          </p:cNvSpPr>
          <p:nvPr>
            <p:ph type="dt" sz="half" idx="18"/>
          </p:nvPr>
        </p:nvSpPr>
        <p:spPr/>
        <p:txBody>
          <a:bodyPr/>
          <a:lstStyle/>
          <a:p>
            <a:endParaRPr lang="en-US" dirty="0"/>
          </a:p>
        </p:txBody>
      </p:sp>
      <p:sp>
        <p:nvSpPr>
          <p:cNvPr id="7" name="Footer Placeholder 6">
            <a:extLst>
              <a:ext uri="{FF2B5EF4-FFF2-40B4-BE49-F238E27FC236}">
                <a16:creationId xmlns:a16="http://schemas.microsoft.com/office/drawing/2014/main" id="{6F1A4215-8A59-48E0-8F12-9F23CA60220A}"/>
              </a:ext>
            </a:extLst>
          </p:cNvPr>
          <p:cNvSpPr>
            <a:spLocks noGrp="1"/>
          </p:cNvSpPr>
          <p:nvPr>
            <p:ph type="ftr" sz="quarter" idx="19"/>
          </p:nvPr>
        </p:nvSpPr>
        <p:spPr/>
        <p:txBody>
          <a:bodyPr/>
          <a:lstStyle/>
          <a:p>
            <a:endParaRPr lang="en-US" dirty="0"/>
          </a:p>
        </p:txBody>
      </p:sp>
      <p:sp>
        <p:nvSpPr>
          <p:cNvPr id="10" name="Slide Number Placeholder 9">
            <a:extLst>
              <a:ext uri="{FF2B5EF4-FFF2-40B4-BE49-F238E27FC236}">
                <a16:creationId xmlns:a16="http://schemas.microsoft.com/office/drawing/2014/main" id="{CF294D08-94E6-49A2-9DF7-3985093964AC}"/>
              </a:ext>
            </a:extLst>
          </p:cNvPr>
          <p:cNvSpPr>
            <a:spLocks noGrp="1"/>
          </p:cNvSpPr>
          <p:nvPr>
            <p:ph type="sldNum" sz="quarter" idx="20"/>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3646186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text and image (right)">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6096000" y="0"/>
            <a:ext cx="6096000" cy="6858000"/>
          </a:xfrm>
          <a:prstGeom prst="rect">
            <a:avLst/>
          </a:prstGeom>
          <a:solidFill>
            <a:schemeClr val="accent6"/>
          </a:solidFill>
        </p:spPr>
        <p:txBody>
          <a:bodyPr tIns="2916000"/>
          <a:lstStyle>
            <a:lvl1pPr marL="0" indent="0" algn="ctr">
              <a:lnSpc>
                <a:spcPct val="100000"/>
              </a:lnSpc>
              <a:buFontTx/>
              <a:buNone/>
              <a:defRPr/>
            </a:lvl1pPr>
          </a:lstStyle>
          <a:p>
            <a:r>
              <a:rPr lang="en-US" noProof="0" dirty="0"/>
              <a:t>Drag picture to placeholder </a:t>
            </a:r>
            <a:br>
              <a:rPr lang="en-US" noProof="0" dirty="0"/>
            </a:br>
            <a:r>
              <a:rPr lang="en-US" noProof="0" dirty="0"/>
              <a:t>or click icon to add</a:t>
            </a:r>
          </a:p>
        </p:txBody>
      </p:sp>
      <p:sp>
        <p:nvSpPr>
          <p:cNvPr id="11" name="Text Placeholder 8"/>
          <p:cNvSpPr>
            <a:spLocks noGrp="1"/>
          </p:cNvSpPr>
          <p:nvPr>
            <p:ph type="body" sz="quarter" idx="24" hasCustomPrompt="1"/>
          </p:nvPr>
        </p:nvSpPr>
        <p:spPr>
          <a:xfrm>
            <a:off x="768352" y="1113368"/>
            <a:ext cx="4944533" cy="5196417"/>
          </a:xfrm>
          <a:prstGeom prst="rect">
            <a:avLst/>
          </a:prstGeom>
        </p:spPr>
        <p:txBody>
          <a:bodyPr>
            <a:normAutofit/>
          </a:bodyPr>
          <a:lstStyle>
            <a:lvl1pPr marL="0" indent="0">
              <a:lnSpc>
                <a:spcPct val="100000"/>
              </a:lnSpc>
              <a:buFont typeface="Arial" charset="0"/>
              <a:buNone/>
              <a:defRPr sz="2133" b="0"/>
            </a:lvl1pPr>
            <a:lvl2pPr marL="480472" indent="-480472">
              <a:lnSpc>
                <a:spcPct val="100000"/>
              </a:lnSpc>
              <a:buFont typeface="+mj-lt"/>
              <a:buAutoNum type="arabicPeriod"/>
              <a:defRPr sz="2133" b="0"/>
            </a:lvl2pPr>
            <a:lvl3pPr marL="486821" indent="0">
              <a:lnSpc>
                <a:spcPct val="100000"/>
              </a:lnSpc>
              <a:buFont typeface="Arial" charset="0"/>
              <a:buNone/>
              <a:defRPr sz="2133" b="0"/>
            </a:lvl3pPr>
            <a:lvl4pPr marL="732348" indent="0">
              <a:lnSpc>
                <a:spcPct val="100000"/>
              </a:lnSpc>
              <a:buNone/>
              <a:tabLst/>
              <a:defRPr sz="2133" b="0"/>
            </a:lvl4pPr>
            <a:lvl5pPr marL="967293" indent="0">
              <a:lnSpc>
                <a:spcPct val="100000"/>
              </a:lnSpc>
              <a:buFont typeface="Arial" charset="0"/>
              <a:buNone/>
              <a:defRPr sz="2133" b="0" baseline="0"/>
            </a:lvl5pPr>
          </a:lstStyle>
          <a:p>
            <a:pPr lvl="0"/>
            <a:r>
              <a:rPr lang="en-US"/>
              <a:t>Click to add text</a:t>
            </a:r>
          </a:p>
        </p:txBody>
      </p:sp>
      <p:sp>
        <p:nvSpPr>
          <p:cNvPr id="3" name="Title 2">
            <a:extLst>
              <a:ext uri="{FF2B5EF4-FFF2-40B4-BE49-F238E27FC236}">
                <a16:creationId xmlns:a16="http://schemas.microsoft.com/office/drawing/2014/main" id="{3B1301CE-B3DE-49E1-B3B2-EA2475A78BC7}"/>
              </a:ext>
            </a:extLst>
          </p:cNvPr>
          <p:cNvSpPr>
            <a:spLocks noGrp="1"/>
          </p:cNvSpPr>
          <p:nvPr>
            <p:ph type="title"/>
          </p:nvPr>
        </p:nvSpPr>
        <p:spPr>
          <a:xfrm>
            <a:off x="768351" y="260351"/>
            <a:ext cx="4944533" cy="673100"/>
          </a:xfrm>
        </p:spPr>
        <p:txBody>
          <a:bodyPr/>
          <a:lstStyle>
            <a:lvl1pPr>
              <a:defRPr/>
            </a:lvl1pPr>
          </a:lstStyle>
          <a:p>
            <a:r>
              <a:rPr lang="en-US"/>
              <a:t>Click to edit Master title style</a:t>
            </a:r>
          </a:p>
        </p:txBody>
      </p:sp>
      <p:sp>
        <p:nvSpPr>
          <p:cNvPr id="6" name="Date Placeholder 5">
            <a:extLst>
              <a:ext uri="{FF2B5EF4-FFF2-40B4-BE49-F238E27FC236}">
                <a16:creationId xmlns:a16="http://schemas.microsoft.com/office/drawing/2014/main" id="{D3F7EFBD-DB9C-45C5-9F2E-C46AEC5F67DA}"/>
              </a:ext>
            </a:extLst>
          </p:cNvPr>
          <p:cNvSpPr>
            <a:spLocks noGrp="1"/>
          </p:cNvSpPr>
          <p:nvPr>
            <p:ph type="dt" sz="half" idx="25"/>
          </p:nvPr>
        </p:nvSpPr>
        <p:spPr/>
        <p:txBody>
          <a:bodyPr/>
          <a:lstStyle/>
          <a:p>
            <a:endParaRPr lang="en-US" dirty="0"/>
          </a:p>
        </p:txBody>
      </p:sp>
      <p:sp>
        <p:nvSpPr>
          <p:cNvPr id="7" name="Footer Placeholder 6">
            <a:extLst>
              <a:ext uri="{FF2B5EF4-FFF2-40B4-BE49-F238E27FC236}">
                <a16:creationId xmlns:a16="http://schemas.microsoft.com/office/drawing/2014/main" id="{753377E4-E0A6-4CAB-B97D-2004235209BF}"/>
              </a:ext>
            </a:extLst>
          </p:cNvPr>
          <p:cNvSpPr>
            <a:spLocks noGrp="1"/>
          </p:cNvSpPr>
          <p:nvPr>
            <p:ph type="ftr" sz="quarter" idx="26"/>
          </p:nvPr>
        </p:nvSpPr>
        <p:spPr/>
        <p:txBody>
          <a:bodyPr/>
          <a:lstStyle/>
          <a:p>
            <a:endParaRPr lang="en-US" dirty="0"/>
          </a:p>
        </p:txBody>
      </p:sp>
      <p:sp>
        <p:nvSpPr>
          <p:cNvPr id="8" name="Slide Number Placeholder 7">
            <a:extLst>
              <a:ext uri="{FF2B5EF4-FFF2-40B4-BE49-F238E27FC236}">
                <a16:creationId xmlns:a16="http://schemas.microsoft.com/office/drawing/2014/main" id="{BE4FCB58-7D88-4A1A-B1DD-02B1B052F520}"/>
              </a:ext>
            </a:extLst>
          </p:cNvPr>
          <p:cNvSpPr>
            <a:spLocks noGrp="1"/>
          </p:cNvSpPr>
          <p:nvPr>
            <p:ph type="sldNum" sz="quarter" idx="2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481164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text and image (left)">
    <p:spTree>
      <p:nvGrpSpPr>
        <p:cNvPr id="1" name=""/>
        <p:cNvGrpSpPr/>
        <p:nvPr/>
      </p:nvGrpSpPr>
      <p:grpSpPr>
        <a:xfrm>
          <a:off x="0" y="0"/>
          <a:ext cx="0" cy="0"/>
          <a:chOff x="0" y="0"/>
          <a:chExt cx="0" cy="0"/>
        </a:xfrm>
      </p:grpSpPr>
      <p:sp>
        <p:nvSpPr>
          <p:cNvPr id="12" name="Picture Placeholder 9"/>
          <p:cNvSpPr>
            <a:spLocks noGrp="1"/>
          </p:cNvSpPr>
          <p:nvPr>
            <p:ph type="pic" sz="quarter" idx="24" hasCustomPrompt="1"/>
          </p:nvPr>
        </p:nvSpPr>
        <p:spPr>
          <a:xfrm>
            <a:off x="0" y="0"/>
            <a:ext cx="6096000" cy="6858000"/>
          </a:xfrm>
          <a:prstGeom prst="rect">
            <a:avLst/>
          </a:prstGeom>
          <a:solidFill>
            <a:schemeClr val="accent6"/>
          </a:solidFill>
        </p:spPr>
        <p:txBody>
          <a:bodyPr tIns="2916000"/>
          <a:lstStyle>
            <a:lvl1pPr marL="0" indent="0" algn="ctr">
              <a:lnSpc>
                <a:spcPct val="100000"/>
              </a:lnSpc>
              <a:buFontTx/>
              <a:buNone/>
              <a:defRPr/>
            </a:lvl1pPr>
          </a:lstStyle>
          <a:p>
            <a:r>
              <a:rPr lang="en-US" noProof="0" dirty="0"/>
              <a:t>Drag picture to placeholder</a:t>
            </a:r>
            <a:br>
              <a:rPr lang="en-US" noProof="0" dirty="0"/>
            </a:br>
            <a:r>
              <a:rPr lang="en-US" noProof="0" dirty="0"/>
              <a:t>or click icon to add</a:t>
            </a:r>
          </a:p>
        </p:txBody>
      </p:sp>
      <p:sp>
        <p:nvSpPr>
          <p:cNvPr id="18" name="Text Placeholder 8"/>
          <p:cNvSpPr>
            <a:spLocks noGrp="1"/>
          </p:cNvSpPr>
          <p:nvPr>
            <p:ph type="body" sz="quarter" idx="25" hasCustomPrompt="1"/>
          </p:nvPr>
        </p:nvSpPr>
        <p:spPr>
          <a:xfrm>
            <a:off x="6479118" y="1113368"/>
            <a:ext cx="4909063" cy="5196417"/>
          </a:xfrm>
          <a:prstGeom prst="rect">
            <a:avLst/>
          </a:prstGeom>
        </p:spPr>
        <p:txBody>
          <a:bodyPr>
            <a:normAutofit/>
          </a:bodyPr>
          <a:lstStyle>
            <a:lvl1pPr marL="0" indent="0">
              <a:lnSpc>
                <a:spcPct val="100000"/>
              </a:lnSpc>
              <a:buFont typeface="Arial" charset="0"/>
              <a:buNone/>
              <a:defRPr sz="2133" b="0"/>
            </a:lvl1pPr>
            <a:lvl2pPr marL="480472" indent="-480472">
              <a:lnSpc>
                <a:spcPct val="100000"/>
              </a:lnSpc>
              <a:buFont typeface="+mj-lt"/>
              <a:buAutoNum type="arabicPeriod"/>
              <a:defRPr sz="2133" b="0"/>
            </a:lvl2pPr>
            <a:lvl3pPr marL="486821" indent="0">
              <a:lnSpc>
                <a:spcPct val="100000"/>
              </a:lnSpc>
              <a:buFont typeface="Arial" charset="0"/>
              <a:buNone/>
              <a:defRPr sz="2133" b="0"/>
            </a:lvl3pPr>
            <a:lvl4pPr marL="732348" indent="0">
              <a:lnSpc>
                <a:spcPct val="100000"/>
              </a:lnSpc>
              <a:buNone/>
              <a:tabLst/>
              <a:defRPr sz="2133" b="0"/>
            </a:lvl4pPr>
            <a:lvl5pPr marL="967293" indent="0">
              <a:lnSpc>
                <a:spcPct val="100000"/>
              </a:lnSpc>
              <a:buFont typeface="Arial" charset="0"/>
              <a:buNone/>
              <a:defRPr sz="2133" b="0" baseline="0"/>
            </a:lvl5pPr>
          </a:lstStyle>
          <a:p>
            <a:pPr lvl="0"/>
            <a:r>
              <a:rPr lang="en-US"/>
              <a:t>Click to add text</a:t>
            </a:r>
          </a:p>
        </p:txBody>
      </p:sp>
      <p:sp>
        <p:nvSpPr>
          <p:cNvPr id="4" name="Title 3">
            <a:extLst>
              <a:ext uri="{FF2B5EF4-FFF2-40B4-BE49-F238E27FC236}">
                <a16:creationId xmlns:a16="http://schemas.microsoft.com/office/drawing/2014/main" id="{1AEE6764-BCD9-4C0F-8D7F-6DAB3E0116B1}"/>
              </a:ext>
            </a:extLst>
          </p:cNvPr>
          <p:cNvSpPr>
            <a:spLocks noGrp="1"/>
          </p:cNvSpPr>
          <p:nvPr>
            <p:ph type="title"/>
          </p:nvPr>
        </p:nvSpPr>
        <p:spPr>
          <a:xfrm>
            <a:off x="6479118" y="260351"/>
            <a:ext cx="4909063" cy="673100"/>
          </a:xfrm>
        </p:spPr>
        <p:txBody>
          <a:bodyPr/>
          <a:lstStyle>
            <a:lvl1pPr>
              <a:defRPr/>
            </a:lvl1pPr>
          </a:lstStyle>
          <a:p>
            <a:r>
              <a:rPr lang="en-US"/>
              <a:t>Click to edit Master title style</a:t>
            </a:r>
          </a:p>
        </p:txBody>
      </p:sp>
      <p:sp>
        <p:nvSpPr>
          <p:cNvPr id="9" name="Date Placeholder 8">
            <a:extLst>
              <a:ext uri="{FF2B5EF4-FFF2-40B4-BE49-F238E27FC236}">
                <a16:creationId xmlns:a16="http://schemas.microsoft.com/office/drawing/2014/main" id="{10B3F087-DB20-4A94-AB80-B37ECB4779CB}"/>
              </a:ext>
            </a:extLst>
          </p:cNvPr>
          <p:cNvSpPr>
            <a:spLocks noGrp="1"/>
          </p:cNvSpPr>
          <p:nvPr>
            <p:ph type="dt" sz="half" idx="26"/>
          </p:nvPr>
        </p:nvSpPr>
        <p:spPr/>
        <p:txBody>
          <a:bodyPr/>
          <a:lstStyle/>
          <a:p>
            <a:endParaRPr lang="en-US" dirty="0"/>
          </a:p>
        </p:txBody>
      </p:sp>
      <p:sp>
        <p:nvSpPr>
          <p:cNvPr id="10" name="Footer Placeholder 9">
            <a:extLst>
              <a:ext uri="{FF2B5EF4-FFF2-40B4-BE49-F238E27FC236}">
                <a16:creationId xmlns:a16="http://schemas.microsoft.com/office/drawing/2014/main" id="{9C6D60D1-99A0-4A98-BC8E-3EF57AA94001}"/>
              </a:ext>
            </a:extLst>
          </p:cNvPr>
          <p:cNvSpPr>
            <a:spLocks noGrp="1"/>
          </p:cNvSpPr>
          <p:nvPr>
            <p:ph type="ftr" sz="quarter" idx="27"/>
          </p:nvPr>
        </p:nvSpPr>
        <p:spPr/>
        <p:txBody>
          <a:bodyPr/>
          <a:lstStyle/>
          <a:p>
            <a:endParaRPr lang="en-US" dirty="0"/>
          </a:p>
        </p:txBody>
      </p:sp>
      <p:sp>
        <p:nvSpPr>
          <p:cNvPr id="11" name="Slide Number Placeholder 10">
            <a:extLst>
              <a:ext uri="{FF2B5EF4-FFF2-40B4-BE49-F238E27FC236}">
                <a16:creationId xmlns:a16="http://schemas.microsoft.com/office/drawing/2014/main" id="{676BAC64-3B0D-463F-8B20-473CDA4BD824}"/>
              </a:ext>
            </a:extLst>
          </p:cNvPr>
          <p:cNvSpPr>
            <a:spLocks noGrp="1"/>
          </p:cNvSpPr>
          <p:nvPr>
            <p:ph type="sldNum" sz="quarter" idx="2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863290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text and image (right large)">
    <p:spTree>
      <p:nvGrpSpPr>
        <p:cNvPr id="1" name=""/>
        <p:cNvGrpSpPr/>
        <p:nvPr/>
      </p:nvGrpSpPr>
      <p:grpSpPr>
        <a:xfrm>
          <a:off x="0" y="0"/>
          <a:ext cx="0" cy="0"/>
          <a:chOff x="0" y="0"/>
          <a:chExt cx="0" cy="0"/>
        </a:xfrm>
      </p:grpSpPr>
      <p:sp>
        <p:nvSpPr>
          <p:cNvPr id="15" name="Picture Placeholder 9"/>
          <p:cNvSpPr>
            <a:spLocks noGrp="1"/>
          </p:cNvSpPr>
          <p:nvPr>
            <p:ph type="pic" sz="quarter" idx="14" hasCustomPrompt="1"/>
          </p:nvPr>
        </p:nvSpPr>
        <p:spPr>
          <a:xfrm>
            <a:off x="4673780" y="1113368"/>
            <a:ext cx="6749869" cy="5196417"/>
          </a:xfrm>
          <a:prstGeom prst="rect">
            <a:avLst/>
          </a:prstGeom>
          <a:solidFill>
            <a:schemeClr val="accent6"/>
          </a:solidFill>
        </p:spPr>
        <p:txBody>
          <a:bodyPr tIns="2196000"/>
          <a:lstStyle>
            <a:lvl1pPr marL="0" indent="0" algn="ctr">
              <a:lnSpc>
                <a:spcPct val="100000"/>
              </a:lnSpc>
              <a:buFontTx/>
              <a:buNone/>
              <a:defRPr/>
            </a:lvl1pPr>
          </a:lstStyle>
          <a:p>
            <a:r>
              <a:rPr lang="en-US" noProof="0" dirty="0"/>
              <a:t>Drag picture to placeholder or click icon to add</a:t>
            </a:r>
          </a:p>
        </p:txBody>
      </p:sp>
      <p:sp>
        <p:nvSpPr>
          <p:cNvPr id="8" name="Text Placeholder 8"/>
          <p:cNvSpPr>
            <a:spLocks noGrp="1"/>
          </p:cNvSpPr>
          <p:nvPr>
            <p:ph type="body" sz="quarter" idx="24" hasCustomPrompt="1"/>
          </p:nvPr>
        </p:nvSpPr>
        <p:spPr>
          <a:xfrm>
            <a:off x="768352" y="1113368"/>
            <a:ext cx="3521427" cy="5196417"/>
          </a:xfrm>
          <a:prstGeom prst="rect">
            <a:avLst/>
          </a:prstGeom>
        </p:spPr>
        <p:txBody>
          <a:bodyPr>
            <a:normAutofit/>
          </a:bodyPr>
          <a:lstStyle>
            <a:lvl1pPr marL="0" indent="0">
              <a:lnSpc>
                <a:spcPct val="100000"/>
              </a:lnSpc>
              <a:buFont typeface="Arial" charset="0"/>
              <a:buNone/>
              <a:defRPr sz="2133" b="0"/>
            </a:lvl1pPr>
            <a:lvl2pPr marL="480472" indent="-480472">
              <a:lnSpc>
                <a:spcPct val="100000"/>
              </a:lnSpc>
              <a:buFont typeface="+mj-lt"/>
              <a:buAutoNum type="arabicPeriod"/>
              <a:defRPr sz="2133" b="0"/>
            </a:lvl2pPr>
            <a:lvl3pPr marL="486821" indent="0">
              <a:lnSpc>
                <a:spcPct val="100000"/>
              </a:lnSpc>
              <a:buFont typeface="Arial" charset="0"/>
              <a:buNone/>
              <a:defRPr sz="2133" b="0"/>
            </a:lvl3pPr>
            <a:lvl4pPr marL="732348" indent="0">
              <a:lnSpc>
                <a:spcPct val="100000"/>
              </a:lnSpc>
              <a:buNone/>
              <a:tabLst/>
              <a:defRPr sz="2133" b="0"/>
            </a:lvl4pPr>
            <a:lvl5pPr marL="967293" indent="0">
              <a:lnSpc>
                <a:spcPct val="100000"/>
              </a:lnSpc>
              <a:buFont typeface="Arial" charset="0"/>
              <a:buNone/>
              <a:defRPr sz="2133" b="0" baseline="0"/>
            </a:lvl5pPr>
          </a:lstStyle>
          <a:p>
            <a:pPr lvl="0"/>
            <a:r>
              <a:rPr lang="en-US"/>
              <a:t>Click to add text</a:t>
            </a:r>
          </a:p>
        </p:txBody>
      </p:sp>
      <p:sp>
        <p:nvSpPr>
          <p:cNvPr id="2" name="Titel 1">
            <a:extLst>
              <a:ext uri="{FF2B5EF4-FFF2-40B4-BE49-F238E27FC236}">
                <a16:creationId xmlns:a16="http://schemas.microsoft.com/office/drawing/2014/main" id="{D82C27FB-C163-4802-BBE9-1194F6A07DDA}"/>
              </a:ext>
            </a:extLst>
          </p:cNvPr>
          <p:cNvSpPr>
            <a:spLocks noGrp="1"/>
          </p:cNvSpPr>
          <p:nvPr>
            <p:ph type="title"/>
          </p:nvPr>
        </p:nvSpPr>
        <p:spPr/>
        <p:txBody>
          <a:bodyPr/>
          <a:lstStyle>
            <a:lvl1pPr>
              <a:defRPr/>
            </a:lvl1pPr>
          </a:lstStyle>
          <a:p>
            <a:r>
              <a:rPr lang="en-US"/>
              <a:t>Click to edit Master title style</a:t>
            </a:r>
          </a:p>
        </p:txBody>
      </p:sp>
      <p:sp>
        <p:nvSpPr>
          <p:cNvPr id="6" name="Date Placeholder 5">
            <a:extLst>
              <a:ext uri="{FF2B5EF4-FFF2-40B4-BE49-F238E27FC236}">
                <a16:creationId xmlns:a16="http://schemas.microsoft.com/office/drawing/2014/main" id="{15946856-8546-4DA9-9A8E-E5AE5A89C49C}"/>
              </a:ext>
            </a:extLst>
          </p:cNvPr>
          <p:cNvSpPr>
            <a:spLocks noGrp="1"/>
          </p:cNvSpPr>
          <p:nvPr>
            <p:ph type="dt" sz="half" idx="25"/>
          </p:nvPr>
        </p:nvSpPr>
        <p:spPr/>
        <p:txBody>
          <a:bodyPr/>
          <a:lstStyle/>
          <a:p>
            <a:endParaRPr lang="en-US" dirty="0"/>
          </a:p>
        </p:txBody>
      </p:sp>
      <p:sp>
        <p:nvSpPr>
          <p:cNvPr id="7" name="Footer Placeholder 6">
            <a:extLst>
              <a:ext uri="{FF2B5EF4-FFF2-40B4-BE49-F238E27FC236}">
                <a16:creationId xmlns:a16="http://schemas.microsoft.com/office/drawing/2014/main" id="{175E8465-767D-44BA-B892-E9FA43E13D51}"/>
              </a:ext>
            </a:extLst>
          </p:cNvPr>
          <p:cNvSpPr>
            <a:spLocks noGrp="1"/>
          </p:cNvSpPr>
          <p:nvPr>
            <p:ph type="ftr" sz="quarter" idx="26"/>
          </p:nvPr>
        </p:nvSpPr>
        <p:spPr/>
        <p:txBody>
          <a:bodyPr/>
          <a:lstStyle/>
          <a:p>
            <a:endParaRPr lang="en-US" dirty="0"/>
          </a:p>
        </p:txBody>
      </p:sp>
      <p:sp>
        <p:nvSpPr>
          <p:cNvPr id="9" name="Slide Number Placeholder 8">
            <a:extLst>
              <a:ext uri="{FF2B5EF4-FFF2-40B4-BE49-F238E27FC236}">
                <a16:creationId xmlns:a16="http://schemas.microsoft.com/office/drawing/2014/main" id="{6786D917-89B9-4999-9898-0406930D63BE}"/>
              </a:ext>
            </a:extLst>
          </p:cNvPr>
          <p:cNvSpPr>
            <a:spLocks noGrp="1"/>
          </p:cNvSpPr>
          <p:nvPr>
            <p:ph type="sldNum" sz="quarter" idx="2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3527083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text and image (right large) - 2">
    <p:spTree>
      <p:nvGrpSpPr>
        <p:cNvPr id="1" name=""/>
        <p:cNvGrpSpPr/>
        <p:nvPr/>
      </p:nvGrpSpPr>
      <p:grpSpPr>
        <a:xfrm>
          <a:off x="0" y="0"/>
          <a:ext cx="0" cy="0"/>
          <a:chOff x="0" y="0"/>
          <a:chExt cx="0" cy="0"/>
        </a:xfrm>
      </p:grpSpPr>
      <p:sp>
        <p:nvSpPr>
          <p:cNvPr id="15" name="Picture Placeholder 9"/>
          <p:cNvSpPr>
            <a:spLocks noGrp="1"/>
          </p:cNvSpPr>
          <p:nvPr>
            <p:ph type="pic" sz="quarter" idx="14" hasCustomPrompt="1"/>
          </p:nvPr>
        </p:nvSpPr>
        <p:spPr>
          <a:xfrm>
            <a:off x="4673780" y="1113368"/>
            <a:ext cx="6749869" cy="5196417"/>
          </a:xfrm>
          <a:prstGeom prst="roundRect">
            <a:avLst>
              <a:gd name="adj" fmla="val 2994"/>
            </a:avLst>
          </a:prstGeom>
          <a:solidFill>
            <a:schemeClr val="accent6"/>
          </a:solidFill>
          <a:effectLst>
            <a:outerShdw blurRad="139700" dist="12700" dir="2700000" sx="101000" sy="101000" algn="t" rotWithShape="0">
              <a:srgbClr val="353535">
                <a:alpha val="41000"/>
              </a:srgbClr>
            </a:outerShdw>
          </a:effectLst>
          <a:extLst>
            <a:ext uri="{53640926-AAD7-44D8-BBD7-CCE9431645EC}">
              <a14:shadowObscured xmlns:a14="http://schemas.microsoft.com/office/drawing/2010/main"/>
            </a:ext>
          </a:extLst>
        </p:spPr>
        <p:txBody>
          <a:bodyPr lIns="0" tIns="2196000" rIns="0" bIns="0"/>
          <a:lstStyle>
            <a:lvl1pPr marL="0" indent="0" algn="ctr">
              <a:lnSpc>
                <a:spcPct val="100000"/>
              </a:lnSpc>
              <a:buFontTx/>
              <a:buNone/>
              <a:defRPr/>
            </a:lvl1pPr>
          </a:lstStyle>
          <a:p>
            <a:r>
              <a:rPr lang="en-US" noProof="0" dirty="0"/>
              <a:t>Drag picture to placeholder or click icon to add</a:t>
            </a:r>
          </a:p>
        </p:txBody>
      </p:sp>
      <p:sp>
        <p:nvSpPr>
          <p:cNvPr id="8" name="Text Placeholder 8"/>
          <p:cNvSpPr>
            <a:spLocks noGrp="1"/>
          </p:cNvSpPr>
          <p:nvPr>
            <p:ph type="body" sz="quarter" idx="24" hasCustomPrompt="1"/>
          </p:nvPr>
        </p:nvSpPr>
        <p:spPr>
          <a:xfrm>
            <a:off x="768352" y="1113368"/>
            <a:ext cx="3521427" cy="5196417"/>
          </a:xfrm>
          <a:prstGeom prst="rect">
            <a:avLst/>
          </a:prstGeom>
        </p:spPr>
        <p:txBody>
          <a:bodyPr>
            <a:normAutofit/>
          </a:bodyPr>
          <a:lstStyle>
            <a:lvl1pPr marL="0" indent="0">
              <a:lnSpc>
                <a:spcPct val="100000"/>
              </a:lnSpc>
              <a:buFont typeface="Arial" charset="0"/>
              <a:buNone/>
              <a:defRPr sz="2133" b="0"/>
            </a:lvl1pPr>
            <a:lvl2pPr marL="480472" indent="-480472">
              <a:lnSpc>
                <a:spcPct val="100000"/>
              </a:lnSpc>
              <a:buFont typeface="+mj-lt"/>
              <a:buAutoNum type="arabicPeriod"/>
              <a:defRPr sz="2133" b="0"/>
            </a:lvl2pPr>
            <a:lvl3pPr marL="486821" indent="0">
              <a:lnSpc>
                <a:spcPct val="100000"/>
              </a:lnSpc>
              <a:buFont typeface="Arial" charset="0"/>
              <a:buNone/>
              <a:defRPr sz="2133" b="0"/>
            </a:lvl3pPr>
            <a:lvl4pPr marL="732348" indent="0">
              <a:lnSpc>
                <a:spcPct val="100000"/>
              </a:lnSpc>
              <a:buNone/>
              <a:tabLst/>
              <a:defRPr sz="2133" b="0"/>
            </a:lvl4pPr>
            <a:lvl5pPr marL="967293" indent="0">
              <a:lnSpc>
                <a:spcPct val="100000"/>
              </a:lnSpc>
              <a:buFont typeface="Arial" charset="0"/>
              <a:buNone/>
              <a:defRPr sz="2133" b="0" baseline="0"/>
            </a:lvl5pPr>
          </a:lstStyle>
          <a:p>
            <a:pPr lvl="0"/>
            <a:r>
              <a:rPr lang="en-US"/>
              <a:t>Click to add text</a:t>
            </a:r>
          </a:p>
        </p:txBody>
      </p:sp>
      <p:sp>
        <p:nvSpPr>
          <p:cNvPr id="3" name="Date Placeholder 2">
            <a:extLst>
              <a:ext uri="{FF2B5EF4-FFF2-40B4-BE49-F238E27FC236}">
                <a16:creationId xmlns:a16="http://schemas.microsoft.com/office/drawing/2014/main" id="{136B6A0F-FAB0-4F8C-9459-30EDA0835272}"/>
              </a:ext>
            </a:extLst>
          </p:cNvPr>
          <p:cNvSpPr>
            <a:spLocks noGrp="1"/>
          </p:cNvSpPr>
          <p:nvPr>
            <p:ph type="dt" sz="half" idx="25"/>
          </p:nvPr>
        </p:nvSpPr>
        <p:spPr/>
        <p:txBody>
          <a:bodyPr/>
          <a:lstStyle/>
          <a:p>
            <a:endParaRPr lang="en-US" dirty="0"/>
          </a:p>
        </p:txBody>
      </p:sp>
      <p:sp>
        <p:nvSpPr>
          <p:cNvPr id="4" name="Footer Placeholder 3">
            <a:extLst>
              <a:ext uri="{FF2B5EF4-FFF2-40B4-BE49-F238E27FC236}">
                <a16:creationId xmlns:a16="http://schemas.microsoft.com/office/drawing/2014/main" id="{B59A77CE-E662-481F-BCC4-5E6BB30CACEC}"/>
              </a:ext>
            </a:extLst>
          </p:cNvPr>
          <p:cNvSpPr>
            <a:spLocks noGrp="1"/>
          </p:cNvSpPr>
          <p:nvPr>
            <p:ph type="ftr" sz="quarter" idx="26"/>
          </p:nvPr>
        </p:nvSpPr>
        <p:spPr/>
        <p:txBody>
          <a:bodyPr/>
          <a:lstStyle/>
          <a:p>
            <a:endParaRPr lang="en-US" dirty="0"/>
          </a:p>
        </p:txBody>
      </p:sp>
      <p:sp>
        <p:nvSpPr>
          <p:cNvPr id="5" name="Slide Number Placeholder 4">
            <a:extLst>
              <a:ext uri="{FF2B5EF4-FFF2-40B4-BE49-F238E27FC236}">
                <a16:creationId xmlns:a16="http://schemas.microsoft.com/office/drawing/2014/main" id="{F5D6AD45-0EAC-4DBD-8C61-C0F4ACB53601}"/>
              </a:ext>
            </a:extLst>
          </p:cNvPr>
          <p:cNvSpPr>
            <a:spLocks noGrp="1"/>
          </p:cNvSpPr>
          <p:nvPr>
            <p:ph type="sldNum" sz="quarter" idx="27"/>
          </p:nvPr>
        </p:nvSpPr>
        <p:spPr/>
        <p:txBody>
          <a:bodyPr/>
          <a:lstStyle/>
          <a:p>
            <a:fld id="{82F89014-7F8D-47C1-8D79-17A715C9D2BB}" type="slidenum">
              <a:rPr lang="en-US" smtClean="0"/>
              <a:pPr/>
              <a:t>‹#›</a:t>
            </a:fld>
            <a:endParaRPr lang="en-US" dirty="0"/>
          </a:p>
        </p:txBody>
      </p:sp>
      <p:sp>
        <p:nvSpPr>
          <p:cNvPr id="2" name="Titel 1">
            <a:extLst>
              <a:ext uri="{FF2B5EF4-FFF2-40B4-BE49-F238E27FC236}">
                <a16:creationId xmlns:a16="http://schemas.microsoft.com/office/drawing/2014/main" id="{D82C27FB-C163-4802-BBE9-1194F6A07DDA}"/>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1067288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text and image (right small)">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6479115" y="1113368"/>
            <a:ext cx="4944535" cy="5196417"/>
          </a:xfrm>
          <a:prstGeom prst="rect">
            <a:avLst/>
          </a:prstGeom>
          <a:solidFill>
            <a:schemeClr val="accent6"/>
          </a:solidFill>
        </p:spPr>
        <p:txBody>
          <a:bodyPr tIns="2196000"/>
          <a:lstStyle>
            <a:lvl1pPr marL="0" indent="0" algn="ctr">
              <a:lnSpc>
                <a:spcPct val="100000"/>
              </a:lnSpc>
              <a:buFontTx/>
              <a:buNone/>
              <a:defRPr/>
            </a:lvl1pPr>
          </a:lstStyle>
          <a:p>
            <a:r>
              <a:rPr lang="en-US" noProof="0" dirty="0"/>
              <a:t>Drag picture to placeholder or click icon to add</a:t>
            </a:r>
          </a:p>
        </p:txBody>
      </p:sp>
      <p:sp>
        <p:nvSpPr>
          <p:cNvPr id="9" name="Text Placeholder 8"/>
          <p:cNvSpPr>
            <a:spLocks noGrp="1"/>
          </p:cNvSpPr>
          <p:nvPr>
            <p:ph type="body" sz="quarter" idx="13" hasCustomPrompt="1"/>
          </p:nvPr>
        </p:nvSpPr>
        <p:spPr>
          <a:xfrm>
            <a:off x="768351" y="1113368"/>
            <a:ext cx="4944533" cy="5196417"/>
          </a:xfrm>
          <a:prstGeom prst="rect">
            <a:avLst/>
          </a:prstGeom>
        </p:spPr>
        <p:txBody>
          <a:bodyPr/>
          <a:lstStyle>
            <a:lvl1pPr marL="380990" indent="-380990">
              <a:lnSpc>
                <a:spcPct val="100000"/>
              </a:lnSpc>
              <a:buFont typeface="Arial" panose="020B0604020202020204" pitchFamily="34" charset="0"/>
              <a:buChar char="•"/>
              <a:defRPr sz="2133" b="0" baseline="0"/>
            </a:lvl1pPr>
            <a:lvl2pPr marL="380990" indent="-380990">
              <a:lnSpc>
                <a:spcPct val="100000"/>
              </a:lnSpc>
              <a:buFont typeface="Arial" panose="020B0604020202020204" pitchFamily="34" charset="0"/>
              <a:buChar char="•"/>
              <a:defRPr sz="1733" b="0"/>
            </a:lvl2pPr>
            <a:lvl3pPr marL="596885" indent="-232828">
              <a:lnSpc>
                <a:spcPct val="100000"/>
              </a:lnSpc>
              <a:buFont typeface="Arial" panose="020B0604020202020204" pitchFamily="34" charset="0"/>
              <a:buChar char="−"/>
              <a:defRPr sz="1867" b="0"/>
            </a:lvl3pPr>
            <a:lvl4pPr marL="831830" indent="-234945">
              <a:lnSpc>
                <a:spcPct val="100000"/>
              </a:lnSpc>
              <a:tabLst/>
              <a:defRPr sz="1867" b="0"/>
            </a:lvl4pPr>
            <a:lvl5pPr marL="1079473" indent="-247644">
              <a:lnSpc>
                <a:spcPct val="100000"/>
              </a:lnSpc>
              <a:defRPr sz="1867" b="0"/>
            </a:lvl5pPr>
            <a:lvl6pPr marL="2285943"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a:p>
        </p:txBody>
      </p:sp>
      <p:sp>
        <p:nvSpPr>
          <p:cNvPr id="3" name="Titel 2">
            <a:extLst>
              <a:ext uri="{FF2B5EF4-FFF2-40B4-BE49-F238E27FC236}">
                <a16:creationId xmlns:a16="http://schemas.microsoft.com/office/drawing/2014/main" id="{F71526E6-52FE-4A12-AF1B-B37A25A00344}"/>
              </a:ext>
            </a:extLst>
          </p:cNvPr>
          <p:cNvSpPr>
            <a:spLocks noGrp="1"/>
          </p:cNvSpPr>
          <p:nvPr>
            <p:ph type="title"/>
          </p:nvPr>
        </p:nvSpPr>
        <p:spPr/>
        <p:txBody>
          <a:bodyPr/>
          <a:lstStyle/>
          <a:p>
            <a:r>
              <a:rPr lang="en-US"/>
              <a:t>Click to edit Master title style</a:t>
            </a:r>
          </a:p>
        </p:txBody>
      </p:sp>
      <p:sp>
        <p:nvSpPr>
          <p:cNvPr id="6" name="Date Placeholder 5">
            <a:extLst>
              <a:ext uri="{FF2B5EF4-FFF2-40B4-BE49-F238E27FC236}">
                <a16:creationId xmlns:a16="http://schemas.microsoft.com/office/drawing/2014/main" id="{077FD35B-6C0E-42DE-85B1-6521194AA6A7}"/>
              </a:ext>
            </a:extLst>
          </p:cNvPr>
          <p:cNvSpPr>
            <a:spLocks noGrp="1"/>
          </p:cNvSpPr>
          <p:nvPr>
            <p:ph type="dt" sz="half" idx="15"/>
          </p:nvPr>
        </p:nvSpPr>
        <p:spPr/>
        <p:txBody>
          <a:bodyPr/>
          <a:lstStyle/>
          <a:p>
            <a:endParaRPr lang="en-US" dirty="0"/>
          </a:p>
        </p:txBody>
      </p:sp>
      <p:sp>
        <p:nvSpPr>
          <p:cNvPr id="7" name="Footer Placeholder 6">
            <a:extLst>
              <a:ext uri="{FF2B5EF4-FFF2-40B4-BE49-F238E27FC236}">
                <a16:creationId xmlns:a16="http://schemas.microsoft.com/office/drawing/2014/main" id="{BB11B6FB-578C-4F3B-A98D-5AF9DECFC4C8}"/>
              </a:ext>
            </a:extLst>
          </p:cNvPr>
          <p:cNvSpPr>
            <a:spLocks noGrp="1"/>
          </p:cNvSpPr>
          <p:nvPr>
            <p:ph type="ftr" sz="quarter" idx="16"/>
          </p:nvPr>
        </p:nvSpPr>
        <p:spPr/>
        <p:txBody>
          <a:bodyPr/>
          <a:lstStyle/>
          <a:p>
            <a:endParaRPr lang="en-US" dirty="0"/>
          </a:p>
        </p:txBody>
      </p:sp>
      <p:sp>
        <p:nvSpPr>
          <p:cNvPr id="8" name="Slide Number Placeholder 7">
            <a:extLst>
              <a:ext uri="{FF2B5EF4-FFF2-40B4-BE49-F238E27FC236}">
                <a16:creationId xmlns:a16="http://schemas.microsoft.com/office/drawing/2014/main" id="{D518D1FF-B499-48AE-A463-FCD1B03277A3}"/>
              </a:ext>
            </a:extLst>
          </p:cNvPr>
          <p:cNvSpPr>
            <a:spLocks noGrp="1"/>
          </p:cNvSpPr>
          <p:nvPr>
            <p:ph type="sldNum" sz="quarter" idx="1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3685570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text and image (right small) - 2">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6479115" y="1113368"/>
            <a:ext cx="4944535" cy="5196417"/>
          </a:xfrm>
          <a:prstGeom prst="roundRect">
            <a:avLst>
              <a:gd name="adj" fmla="val 3147"/>
            </a:avLst>
          </a:prstGeom>
          <a:solidFill>
            <a:schemeClr val="accent6"/>
          </a:solidFill>
          <a:effectLst>
            <a:outerShdw blurRad="139700" dist="12700" dir="2700000" sx="101000" sy="101000" algn="ctr" rotWithShape="0">
              <a:prstClr val="black">
                <a:alpha val="41000"/>
              </a:prstClr>
            </a:outerShdw>
          </a:effectLst>
        </p:spPr>
        <p:txBody>
          <a:bodyPr tIns="2196000"/>
          <a:lstStyle>
            <a:lvl1pPr marL="0" indent="0" algn="ctr">
              <a:lnSpc>
                <a:spcPct val="100000"/>
              </a:lnSpc>
              <a:buFontTx/>
              <a:buNone/>
              <a:defRPr/>
            </a:lvl1pPr>
          </a:lstStyle>
          <a:p>
            <a:r>
              <a:rPr lang="en-US" noProof="0" dirty="0"/>
              <a:t>Drag picture to placeholder or click icon to add</a:t>
            </a:r>
          </a:p>
        </p:txBody>
      </p:sp>
      <p:sp>
        <p:nvSpPr>
          <p:cNvPr id="9" name="Text Placeholder 8"/>
          <p:cNvSpPr>
            <a:spLocks noGrp="1"/>
          </p:cNvSpPr>
          <p:nvPr>
            <p:ph type="body" sz="quarter" idx="13" hasCustomPrompt="1"/>
          </p:nvPr>
        </p:nvSpPr>
        <p:spPr>
          <a:xfrm>
            <a:off x="768351" y="1113368"/>
            <a:ext cx="4944533" cy="5196417"/>
          </a:xfrm>
          <a:prstGeom prst="rect">
            <a:avLst/>
          </a:prstGeom>
        </p:spPr>
        <p:txBody>
          <a:bodyPr/>
          <a:lstStyle>
            <a:lvl1pPr marL="380990" indent="-380990">
              <a:lnSpc>
                <a:spcPct val="100000"/>
              </a:lnSpc>
              <a:buFont typeface="Arial" panose="020B0604020202020204" pitchFamily="34" charset="0"/>
              <a:buChar char="•"/>
              <a:defRPr sz="2133" b="0" baseline="0"/>
            </a:lvl1pPr>
            <a:lvl2pPr marL="380990" indent="-380990">
              <a:lnSpc>
                <a:spcPct val="100000"/>
              </a:lnSpc>
              <a:buFont typeface="Arial" panose="020B0604020202020204" pitchFamily="34" charset="0"/>
              <a:buChar char="•"/>
              <a:defRPr sz="1733" b="0"/>
            </a:lvl2pPr>
            <a:lvl3pPr marL="596885" indent="-232828">
              <a:lnSpc>
                <a:spcPct val="100000"/>
              </a:lnSpc>
              <a:buFont typeface="Arial" panose="020B0604020202020204" pitchFamily="34" charset="0"/>
              <a:buChar char="−"/>
              <a:defRPr sz="1867" b="0"/>
            </a:lvl3pPr>
            <a:lvl4pPr marL="831830" indent="-234945">
              <a:lnSpc>
                <a:spcPct val="100000"/>
              </a:lnSpc>
              <a:tabLst/>
              <a:defRPr sz="1867" b="0"/>
            </a:lvl4pPr>
            <a:lvl5pPr marL="1079473" indent="-247644">
              <a:lnSpc>
                <a:spcPct val="100000"/>
              </a:lnSpc>
              <a:defRPr sz="1867" b="0"/>
            </a:lvl5pPr>
            <a:lvl6pPr marL="2285943"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a:p>
        </p:txBody>
      </p:sp>
      <p:sp>
        <p:nvSpPr>
          <p:cNvPr id="3" name="Titel 2">
            <a:extLst>
              <a:ext uri="{FF2B5EF4-FFF2-40B4-BE49-F238E27FC236}">
                <a16:creationId xmlns:a16="http://schemas.microsoft.com/office/drawing/2014/main" id="{F71526E6-52FE-4A12-AF1B-B37A25A00344}"/>
              </a:ext>
            </a:extLst>
          </p:cNvPr>
          <p:cNvSpPr>
            <a:spLocks noGrp="1"/>
          </p:cNvSpPr>
          <p:nvPr>
            <p:ph type="title"/>
          </p:nvPr>
        </p:nvSpPr>
        <p:spPr/>
        <p:txBody>
          <a:bodyPr/>
          <a:lstStyle/>
          <a:p>
            <a:r>
              <a:rPr lang="en-US"/>
              <a:t>Click to edit Master title style</a:t>
            </a:r>
          </a:p>
        </p:txBody>
      </p:sp>
      <p:sp>
        <p:nvSpPr>
          <p:cNvPr id="6" name="Date Placeholder 5">
            <a:extLst>
              <a:ext uri="{FF2B5EF4-FFF2-40B4-BE49-F238E27FC236}">
                <a16:creationId xmlns:a16="http://schemas.microsoft.com/office/drawing/2014/main" id="{D7DD8DB3-C531-4BAF-94DF-B0A78EC7175A}"/>
              </a:ext>
            </a:extLst>
          </p:cNvPr>
          <p:cNvSpPr>
            <a:spLocks noGrp="1"/>
          </p:cNvSpPr>
          <p:nvPr>
            <p:ph type="dt" sz="half" idx="15"/>
          </p:nvPr>
        </p:nvSpPr>
        <p:spPr/>
        <p:txBody>
          <a:bodyPr/>
          <a:lstStyle/>
          <a:p>
            <a:endParaRPr lang="en-US" dirty="0"/>
          </a:p>
        </p:txBody>
      </p:sp>
      <p:sp>
        <p:nvSpPr>
          <p:cNvPr id="7" name="Footer Placeholder 6">
            <a:extLst>
              <a:ext uri="{FF2B5EF4-FFF2-40B4-BE49-F238E27FC236}">
                <a16:creationId xmlns:a16="http://schemas.microsoft.com/office/drawing/2014/main" id="{8344BE83-BA14-49B6-A392-4BAD50F8603E}"/>
              </a:ext>
            </a:extLst>
          </p:cNvPr>
          <p:cNvSpPr>
            <a:spLocks noGrp="1"/>
          </p:cNvSpPr>
          <p:nvPr>
            <p:ph type="ftr" sz="quarter" idx="16"/>
          </p:nvPr>
        </p:nvSpPr>
        <p:spPr/>
        <p:txBody>
          <a:bodyPr/>
          <a:lstStyle/>
          <a:p>
            <a:endParaRPr lang="en-US" dirty="0"/>
          </a:p>
        </p:txBody>
      </p:sp>
      <p:sp>
        <p:nvSpPr>
          <p:cNvPr id="11" name="Slide Number Placeholder 10">
            <a:extLst>
              <a:ext uri="{FF2B5EF4-FFF2-40B4-BE49-F238E27FC236}">
                <a16:creationId xmlns:a16="http://schemas.microsoft.com/office/drawing/2014/main" id="{3F0C4FF9-2E18-439F-BB75-2227EBAD5880}"/>
              </a:ext>
            </a:extLst>
          </p:cNvPr>
          <p:cNvSpPr>
            <a:spLocks noGrp="1"/>
          </p:cNvSpPr>
          <p:nvPr>
            <p:ph type="sldNum" sz="quarter" idx="1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649613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4CAAB-0663-7E09-C735-45542913BBF4}"/>
              </a:ext>
            </a:extLst>
          </p:cNvPr>
          <p:cNvSpPr>
            <a:spLocks noGrp="1"/>
          </p:cNvSpPr>
          <p:nvPr>
            <p:ph type="title"/>
          </p:nvPr>
        </p:nvSpPr>
        <p:spPr/>
        <p:txBody>
          <a:bodyPr/>
          <a:lstStyle/>
          <a:p>
            <a:r>
              <a:rPr lang="en-US"/>
              <a:t>Click to edit Master title style</a:t>
            </a:r>
            <a:endParaRPr lang="en-NL"/>
          </a:p>
        </p:txBody>
      </p:sp>
      <p:sp>
        <p:nvSpPr>
          <p:cNvPr id="3" name="Date Placeholder 2">
            <a:extLst>
              <a:ext uri="{FF2B5EF4-FFF2-40B4-BE49-F238E27FC236}">
                <a16:creationId xmlns:a16="http://schemas.microsoft.com/office/drawing/2014/main" id="{0B28B557-9DC3-5C98-A4E7-0068D8B88483}"/>
              </a:ext>
            </a:extLst>
          </p:cNvPr>
          <p:cNvSpPr>
            <a:spLocks noGrp="1"/>
          </p:cNvSpPr>
          <p:nvPr>
            <p:ph type="dt" sz="half" idx="10"/>
          </p:nvPr>
        </p:nvSpPr>
        <p:spPr/>
        <p:txBody>
          <a:bodyPr/>
          <a:lstStyle/>
          <a:p>
            <a:fld id="{036B0891-7476-4D8C-837F-BB2F6F398C80}" type="datetimeFigureOut">
              <a:rPr lang="en-NL" smtClean="0"/>
              <a:t>10/23/2025</a:t>
            </a:fld>
            <a:endParaRPr lang="en-NL"/>
          </a:p>
        </p:txBody>
      </p:sp>
      <p:sp>
        <p:nvSpPr>
          <p:cNvPr id="4" name="Footer Placeholder 3">
            <a:extLst>
              <a:ext uri="{FF2B5EF4-FFF2-40B4-BE49-F238E27FC236}">
                <a16:creationId xmlns:a16="http://schemas.microsoft.com/office/drawing/2014/main" id="{A5DC83D7-678E-FD80-C83E-9E0E708B7C09}"/>
              </a:ext>
            </a:extLst>
          </p:cNvPr>
          <p:cNvSpPr>
            <a:spLocks noGrp="1"/>
          </p:cNvSpPr>
          <p:nvPr>
            <p:ph type="ftr" sz="quarter" idx="11"/>
          </p:nvPr>
        </p:nvSpPr>
        <p:spPr/>
        <p:txBody>
          <a:bodyPr/>
          <a:lstStyle/>
          <a:p>
            <a:endParaRPr lang="en-NL"/>
          </a:p>
        </p:txBody>
      </p:sp>
      <p:sp>
        <p:nvSpPr>
          <p:cNvPr id="5" name="Slide Number Placeholder 4">
            <a:extLst>
              <a:ext uri="{FF2B5EF4-FFF2-40B4-BE49-F238E27FC236}">
                <a16:creationId xmlns:a16="http://schemas.microsoft.com/office/drawing/2014/main" id="{BC32FB34-626D-1B30-04AB-2E577FC711E1}"/>
              </a:ext>
            </a:extLst>
          </p:cNvPr>
          <p:cNvSpPr>
            <a:spLocks noGrp="1"/>
          </p:cNvSpPr>
          <p:nvPr>
            <p:ph type="sldNum" sz="quarter" idx="12"/>
          </p:nvPr>
        </p:nvSpPr>
        <p:spPr/>
        <p:txBody>
          <a:bodyPr/>
          <a:lstStyle/>
          <a:p>
            <a:fld id="{A4C5E35F-323C-4AC9-A193-D482FFFB2350}" type="slidenum">
              <a:rPr lang="en-NL" smtClean="0"/>
              <a:t>‹#›</a:t>
            </a:fld>
            <a:endParaRPr lang="en-NL"/>
          </a:p>
        </p:txBody>
      </p:sp>
    </p:spTree>
    <p:extLst>
      <p:ext uri="{BB962C8B-B14F-4D97-AF65-F5344CB8AC3E}">
        <p14:creationId xmlns:p14="http://schemas.microsoft.com/office/powerpoint/2010/main" val="333809110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and image (wide)">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EBA7FD14-63CD-42B5-8123-E0D2D06AE6A3}"/>
              </a:ext>
            </a:extLst>
          </p:cNvPr>
          <p:cNvSpPr>
            <a:spLocks noGrp="1"/>
          </p:cNvSpPr>
          <p:nvPr>
            <p:ph type="title"/>
          </p:nvPr>
        </p:nvSpPr>
        <p:spPr/>
        <p:txBody>
          <a:bodyPr/>
          <a:lstStyle/>
          <a:p>
            <a:r>
              <a:rPr lang="en-US"/>
              <a:t>Click to edit Master title style</a:t>
            </a:r>
          </a:p>
        </p:txBody>
      </p:sp>
      <p:sp>
        <p:nvSpPr>
          <p:cNvPr id="4" name="Date Placeholder 3">
            <a:extLst>
              <a:ext uri="{FF2B5EF4-FFF2-40B4-BE49-F238E27FC236}">
                <a16:creationId xmlns:a16="http://schemas.microsoft.com/office/drawing/2014/main" id="{50D40CD0-E62A-40D6-A9A7-E90A7941CF89}"/>
              </a:ext>
            </a:extLst>
          </p:cNvPr>
          <p:cNvSpPr>
            <a:spLocks noGrp="1"/>
          </p:cNvSpPr>
          <p:nvPr>
            <p:ph type="dt" sz="half" idx="17"/>
          </p:nvPr>
        </p:nvSpPr>
        <p:spPr/>
        <p:txBody>
          <a:bodyPr/>
          <a:lstStyle/>
          <a:p>
            <a:endParaRPr lang="en-US" dirty="0"/>
          </a:p>
        </p:txBody>
      </p:sp>
      <p:sp>
        <p:nvSpPr>
          <p:cNvPr id="7" name="Footer Placeholder 6">
            <a:extLst>
              <a:ext uri="{FF2B5EF4-FFF2-40B4-BE49-F238E27FC236}">
                <a16:creationId xmlns:a16="http://schemas.microsoft.com/office/drawing/2014/main" id="{6871E6EE-F796-4FC9-A7D0-4C318002A703}"/>
              </a:ext>
            </a:extLst>
          </p:cNvPr>
          <p:cNvSpPr>
            <a:spLocks noGrp="1"/>
          </p:cNvSpPr>
          <p:nvPr>
            <p:ph type="ftr" sz="quarter" idx="18"/>
          </p:nvPr>
        </p:nvSpPr>
        <p:spPr/>
        <p:txBody>
          <a:bodyPr/>
          <a:lstStyle/>
          <a:p>
            <a:endParaRPr lang="en-US" dirty="0"/>
          </a:p>
        </p:txBody>
      </p:sp>
      <p:sp>
        <p:nvSpPr>
          <p:cNvPr id="8" name="Slide Number Placeholder 7">
            <a:extLst>
              <a:ext uri="{FF2B5EF4-FFF2-40B4-BE49-F238E27FC236}">
                <a16:creationId xmlns:a16="http://schemas.microsoft.com/office/drawing/2014/main" id="{8AA59B62-65E5-4805-9C65-6AB0D3219CEE}"/>
              </a:ext>
            </a:extLst>
          </p:cNvPr>
          <p:cNvSpPr>
            <a:spLocks noGrp="1"/>
          </p:cNvSpPr>
          <p:nvPr>
            <p:ph type="sldNum" sz="quarter" idx="19"/>
          </p:nvPr>
        </p:nvSpPr>
        <p:spPr/>
        <p:txBody>
          <a:bodyPr/>
          <a:lstStyle/>
          <a:p>
            <a:fld id="{82F89014-7F8D-47C1-8D79-17A715C9D2BB}" type="slidenum">
              <a:rPr lang="en-US" smtClean="0"/>
              <a:pPr/>
              <a:t>‹#›</a:t>
            </a:fld>
            <a:endParaRPr lang="en-US" dirty="0"/>
          </a:p>
        </p:txBody>
      </p:sp>
      <p:sp>
        <p:nvSpPr>
          <p:cNvPr id="5" name="Picture Placeholder 4">
            <a:extLst>
              <a:ext uri="{FF2B5EF4-FFF2-40B4-BE49-F238E27FC236}">
                <a16:creationId xmlns:a16="http://schemas.microsoft.com/office/drawing/2014/main" id="{41D87977-6410-4861-821B-247A28DFF45D}"/>
              </a:ext>
            </a:extLst>
          </p:cNvPr>
          <p:cNvSpPr>
            <a:spLocks noGrp="1"/>
          </p:cNvSpPr>
          <p:nvPr>
            <p:ph type="pic" sz="quarter" idx="20" hasCustomPrompt="1"/>
          </p:nvPr>
        </p:nvSpPr>
        <p:spPr>
          <a:xfrm>
            <a:off x="768351" y="1113368"/>
            <a:ext cx="10655300" cy="5196417"/>
          </a:xfrm>
          <a:solidFill>
            <a:schemeClr val="accent6"/>
          </a:solidFill>
        </p:spPr>
        <p:txBody>
          <a:bodyPr tIns="2088000"/>
          <a:lstStyle>
            <a:lvl1pPr marL="0" indent="0" algn="ctr">
              <a:buNone/>
              <a:defRPr/>
            </a:lvl1pPr>
          </a:lstStyle>
          <a:p>
            <a:pPr marL="0" marR="0" lvl="0" indent="0" algn="ctr" defTabSz="914377" rtl="0" eaLnBrk="1" fontAlgn="auto" latinLnBrk="0" hangingPunct="1">
              <a:lnSpc>
                <a:spcPct val="100000"/>
              </a:lnSpc>
              <a:spcBef>
                <a:spcPts val="0"/>
              </a:spcBef>
              <a:spcAft>
                <a:spcPts val="800"/>
              </a:spcAft>
              <a:buClr>
                <a:srgbClr val="FF6C00"/>
              </a:buClr>
              <a:buSzTx/>
              <a:buFont typeface="Arial" panose="020B0604020202020204" pitchFamily="34" charset="0"/>
              <a:buNone/>
              <a:tabLst>
                <a:tab pos="355591" algn="l"/>
              </a:tabLst>
              <a:defRPr/>
            </a:pPr>
            <a:r>
              <a:rPr lang="en-US" noProof="0" dirty="0"/>
              <a:t>Drag picture to placeholder or click icon to add</a:t>
            </a:r>
          </a:p>
        </p:txBody>
      </p:sp>
    </p:spTree>
    <p:extLst>
      <p:ext uri="{BB962C8B-B14F-4D97-AF65-F5344CB8AC3E}">
        <p14:creationId xmlns:p14="http://schemas.microsoft.com/office/powerpoint/2010/main" val="326558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slide with video background">
    <p:spTree>
      <p:nvGrpSpPr>
        <p:cNvPr id="1" name=""/>
        <p:cNvGrpSpPr/>
        <p:nvPr/>
      </p:nvGrpSpPr>
      <p:grpSpPr>
        <a:xfrm>
          <a:off x="0" y="0"/>
          <a:ext cx="0" cy="0"/>
          <a:chOff x="0" y="0"/>
          <a:chExt cx="0" cy="0"/>
        </a:xfrm>
      </p:grpSpPr>
      <p:sp>
        <p:nvSpPr>
          <p:cNvPr id="4" name="Media Placeholder 3">
            <a:extLst>
              <a:ext uri="{FF2B5EF4-FFF2-40B4-BE49-F238E27FC236}">
                <a16:creationId xmlns:a16="http://schemas.microsoft.com/office/drawing/2014/main" id="{61EF6098-F062-48C8-804B-4CB80BE90332}"/>
              </a:ext>
            </a:extLst>
          </p:cNvPr>
          <p:cNvSpPr>
            <a:spLocks noGrp="1"/>
          </p:cNvSpPr>
          <p:nvPr>
            <p:ph type="media" sz="quarter" idx="17" hasCustomPrompt="1"/>
          </p:nvPr>
        </p:nvSpPr>
        <p:spPr>
          <a:xfrm>
            <a:off x="0" y="0"/>
            <a:ext cx="12192000" cy="6858000"/>
          </a:xfrm>
          <a:solidFill>
            <a:srgbClr val="3E4043">
              <a:alpha val="14902"/>
            </a:srgbClr>
          </a:solidFill>
        </p:spPr>
        <p:txBody>
          <a:bodyPr/>
          <a:lstStyle>
            <a:lvl1pPr marL="0" indent="0" algn="ctr">
              <a:buNone/>
              <a:defRPr/>
            </a:lvl1pPr>
          </a:lstStyle>
          <a:p>
            <a:pPr marL="0" marR="0" lvl="0" indent="0" algn="l" defTabSz="914377" rtl="0" eaLnBrk="1" fontAlgn="auto" latinLnBrk="0" hangingPunct="1">
              <a:lnSpc>
                <a:spcPct val="100000"/>
              </a:lnSpc>
              <a:spcBef>
                <a:spcPts val="0"/>
              </a:spcBef>
              <a:spcAft>
                <a:spcPts val="800"/>
              </a:spcAft>
              <a:buClr>
                <a:srgbClr val="FF6C00"/>
              </a:buClr>
              <a:buSzTx/>
              <a:buFont typeface="Arial" panose="020B0604020202020204" pitchFamily="34" charset="0"/>
              <a:buNone/>
              <a:tabLst>
                <a:tab pos="355591" algn="l"/>
              </a:tabLst>
              <a:defRPr/>
            </a:pPr>
            <a:r>
              <a:rPr lang="en-US" noProof="0" dirty="0"/>
              <a:t>Drag movie to placeholder or click icon to add</a:t>
            </a:r>
          </a:p>
        </p:txBody>
      </p:sp>
      <p:sp>
        <p:nvSpPr>
          <p:cNvPr id="3" name="Title 2">
            <a:extLst>
              <a:ext uri="{FF2B5EF4-FFF2-40B4-BE49-F238E27FC236}">
                <a16:creationId xmlns:a16="http://schemas.microsoft.com/office/drawing/2014/main" id="{9DE8C169-6D44-4FAB-8862-F0E9E8469FD6}"/>
              </a:ext>
            </a:extLst>
          </p:cNvPr>
          <p:cNvSpPr>
            <a:spLocks noGrp="1"/>
          </p:cNvSpPr>
          <p:nvPr>
            <p:ph type="title"/>
          </p:nvPr>
        </p:nvSpPr>
        <p:spPr>
          <a:xfrm>
            <a:off x="768351" y="5636685"/>
            <a:ext cx="10655299" cy="673100"/>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5719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5" pos="5397">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and Table">
    <p:spTree>
      <p:nvGrpSpPr>
        <p:cNvPr id="1" name=""/>
        <p:cNvGrpSpPr/>
        <p:nvPr/>
      </p:nvGrpSpPr>
      <p:grpSpPr>
        <a:xfrm>
          <a:off x="0" y="0"/>
          <a:ext cx="0" cy="0"/>
          <a:chOff x="0" y="0"/>
          <a:chExt cx="0" cy="0"/>
        </a:xfrm>
      </p:grpSpPr>
      <p:sp>
        <p:nvSpPr>
          <p:cNvPr id="10" name="Table Placeholder 6"/>
          <p:cNvSpPr>
            <a:spLocks noGrp="1"/>
          </p:cNvSpPr>
          <p:nvPr>
            <p:ph type="tbl" sz="quarter" idx="16"/>
          </p:nvPr>
        </p:nvSpPr>
        <p:spPr>
          <a:xfrm>
            <a:off x="768348" y="1113366"/>
            <a:ext cx="10653859" cy="5196417"/>
          </a:xfrm>
          <a:prstGeom prst="rect">
            <a:avLst/>
          </a:prstGeom>
        </p:spPr>
        <p:txBody>
          <a:bodyPr/>
          <a:lstStyle>
            <a:lvl1pPr marL="0" indent="0">
              <a:lnSpc>
                <a:spcPct val="100000"/>
              </a:lnSpc>
              <a:buNone/>
              <a:defRPr/>
            </a:lvl1pPr>
          </a:lstStyle>
          <a:p>
            <a:r>
              <a:rPr lang="en-US" noProof="0" dirty="0"/>
              <a:t>Click icon to add table</a:t>
            </a:r>
          </a:p>
        </p:txBody>
      </p:sp>
      <p:sp>
        <p:nvSpPr>
          <p:cNvPr id="3" name="Titel 2">
            <a:extLst>
              <a:ext uri="{FF2B5EF4-FFF2-40B4-BE49-F238E27FC236}">
                <a16:creationId xmlns:a16="http://schemas.microsoft.com/office/drawing/2014/main" id="{EBA7FD14-63CD-42B5-8123-E0D2D06AE6A3}"/>
              </a:ext>
            </a:extLst>
          </p:cNvPr>
          <p:cNvSpPr>
            <a:spLocks noGrp="1"/>
          </p:cNvSpPr>
          <p:nvPr>
            <p:ph type="title"/>
          </p:nvPr>
        </p:nvSpPr>
        <p:spPr/>
        <p:txBody>
          <a:bodyPr/>
          <a:lstStyle/>
          <a:p>
            <a:r>
              <a:rPr lang="en-US"/>
              <a:t>Click to edit Master title style</a:t>
            </a:r>
          </a:p>
        </p:txBody>
      </p:sp>
      <p:sp>
        <p:nvSpPr>
          <p:cNvPr id="4" name="Date Placeholder 3">
            <a:extLst>
              <a:ext uri="{FF2B5EF4-FFF2-40B4-BE49-F238E27FC236}">
                <a16:creationId xmlns:a16="http://schemas.microsoft.com/office/drawing/2014/main" id="{50D40CD0-E62A-40D6-A9A7-E90A7941CF89}"/>
              </a:ext>
            </a:extLst>
          </p:cNvPr>
          <p:cNvSpPr>
            <a:spLocks noGrp="1"/>
          </p:cNvSpPr>
          <p:nvPr>
            <p:ph type="dt" sz="half" idx="17"/>
          </p:nvPr>
        </p:nvSpPr>
        <p:spPr/>
        <p:txBody>
          <a:bodyPr/>
          <a:lstStyle/>
          <a:p>
            <a:endParaRPr lang="en-US" dirty="0"/>
          </a:p>
        </p:txBody>
      </p:sp>
      <p:sp>
        <p:nvSpPr>
          <p:cNvPr id="7" name="Footer Placeholder 6">
            <a:extLst>
              <a:ext uri="{FF2B5EF4-FFF2-40B4-BE49-F238E27FC236}">
                <a16:creationId xmlns:a16="http://schemas.microsoft.com/office/drawing/2014/main" id="{6871E6EE-F796-4FC9-A7D0-4C318002A703}"/>
              </a:ext>
            </a:extLst>
          </p:cNvPr>
          <p:cNvSpPr>
            <a:spLocks noGrp="1"/>
          </p:cNvSpPr>
          <p:nvPr>
            <p:ph type="ftr" sz="quarter" idx="18"/>
          </p:nvPr>
        </p:nvSpPr>
        <p:spPr/>
        <p:txBody>
          <a:bodyPr/>
          <a:lstStyle/>
          <a:p>
            <a:endParaRPr lang="en-US" dirty="0"/>
          </a:p>
        </p:txBody>
      </p:sp>
      <p:sp>
        <p:nvSpPr>
          <p:cNvPr id="8" name="Slide Number Placeholder 7">
            <a:extLst>
              <a:ext uri="{FF2B5EF4-FFF2-40B4-BE49-F238E27FC236}">
                <a16:creationId xmlns:a16="http://schemas.microsoft.com/office/drawing/2014/main" id="{8AA59B62-65E5-4805-9C65-6AB0D3219CEE}"/>
              </a:ext>
            </a:extLst>
          </p:cNvPr>
          <p:cNvSpPr>
            <a:spLocks noGrp="1"/>
          </p:cNvSpPr>
          <p:nvPr>
            <p:ph type="sldNum" sz="quarter" idx="19"/>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3294770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86045" y="3101091"/>
            <a:ext cx="3905956" cy="3756909"/>
          </a:xfrm>
          <a:prstGeom prst="rect">
            <a:avLst/>
          </a:prstGeom>
        </p:spPr>
      </p:pic>
      <p:sp>
        <p:nvSpPr>
          <p:cNvPr id="7" name="Title 1"/>
          <p:cNvSpPr>
            <a:spLocks noGrp="1"/>
          </p:cNvSpPr>
          <p:nvPr>
            <p:ph type="title" hasCustomPrompt="1"/>
          </p:nvPr>
        </p:nvSpPr>
        <p:spPr>
          <a:xfrm>
            <a:off x="768349" y="1113365"/>
            <a:ext cx="7987200" cy="4224000"/>
          </a:xfrm>
          <a:prstGeom prst="rect">
            <a:avLst/>
          </a:prstGeom>
        </p:spPr>
        <p:txBody>
          <a:bodyPr lIns="0" tIns="0" rIns="0">
            <a:normAutofit/>
          </a:bodyPr>
          <a:lstStyle>
            <a:lvl1pPr marL="235194" indent="-235194">
              <a:lnSpc>
                <a:spcPct val="100000"/>
              </a:lnSpc>
              <a:spcAft>
                <a:spcPts val="1600"/>
              </a:spcAft>
              <a:defRPr sz="4800" baseline="0">
                <a:solidFill>
                  <a:schemeClr val="accent2"/>
                </a:solidFill>
              </a:defRPr>
            </a:lvl1pPr>
          </a:lstStyle>
          <a:p>
            <a:r>
              <a:rPr lang="en-US"/>
              <a:t>“Quote”</a:t>
            </a:r>
          </a:p>
        </p:txBody>
      </p:sp>
      <p:sp>
        <p:nvSpPr>
          <p:cNvPr id="4" name="Date Placeholder 3">
            <a:extLst>
              <a:ext uri="{FF2B5EF4-FFF2-40B4-BE49-F238E27FC236}">
                <a16:creationId xmlns:a16="http://schemas.microsoft.com/office/drawing/2014/main" id="{B0A140A6-5D0E-4488-95CA-4733486F593B}"/>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8B200B3A-B3FB-4A32-A145-4E221A432DD0}"/>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97DC275C-83AD-4E74-9F99-2A21F1C78853}"/>
              </a:ext>
            </a:extLst>
          </p:cNvPr>
          <p:cNvSpPr>
            <a:spLocks noGrp="1"/>
          </p:cNvSpPr>
          <p:nvPr>
            <p:ph type="sldNum" sz="quarter" idx="12"/>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4099924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Quote (white text - on dark image)">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0" y="0"/>
            <a:ext cx="12192000" cy="6858000"/>
          </a:xfrm>
          <a:prstGeom prst="rect">
            <a:avLst/>
          </a:prstGeom>
          <a:solidFill>
            <a:schemeClr val="accent6"/>
          </a:solidFill>
        </p:spPr>
        <p:txBody>
          <a:bodyPr/>
          <a:lstStyle>
            <a:lvl1pPr marL="0" indent="0" algn="ctr">
              <a:lnSpc>
                <a:spcPct val="100000"/>
              </a:lnSpc>
              <a:buNone/>
              <a:defRPr sz="2133"/>
            </a:lvl1pPr>
          </a:lstStyle>
          <a:p>
            <a:r>
              <a:rPr lang="en-US" noProof="0" dirty="0"/>
              <a:t>Drag picture into placeholder</a:t>
            </a:r>
          </a:p>
        </p:txBody>
      </p:sp>
      <p:sp>
        <p:nvSpPr>
          <p:cNvPr id="2" name="Date Placeholder 1">
            <a:extLst>
              <a:ext uri="{FF2B5EF4-FFF2-40B4-BE49-F238E27FC236}">
                <a16:creationId xmlns:a16="http://schemas.microsoft.com/office/drawing/2014/main" id="{095FDA8F-E5DE-42B3-BE10-7B8BCDC83F25}"/>
              </a:ext>
            </a:extLst>
          </p:cNvPr>
          <p:cNvSpPr>
            <a:spLocks noGrp="1"/>
          </p:cNvSpPr>
          <p:nvPr>
            <p:ph type="dt" sz="half" idx="14"/>
          </p:nvPr>
        </p:nvSpPr>
        <p:spPr/>
        <p:txBody>
          <a:bodyPr/>
          <a:lstStyle/>
          <a:p>
            <a:endParaRPr lang="en-US" dirty="0"/>
          </a:p>
        </p:txBody>
      </p:sp>
      <p:sp>
        <p:nvSpPr>
          <p:cNvPr id="3" name="Footer Placeholder 2">
            <a:extLst>
              <a:ext uri="{FF2B5EF4-FFF2-40B4-BE49-F238E27FC236}">
                <a16:creationId xmlns:a16="http://schemas.microsoft.com/office/drawing/2014/main" id="{ED6D733F-B7CE-451D-A09C-370A3D494B34}"/>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394006D7-7C1F-4025-93C7-D6BFDD015ACE}"/>
              </a:ext>
            </a:extLst>
          </p:cNvPr>
          <p:cNvSpPr>
            <a:spLocks noGrp="1"/>
          </p:cNvSpPr>
          <p:nvPr>
            <p:ph type="sldNum" sz="quarter" idx="16"/>
          </p:nvPr>
        </p:nvSpPr>
        <p:spPr/>
        <p:txBody>
          <a:bodyPr/>
          <a:lstStyle/>
          <a:p>
            <a:fld id="{82F89014-7F8D-47C1-8D79-17A715C9D2BB}" type="slidenum">
              <a:rPr lang="en-US" smtClean="0"/>
              <a:pPr/>
              <a:t>‹#›</a:t>
            </a:fld>
            <a:endParaRPr lang="en-US" dirty="0"/>
          </a:p>
        </p:txBody>
      </p:sp>
      <p:sp>
        <p:nvSpPr>
          <p:cNvPr id="7" name="Title 1">
            <a:extLst>
              <a:ext uri="{FF2B5EF4-FFF2-40B4-BE49-F238E27FC236}">
                <a16:creationId xmlns:a16="http://schemas.microsoft.com/office/drawing/2014/main" id="{C8A7EB86-3F9E-4A42-81FA-F215DE6BC51F}"/>
              </a:ext>
            </a:extLst>
          </p:cNvPr>
          <p:cNvSpPr>
            <a:spLocks noGrp="1"/>
          </p:cNvSpPr>
          <p:nvPr>
            <p:ph type="title" hasCustomPrompt="1"/>
          </p:nvPr>
        </p:nvSpPr>
        <p:spPr>
          <a:xfrm>
            <a:off x="768349" y="1113365"/>
            <a:ext cx="7987200" cy="4224000"/>
          </a:xfrm>
          <a:prstGeom prst="rect">
            <a:avLst/>
          </a:prstGeom>
        </p:spPr>
        <p:txBody>
          <a:bodyPr lIns="0" tIns="0" rIns="0">
            <a:normAutofit/>
          </a:bodyPr>
          <a:lstStyle>
            <a:lvl1pPr marL="235194" indent="-235194">
              <a:lnSpc>
                <a:spcPct val="100000"/>
              </a:lnSpc>
              <a:spcAft>
                <a:spcPts val="1600"/>
              </a:spcAft>
              <a:defRPr sz="4800" baseline="0">
                <a:solidFill>
                  <a:schemeClr val="bg1"/>
                </a:solidFill>
              </a:defRPr>
            </a:lvl1pPr>
          </a:lstStyle>
          <a:p>
            <a:r>
              <a:rPr lang="en-US"/>
              <a:t>“Quote”</a:t>
            </a:r>
          </a:p>
        </p:txBody>
      </p:sp>
    </p:spTree>
    <p:extLst>
      <p:ext uri="{BB962C8B-B14F-4D97-AF65-F5344CB8AC3E}">
        <p14:creationId xmlns:p14="http://schemas.microsoft.com/office/powerpoint/2010/main" val="4247875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Quote (dark text - on light image)">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0" y="0"/>
            <a:ext cx="12192000" cy="6858000"/>
          </a:xfrm>
          <a:prstGeom prst="rect">
            <a:avLst/>
          </a:prstGeom>
          <a:solidFill>
            <a:schemeClr val="accent6"/>
          </a:solidFill>
        </p:spPr>
        <p:txBody>
          <a:bodyPr/>
          <a:lstStyle>
            <a:lvl1pPr marL="0" indent="0" algn="ctr">
              <a:lnSpc>
                <a:spcPct val="100000"/>
              </a:lnSpc>
              <a:buNone/>
              <a:defRPr sz="2133"/>
            </a:lvl1pPr>
          </a:lstStyle>
          <a:p>
            <a:r>
              <a:rPr lang="en-US" dirty="0"/>
              <a:t>Drag </a:t>
            </a:r>
            <a:r>
              <a:rPr lang="en-US" noProof="0" dirty="0"/>
              <a:t>picture</a:t>
            </a:r>
            <a:r>
              <a:rPr lang="en-US" dirty="0"/>
              <a:t> into placeholder</a:t>
            </a:r>
          </a:p>
        </p:txBody>
      </p:sp>
      <p:sp>
        <p:nvSpPr>
          <p:cNvPr id="2" name="Date Placeholder 1">
            <a:extLst>
              <a:ext uri="{FF2B5EF4-FFF2-40B4-BE49-F238E27FC236}">
                <a16:creationId xmlns:a16="http://schemas.microsoft.com/office/drawing/2014/main" id="{BB5D03DB-E24A-4B52-B9D9-B3D6DF213897}"/>
              </a:ext>
            </a:extLst>
          </p:cNvPr>
          <p:cNvSpPr>
            <a:spLocks noGrp="1"/>
          </p:cNvSpPr>
          <p:nvPr>
            <p:ph type="dt" sz="half" idx="14"/>
          </p:nvPr>
        </p:nvSpPr>
        <p:spPr/>
        <p:txBody>
          <a:bodyPr/>
          <a:lstStyle/>
          <a:p>
            <a:endParaRPr lang="en-US" dirty="0"/>
          </a:p>
        </p:txBody>
      </p:sp>
      <p:sp>
        <p:nvSpPr>
          <p:cNvPr id="3" name="Footer Placeholder 2">
            <a:extLst>
              <a:ext uri="{FF2B5EF4-FFF2-40B4-BE49-F238E27FC236}">
                <a16:creationId xmlns:a16="http://schemas.microsoft.com/office/drawing/2014/main" id="{F08D1E53-7D02-44DA-8691-6E53E6200A05}"/>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433AB17E-1E0B-4FA0-982D-17BEFEF8771F}"/>
              </a:ext>
            </a:extLst>
          </p:cNvPr>
          <p:cNvSpPr>
            <a:spLocks noGrp="1"/>
          </p:cNvSpPr>
          <p:nvPr>
            <p:ph type="sldNum" sz="quarter" idx="16"/>
          </p:nvPr>
        </p:nvSpPr>
        <p:spPr/>
        <p:txBody>
          <a:bodyPr/>
          <a:lstStyle/>
          <a:p>
            <a:fld id="{82F89014-7F8D-47C1-8D79-17A715C9D2BB}" type="slidenum">
              <a:rPr lang="en-US" smtClean="0"/>
              <a:pPr/>
              <a:t>‹#›</a:t>
            </a:fld>
            <a:endParaRPr lang="en-US" dirty="0"/>
          </a:p>
        </p:txBody>
      </p:sp>
      <p:sp>
        <p:nvSpPr>
          <p:cNvPr id="7" name="Title 1">
            <a:extLst>
              <a:ext uri="{FF2B5EF4-FFF2-40B4-BE49-F238E27FC236}">
                <a16:creationId xmlns:a16="http://schemas.microsoft.com/office/drawing/2014/main" id="{628E9124-E359-49E6-A14A-2497E35E512E}"/>
              </a:ext>
            </a:extLst>
          </p:cNvPr>
          <p:cNvSpPr>
            <a:spLocks noGrp="1"/>
          </p:cNvSpPr>
          <p:nvPr>
            <p:ph type="title" hasCustomPrompt="1"/>
          </p:nvPr>
        </p:nvSpPr>
        <p:spPr>
          <a:xfrm>
            <a:off x="768349" y="1113365"/>
            <a:ext cx="7987200" cy="4224000"/>
          </a:xfrm>
          <a:prstGeom prst="rect">
            <a:avLst/>
          </a:prstGeom>
        </p:spPr>
        <p:txBody>
          <a:bodyPr lIns="0" tIns="0" rIns="0">
            <a:normAutofit/>
          </a:bodyPr>
          <a:lstStyle>
            <a:lvl1pPr marL="235194" indent="-235194">
              <a:lnSpc>
                <a:spcPct val="100000"/>
              </a:lnSpc>
              <a:spcAft>
                <a:spcPts val="1600"/>
              </a:spcAft>
              <a:defRPr sz="4800" baseline="0">
                <a:solidFill>
                  <a:schemeClr val="tx1"/>
                </a:solidFill>
              </a:defRPr>
            </a:lvl1pPr>
          </a:lstStyle>
          <a:p>
            <a:r>
              <a:rPr lang="en-US"/>
              <a:t>“Quote”</a:t>
            </a:r>
          </a:p>
        </p:txBody>
      </p:sp>
    </p:spTree>
    <p:extLst>
      <p:ext uri="{BB962C8B-B14F-4D97-AF65-F5344CB8AC3E}">
        <p14:creationId xmlns:p14="http://schemas.microsoft.com/office/powerpoint/2010/main" val="3270098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4226F7B-C707-4C07-B686-02CD29F0CADB}"/>
              </a:ext>
            </a:extLst>
          </p:cNvPr>
          <p:cNvSpPr>
            <a:spLocks noGrp="1"/>
          </p:cNvSpPr>
          <p:nvPr>
            <p:ph type="body" sz="quarter" idx="15" hasCustomPrompt="1"/>
          </p:nvPr>
        </p:nvSpPr>
        <p:spPr>
          <a:xfrm>
            <a:off x="768351" y="2593184"/>
            <a:ext cx="4944533" cy="2125837"/>
          </a:xfrm>
        </p:spPr>
        <p:txBody>
          <a:bodyPr/>
          <a:lstStyle>
            <a:lvl1pPr marL="0" indent="0">
              <a:buNone/>
              <a:tabLst/>
              <a:defRPr lang="en-US" sz="6667" kern="1200" dirty="0" smtClean="0">
                <a:solidFill>
                  <a:schemeClr val="tx1"/>
                </a:solidFill>
                <a:latin typeface="+mj-lt"/>
                <a:ea typeface="+mj-ea"/>
                <a:cs typeface="+mj-cs"/>
              </a:defRPr>
            </a:lvl1pPr>
          </a:lstStyle>
          <a:p>
            <a:pPr lvl="0"/>
            <a:r>
              <a:rPr lang="en-US"/>
              <a:t>Closing line</a:t>
            </a:r>
          </a:p>
        </p:txBody>
      </p:sp>
      <p:sp>
        <p:nvSpPr>
          <p:cNvPr id="12" name="Text Placeholder 11"/>
          <p:cNvSpPr>
            <a:spLocks noGrp="1"/>
          </p:cNvSpPr>
          <p:nvPr>
            <p:ph type="body" sz="quarter" idx="14" hasCustomPrompt="1"/>
          </p:nvPr>
        </p:nvSpPr>
        <p:spPr>
          <a:xfrm>
            <a:off x="768352" y="5774267"/>
            <a:ext cx="6816945" cy="598488"/>
          </a:xfrm>
          <a:prstGeom prst="rect">
            <a:avLst/>
          </a:prstGeom>
        </p:spPr>
        <p:txBody>
          <a:bodyPr lIns="0" tIns="0" rIns="0" bIns="0">
            <a:noAutofit/>
          </a:bodyPr>
          <a:lstStyle>
            <a:lvl1pPr marL="0" indent="0">
              <a:lnSpc>
                <a:spcPct val="100000"/>
              </a:lnSpc>
              <a:spcBef>
                <a:spcPts val="0"/>
              </a:spcBef>
              <a:buNone/>
              <a:defRPr sz="1867">
                <a:solidFill>
                  <a:schemeClr val="tx1"/>
                </a:solidFill>
              </a:defRPr>
            </a:lvl1pPr>
            <a:lvl2pPr marL="0" indent="0">
              <a:buNone/>
              <a:defRPr sz="1333"/>
            </a:lvl2pPr>
            <a:lvl3pPr marL="0" indent="0">
              <a:buNone/>
              <a:defRPr sz="1333"/>
            </a:lvl3pPr>
            <a:lvl4pPr marL="0" indent="0">
              <a:buNone/>
              <a:defRPr sz="1333"/>
            </a:lvl4pPr>
            <a:lvl5pPr marL="0" indent="0">
              <a:buNone/>
              <a:defRPr sz="1333"/>
            </a:lvl5pPr>
          </a:lstStyle>
          <a:p>
            <a:pPr lvl="0"/>
            <a:r>
              <a:rPr lang="en-US"/>
              <a:t>Department</a:t>
            </a:r>
            <a:br>
              <a:rPr lang="en-US"/>
            </a:br>
            <a:r>
              <a:rPr lang="en-US"/>
              <a:t>Date</a:t>
            </a:r>
          </a:p>
        </p:txBody>
      </p:sp>
      <p:pic>
        <p:nvPicPr>
          <p:cNvPr id="9" name="Picture 8">
            <a:extLst>
              <a:ext uri="{FF2B5EF4-FFF2-40B4-BE49-F238E27FC236}">
                <a16:creationId xmlns:a16="http://schemas.microsoft.com/office/drawing/2014/main" id="{8ED1E7E9-0B74-D54C-8C9A-067E1D0C0E9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45571" y="1711571"/>
            <a:ext cx="5146429" cy="5146429"/>
          </a:xfrm>
          <a:prstGeom prst="rect">
            <a:avLst/>
          </a:prstGeom>
        </p:spPr>
      </p:pic>
      <p:sp>
        <p:nvSpPr>
          <p:cNvPr id="7" name="Text Placeholder 9">
            <a:extLst>
              <a:ext uri="{FF2B5EF4-FFF2-40B4-BE49-F238E27FC236}">
                <a16:creationId xmlns:a16="http://schemas.microsoft.com/office/drawing/2014/main" id="{6A798CCC-F599-47BC-84EE-8CAA3D22063C}"/>
              </a:ext>
            </a:extLst>
          </p:cNvPr>
          <p:cNvSpPr>
            <a:spLocks noGrp="1"/>
          </p:cNvSpPr>
          <p:nvPr>
            <p:ph type="body" sz="quarter" idx="16" hasCustomPrompt="1"/>
          </p:nvPr>
        </p:nvSpPr>
        <p:spPr>
          <a:xfrm>
            <a:off x="768351" y="493184"/>
            <a:ext cx="736600" cy="812800"/>
          </a:xfrm>
          <a:prstGeom prst="rect">
            <a:avLst/>
          </a:prstGeom>
          <a:blipFill dpi="0"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p:spPr>
        <p:txBody>
          <a:bodyPr>
            <a:noAutofit/>
          </a:bodyPr>
          <a:lstStyle>
            <a:lvl1pPr marL="0" indent="0">
              <a:buNone/>
              <a:defRPr sz="133"/>
            </a:lvl1pPr>
          </a:lstStyle>
          <a:p>
            <a:pPr lvl="0"/>
            <a:r>
              <a:rPr lang="en-US"/>
              <a:t>.</a:t>
            </a:r>
          </a:p>
        </p:txBody>
      </p:sp>
    </p:spTree>
    <p:extLst>
      <p:ext uri="{BB962C8B-B14F-4D97-AF65-F5344CB8AC3E}">
        <p14:creationId xmlns:p14="http://schemas.microsoft.com/office/powerpoint/2010/main" val="255801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7" name="Rectangle 6"/>
          <p:cNvSpPr/>
          <p:nvPr userDrawn="1"/>
        </p:nvSpPr>
        <p:spPr>
          <a:xfrm>
            <a:off x="0" y="107513"/>
            <a:ext cx="12192000" cy="471423"/>
          </a:xfrm>
          <a:prstGeom prst="rect">
            <a:avLst/>
          </a:prstGeom>
          <a:solidFill>
            <a:schemeClr val="bg1"/>
          </a:solidFill>
          <a:ln>
            <a:noFill/>
          </a:ln>
          <a:effectLst>
            <a:reflection endPos="0" dir="5400000" sy="-100000" algn="bl" rotWithShape="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3" name="Content Placeholder 2"/>
          <p:cNvSpPr>
            <a:spLocks noGrp="1"/>
          </p:cNvSpPr>
          <p:nvPr>
            <p:ph sz="half" idx="1"/>
          </p:nvPr>
        </p:nvSpPr>
        <p:spPr>
          <a:xfrm>
            <a:off x="609600" y="1500109"/>
            <a:ext cx="10984424" cy="4898147"/>
          </a:xfrm>
          <a:prstGeom prst="rect">
            <a:avLst/>
          </a:prstGeom>
        </p:spPr>
        <p:txBody>
          <a:bodyPr/>
          <a:lstStyle>
            <a:lvl1pPr>
              <a:defRPr sz="2000">
                <a:solidFill>
                  <a:srgbClr val="505050"/>
                </a:solidFill>
                <a:latin typeface="Arial"/>
                <a:cs typeface="Arial"/>
              </a:defRPr>
            </a:lvl1pPr>
            <a:lvl2pPr>
              <a:defRPr sz="1800">
                <a:solidFill>
                  <a:srgbClr val="505050"/>
                </a:solidFill>
                <a:latin typeface="Arial"/>
                <a:cs typeface="Arial"/>
              </a:defRPr>
            </a:lvl2pPr>
            <a:lvl3pPr>
              <a:defRPr sz="1600">
                <a:solidFill>
                  <a:srgbClr val="505050"/>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6" name="Title Placeholder 1"/>
          <p:cNvSpPr>
            <a:spLocks noGrp="1"/>
          </p:cNvSpPr>
          <p:nvPr>
            <p:ph type="title"/>
          </p:nvPr>
        </p:nvSpPr>
        <p:spPr>
          <a:xfrm>
            <a:off x="609601" y="835743"/>
            <a:ext cx="10984425" cy="380587"/>
          </a:xfrm>
          <a:prstGeom prst="rect">
            <a:avLst/>
          </a:prstGeom>
        </p:spPr>
        <p:txBody>
          <a:bodyPr vert="horz" lIns="91440" tIns="45720" rIns="91440" bIns="45720" rtlCol="0" anchor="ctr">
            <a:noAutofit/>
          </a:bodyPr>
          <a:lstStyle>
            <a:lvl1pPr algn="l">
              <a:defRPr sz="2600" b="0">
                <a:solidFill>
                  <a:srgbClr val="3AABF0"/>
                </a:solidFill>
                <a:latin typeface="+mj-lt"/>
              </a:defRPr>
            </a:lvl1pPr>
          </a:lstStyle>
          <a:p>
            <a:r>
              <a:rPr lang="en-US"/>
              <a:t>Title of Slide</a:t>
            </a:r>
          </a:p>
        </p:txBody>
      </p:sp>
      <p:sp>
        <p:nvSpPr>
          <p:cNvPr id="5" name="Slide Number Placeholder 7"/>
          <p:cNvSpPr txBox="1">
            <a:spLocks/>
          </p:cNvSpPr>
          <p:nvPr userDrawn="1"/>
        </p:nvSpPr>
        <p:spPr>
          <a:xfrm>
            <a:off x="11051653" y="6398258"/>
            <a:ext cx="783712" cy="336599"/>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800" dirty="0">
                <a:solidFill>
                  <a:srgbClr val="505050"/>
                </a:solidFill>
              </a:rPr>
              <a:t>  |  </a:t>
            </a:r>
            <a:fld id="{DA15E891-66B8-4B28-AB8F-05A4B1DE573C}" type="slidenum">
              <a:rPr lang="en-US" sz="800" smtClean="0">
                <a:solidFill>
                  <a:srgbClr val="505050"/>
                </a:solidFill>
              </a:rPr>
              <a:pPr/>
              <a:t>‹#›</a:t>
            </a:fld>
            <a:endParaRPr lang="en-US" sz="800" dirty="0">
              <a:solidFill>
                <a:srgbClr val="505050"/>
              </a:solidFill>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5053" y="96987"/>
            <a:ext cx="2694488" cy="459288"/>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24389" y="162699"/>
            <a:ext cx="1735191" cy="332743"/>
          </a:xfrm>
          <a:prstGeom prst="rect">
            <a:avLst/>
          </a:prstGeom>
        </p:spPr>
      </p:pic>
    </p:spTree>
    <p:extLst>
      <p:ext uri="{BB962C8B-B14F-4D97-AF65-F5344CB8AC3E}">
        <p14:creationId xmlns:p14="http://schemas.microsoft.com/office/powerpoint/2010/main" val="72263109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Title Slide 5">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609601" y="1286234"/>
            <a:ext cx="10125695" cy="1255087"/>
          </a:xfrm>
          <a:prstGeom prst="rect">
            <a:avLst/>
          </a:prstGeom>
          <a:ln>
            <a:noFill/>
          </a:ln>
        </p:spPr>
        <p:txBody>
          <a:bodyPr anchor="t"/>
          <a:lstStyle>
            <a:lvl1pPr marL="0" indent="0" algn="l">
              <a:lnSpc>
                <a:spcPct val="100000"/>
              </a:lnSpc>
              <a:buNone/>
              <a:defRPr sz="3600" baseline="0">
                <a:solidFill>
                  <a:srgbClr val="3AABF0"/>
                </a:solidFill>
                <a:latin typeface="Arial"/>
                <a:cs typeface="Aria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over Slide Title With Room For Second Line If Necessary</a:t>
            </a:r>
          </a:p>
        </p:txBody>
      </p:sp>
      <p:sp>
        <p:nvSpPr>
          <p:cNvPr id="6" name="Text Placeholder 5"/>
          <p:cNvSpPr>
            <a:spLocks noGrp="1"/>
          </p:cNvSpPr>
          <p:nvPr>
            <p:ph type="body" sz="quarter" idx="11" hasCustomPrompt="1"/>
          </p:nvPr>
        </p:nvSpPr>
        <p:spPr>
          <a:xfrm>
            <a:off x="609601" y="2816017"/>
            <a:ext cx="7296151" cy="374700"/>
          </a:xfrm>
          <a:prstGeom prst="rect">
            <a:avLst/>
          </a:prstGeom>
        </p:spPr>
        <p:txBody>
          <a:bodyPr vert="horz"/>
          <a:lstStyle>
            <a:lvl1pPr marL="0" indent="0" algn="l">
              <a:buNone/>
              <a:defRPr sz="1800">
                <a:solidFill>
                  <a:schemeClr val="bg1">
                    <a:lumMod val="95000"/>
                  </a:schemeClr>
                </a:solidFill>
              </a:defRPr>
            </a:lvl1pPr>
          </a:lstStyle>
          <a:p>
            <a:pPr lvl="0"/>
            <a:r>
              <a:rPr lang="en-US"/>
              <a:t>Subtitle of Presentation</a:t>
            </a:r>
          </a:p>
        </p:txBody>
      </p:sp>
      <p:sp>
        <p:nvSpPr>
          <p:cNvPr id="13" name="Text Placeholder 4"/>
          <p:cNvSpPr>
            <a:spLocks noGrp="1"/>
          </p:cNvSpPr>
          <p:nvPr>
            <p:ph type="body" sz="quarter" idx="12" hasCustomPrompt="1"/>
          </p:nvPr>
        </p:nvSpPr>
        <p:spPr>
          <a:xfrm>
            <a:off x="609599" y="4679770"/>
            <a:ext cx="2771344" cy="268617"/>
          </a:xfrm>
          <a:prstGeom prst="rect">
            <a:avLst/>
          </a:prstGeom>
        </p:spPr>
        <p:txBody>
          <a:bodyPr vert="horz"/>
          <a:lstStyle>
            <a:lvl1pPr marL="0" indent="0" algn="l">
              <a:buNone/>
              <a:defRPr sz="1100">
                <a:solidFill>
                  <a:schemeClr val="accent6">
                    <a:lumMod val="60000"/>
                    <a:lumOff val="40000"/>
                  </a:schemeClr>
                </a:solidFill>
                <a:latin typeface="Arial"/>
                <a:cs typeface="Arial"/>
              </a:defRPr>
            </a:lvl1pPr>
          </a:lstStyle>
          <a:p>
            <a:pPr lvl="0"/>
            <a:r>
              <a:rPr lang="en-US"/>
              <a:t>Date XX_XX_XX</a:t>
            </a:r>
          </a:p>
        </p:txBody>
      </p:sp>
      <p:sp>
        <p:nvSpPr>
          <p:cNvPr id="19" name="Text Placeholder 6"/>
          <p:cNvSpPr>
            <a:spLocks noGrp="1"/>
          </p:cNvSpPr>
          <p:nvPr>
            <p:ph type="body" sz="quarter" idx="10" hasCustomPrompt="1"/>
          </p:nvPr>
        </p:nvSpPr>
        <p:spPr>
          <a:xfrm>
            <a:off x="609599" y="4291842"/>
            <a:ext cx="5217584" cy="272407"/>
          </a:xfrm>
          <a:prstGeom prst="rect">
            <a:avLst/>
          </a:prstGeom>
        </p:spPr>
        <p:txBody>
          <a:bodyPr/>
          <a:lstStyle>
            <a:lvl1pPr marL="0" indent="0" algn="l">
              <a:buNone/>
              <a:defRPr sz="1100">
                <a:solidFill>
                  <a:schemeClr val="accent6">
                    <a:lumMod val="60000"/>
                    <a:lumOff val="40000"/>
                  </a:schemeClr>
                </a:solidFill>
                <a:latin typeface="Arial"/>
                <a:cs typeface="Arial"/>
              </a:defRPr>
            </a:lvl1pPr>
            <a:lvl2pPr marL="457189" indent="0">
              <a:buNone/>
              <a:defRPr/>
            </a:lvl2pPr>
            <a:lvl3pPr marL="914377" indent="0">
              <a:buNone/>
              <a:defRPr/>
            </a:lvl3pPr>
            <a:lvl4pPr marL="1371566" indent="0">
              <a:buNone/>
              <a:defRPr/>
            </a:lvl4pPr>
            <a:lvl5pPr marL="1828754" indent="0">
              <a:buNone/>
              <a:defRPr/>
            </a:lvl5pPr>
          </a:lstStyle>
          <a:p>
            <a:pPr lvl="0"/>
            <a:r>
              <a:rPr lang="en-US"/>
              <a:t>Presented by </a:t>
            </a:r>
            <a:r>
              <a:rPr lang="en-US" err="1"/>
              <a:t>Firstname</a:t>
            </a:r>
            <a:r>
              <a:rPr lang="en-US"/>
              <a:t> </a:t>
            </a:r>
            <a:r>
              <a:rPr lang="en-US" err="1"/>
              <a:t>Lastname</a:t>
            </a:r>
            <a:endParaRPr lang="en-US"/>
          </a:p>
        </p:txBody>
      </p:sp>
      <p:pic>
        <p:nvPicPr>
          <p:cNvPr id="33" name="Picture 32"/>
          <p:cNvPicPr>
            <a:picLocks noChangeAspect="1"/>
          </p:cNvPicPr>
          <p:nvPr userDrawn="1"/>
        </p:nvPicPr>
        <p:blipFill>
          <a:blip r:embed="rId2"/>
          <a:stretch>
            <a:fillRect/>
          </a:stretch>
        </p:blipFill>
        <p:spPr>
          <a:xfrm>
            <a:off x="740226" y="228043"/>
            <a:ext cx="2857113" cy="226995"/>
          </a:xfrm>
          <a:prstGeom prst="rect">
            <a:avLst/>
          </a:prstGeom>
        </p:spPr>
      </p:pic>
      <p:pic>
        <p:nvPicPr>
          <p:cNvPr id="36" name="Picture 35"/>
          <p:cNvPicPr>
            <a:picLocks noChangeAspect="1"/>
          </p:cNvPicPr>
          <p:nvPr userDrawn="1"/>
        </p:nvPicPr>
        <p:blipFill>
          <a:blip r:embed="rId3"/>
          <a:stretch>
            <a:fillRect/>
          </a:stretch>
        </p:blipFill>
        <p:spPr>
          <a:xfrm>
            <a:off x="10575416" y="249860"/>
            <a:ext cx="1314509" cy="147147"/>
          </a:xfrm>
          <a:prstGeom prst="rect">
            <a:avLst/>
          </a:prstGeom>
        </p:spPr>
      </p:pic>
      <p:cxnSp>
        <p:nvCxnSpPr>
          <p:cNvPr id="10" name="Straight Connector 9"/>
          <p:cNvCxnSpPr/>
          <p:nvPr userDrawn="1"/>
        </p:nvCxnSpPr>
        <p:spPr>
          <a:xfrm>
            <a:off x="0" y="6546639"/>
            <a:ext cx="12192000" cy="0"/>
          </a:xfrm>
          <a:prstGeom prst="line">
            <a:avLst/>
          </a:prstGeom>
          <a:ln w="19050">
            <a:solidFill>
              <a:srgbClr val="3AABF0"/>
            </a:solidFill>
          </a:ln>
        </p:spPr>
        <p:style>
          <a:lnRef idx="1">
            <a:schemeClr val="accent6"/>
          </a:lnRef>
          <a:fillRef idx="0">
            <a:schemeClr val="accent6"/>
          </a:fillRef>
          <a:effectRef idx="0">
            <a:schemeClr val="accent6"/>
          </a:effectRef>
          <a:fontRef idx="minor">
            <a:schemeClr val="tx1"/>
          </a:fontRef>
        </p:style>
      </p:cxnSp>
      <p:pic>
        <p:nvPicPr>
          <p:cNvPr id="11" name="Picture 10"/>
          <p:cNvPicPr>
            <a:picLocks noChangeAspect="1"/>
          </p:cNvPicPr>
          <p:nvPr userDrawn="1"/>
        </p:nvPicPr>
        <p:blipFill rotWithShape="1">
          <a:blip r:embed="rId4">
            <a:extLst>
              <a:ext uri="{28A0092B-C50C-407E-A947-70E740481C1C}">
                <a14:useLocalDpi xmlns:a14="http://schemas.microsoft.com/office/drawing/2010/main" val="0"/>
              </a:ext>
            </a:extLst>
          </a:blip>
          <a:srcRect b="38185"/>
          <a:stretch/>
        </p:blipFill>
        <p:spPr>
          <a:xfrm>
            <a:off x="0" y="5253573"/>
            <a:ext cx="12192000" cy="1604427"/>
          </a:xfrm>
          <a:prstGeom prst="rect">
            <a:avLst/>
          </a:prstGeom>
        </p:spPr>
      </p:pic>
    </p:spTree>
    <p:extLst>
      <p:ext uri="{BB962C8B-B14F-4D97-AF65-F5344CB8AC3E}">
        <p14:creationId xmlns:p14="http://schemas.microsoft.com/office/powerpoint/2010/main" val="1597747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5_Title Slide 5">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609601" y="1286234"/>
            <a:ext cx="10125695" cy="1255087"/>
          </a:xfrm>
          <a:prstGeom prst="rect">
            <a:avLst/>
          </a:prstGeom>
          <a:ln>
            <a:noFill/>
          </a:ln>
        </p:spPr>
        <p:txBody>
          <a:bodyPr anchor="t"/>
          <a:lstStyle>
            <a:lvl1pPr marL="0" indent="0" algn="l">
              <a:lnSpc>
                <a:spcPct val="100000"/>
              </a:lnSpc>
              <a:buNone/>
              <a:defRPr sz="3600" baseline="0">
                <a:solidFill>
                  <a:srgbClr val="3AABF0"/>
                </a:solidFill>
                <a:latin typeface="Arial"/>
                <a:cs typeface="Aria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over Slide Title With Room For Second Line If Necessary</a:t>
            </a:r>
          </a:p>
        </p:txBody>
      </p:sp>
      <p:sp>
        <p:nvSpPr>
          <p:cNvPr id="6" name="Text Placeholder 5"/>
          <p:cNvSpPr>
            <a:spLocks noGrp="1"/>
          </p:cNvSpPr>
          <p:nvPr>
            <p:ph type="body" sz="quarter" idx="11" hasCustomPrompt="1"/>
          </p:nvPr>
        </p:nvSpPr>
        <p:spPr>
          <a:xfrm>
            <a:off x="609601" y="2816017"/>
            <a:ext cx="7296151" cy="374700"/>
          </a:xfrm>
          <a:prstGeom prst="rect">
            <a:avLst/>
          </a:prstGeom>
        </p:spPr>
        <p:txBody>
          <a:bodyPr vert="horz"/>
          <a:lstStyle>
            <a:lvl1pPr marL="0" indent="0" algn="l">
              <a:buNone/>
              <a:defRPr sz="1800">
                <a:solidFill>
                  <a:schemeClr val="bg1">
                    <a:lumMod val="95000"/>
                  </a:schemeClr>
                </a:solidFill>
              </a:defRPr>
            </a:lvl1pPr>
          </a:lstStyle>
          <a:p>
            <a:pPr lvl="0"/>
            <a:r>
              <a:rPr lang="en-US"/>
              <a:t>Subtitle of Presentation</a:t>
            </a:r>
          </a:p>
        </p:txBody>
      </p:sp>
      <p:sp>
        <p:nvSpPr>
          <p:cNvPr id="13" name="Text Placeholder 4"/>
          <p:cNvSpPr>
            <a:spLocks noGrp="1"/>
          </p:cNvSpPr>
          <p:nvPr>
            <p:ph type="body" sz="quarter" idx="12" hasCustomPrompt="1"/>
          </p:nvPr>
        </p:nvSpPr>
        <p:spPr>
          <a:xfrm>
            <a:off x="609599" y="4679770"/>
            <a:ext cx="2771344" cy="268617"/>
          </a:xfrm>
          <a:prstGeom prst="rect">
            <a:avLst/>
          </a:prstGeom>
        </p:spPr>
        <p:txBody>
          <a:bodyPr vert="horz"/>
          <a:lstStyle>
            <a:lvl1pPr marL="0" indent="0" algn="l">
              <a:buNone/>
              <a:defRPr sz="1100">
                <a:solidFill>
                  <a:schemeClr val="bg1"/>
                </a:solidFill>
                <a:latin typeface="Arial"/>
                <a:cs typeface="Arial"/>
              </a:defRPr>
            </a:lvl1pPr>
          </a:lstStyle>
          <a:p>
            <a:pPr lvl="0"/>
            <a:r>
              <a:rPr lang="en-US"/>
              <a:t>Date XX_XX_XX</a:t>
            </a:r>
          </a:p>
        </p:txBody>
      </p:sp>
      <p:sp>
        <p:nvSpPr>
          <p:cNvPr id="19" name="Text Placeholder 6"/>
          <p:cNvSpPr>
            <a:spLocks noGrp="1"/>
          </p:cNvSpPr>
          <p:nvPr>
            <p:ph type="body" sz="quarter" idx="10" hasCustomPrompt="1"/>
          </p:nvPr>
        </p:nvSpPr>
        <p:spPr>
          <a:xfrm>
            <a:off x="609599" y="4291842"/>
            <a:ext cx="5217584" cy="272407"/>
          </a:xfrm>
          <a:prstGeom prst="rect">
            <a:avLst/>
          </a:prstGeom>
        </p:spPr>
        <p:txBody>
          <a:bodyPr/>
          <a:lstStyle>
            <a:lvl1pPr marL="0" indent="0" algn="l">
              <a:buNone/>
              <a:defRPr sz="1100">
                <a:solidFill>
                  <a:schemeClr val="bg1"/>
                </a:solidFill>
                <a:latin typeface="Arial"/>
                <a:cs typeface="Arial"/>
              </a:defRPr>
            </a:lvl1pPr>
            <a:lvl2pPr marL="457189" indent="0">
              <a:buNone/>
              <a:defRPr/>
            </a:lvl2pPr>
            <a:lvl3pPr marL="914377" indent="0">
              <a:buNone/>
              <a:defRPr/>
            </a:lvl3pPr>
            <a:lvl4pPr marL="1371566" indent="0">
              <a:buNone/>
              <a:defRPr/>
            </a:lvl4pPr>
            <a:lvl5pPr marL="1828754" indent="0">
              <a:buNone/>
              <a:defRPr/>
            </a:lvl5pPr>
          </a:lstStyle>
          <a:p>
            <a:pPr lvl="0"/>
            <a:r>
              <a:rPr lang="en-US"/>
              <a:t>Presented by </a:t>
            </a:r>
            <a:r>
              <a:rPr lang="en-US" err="1"/>
              <a:t>Firstname</a:t>
            </a:r>
            <a:r>
              <a:rPr lang="en-US"/>
              <a:t> </a:t>
            </a:r>
            <a:r>
              <a:rPr lang="en-US" err="1"/>
              <a:t>Lastname</a:t>
            </a:r>
            <a:endParaRPr lang="en-US"/>
          </a:p>
        </p:txBody>
      </p:sp>
      <p:cxnSp>
        <p:nvCxnSpPr>
          <p:cNvPr id="30" name="Straight Connector 29"/>
          <p:cNvCxnSpPr/>
          <p:nvPr userDrawn="1"/>
        </p:nvCxnSpPr>
        <p:spPr>
          <a:xfrm>
            <a:off x="0" y="6546639"/>
            <a:ext cx="12192000" cy="0"/>
          </a:xfrm>
          <a:prstGeom prst="line">
            <a:avLst/>
          </a:prstGeom>
          <a:ln w="19050">
            <a:solidFill>
              <a:srgbClr val="3AABF0"/>
            </a:solidFill>
          </a:ln>
        </p:spPr>
        <p:style>
          <a:lnRef idx="1">
            <a:schemeClr val="accent6"/>
          </a:lnRef>
          <a:fillRef idx="0">
            <a:schemeClr val="accent6"/>
          </a:fillRef>
          <a:effectRef idx="0">
            <a:schemeClr val="accent6"/>
          </a:effectRef>
          <a:fontRef idx="minor">
            <a:schemeClr val="tx1"/>
          </a:fontRef>
        </p:style>
      </p:cxnSp>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b="38185"/>
          <a:stretch/>
        </p:blipFill>
        <p:spPr>
          <a:xfrm>
            <a:off x="0" y="5253573"/>
            <a:ext cx="12192000" cy="1604427"/>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66684" y="165879"/>
            <a:ext cx="1731203" cy="331979"/>
          </a:xfrm>
          <a:prstGeom prst="rect">
            <a:avLst/>
          </a:prstGeom>
        </p:spPr>
      </p:pic>
      <p:pic>
        <p:nvPicPr>
          <p:cNvPr id="15" name="Picture 1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73069" y="65375"/>
            <a:ext cx="3198688" cy="545231"/>
          </a:xfrm>
          <a:prstGeom prst="rect">
            <a:avLst/>
          </a:prstGeom>
        </p:spPr>
      </p:pic>
    </p:spTree>
    <p:extLst>
      <p:ext uri="{BB962C8B-B14F-4D97-AF65-F5344CB8AC3E}">
        <p14:creationId xmlns:p14="http://schemas.microsoft.com/office/powerpoint/2010/main" val="3841678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F073015-D137-9B83-BEDE-E4F62541A9F2}"/>
              </a:ext>
            </a:extLst>
          </p:cNvPr>
          <p:cNvSpPr>
            <a:spLocks noGrp="1"/>
          </p:cNvSpPr>
          <p:nvPr>
            <p:ph type="dt" sz="half" idx="10"/>
          </p:nvPr>
        </p:nvSpPr>
        <p:spPr/>
        <p:txBody>
          <a:bodyPr/>
          <a:lstStyle/>
          <a:p>
            <a:fld id="{036B0891-7476-4D8C-837F-BB2F6F398C80}" type="datetimeFigureOut">
              <a:rPr lang="en-NL" smtClean="0"/>
              <a:t>10/23/2025</a:t>
            </a:fld>
            <a:endParaRPr lang="en-NL"/>
          </a:p>
        </p:txBody>
      </p:sp>
      <p:sp>
        <p:nvSpPr>
          <p:cNvPr id="3" name="Footer Placeholder 2">
            <a:extLst>
              <a:ext uri="{FF2B5EF4-FFF2-40B4-BE49-F238E27FC236}">
                <a16:creationId xmlns:a16="http://schemas.microsoft.com/office/drawing/2014/main" id="{74437757-93FF-BC40-6C3D-603D37FB4704}"/>
              </a:ext>
            </a:extLst>
          </p:cNvPr>
          <p:cNvSpPr>
            <a:spLocks noGrp="1"/>
          </p:cNvSpPr>
          <p:nvPr>
            <p:ph type="ftr" sz="quarter" idx="11"/>
          </p:nvPr>
        </p:nvSpPr>
        <p:spPr/>
        <p:txBody>
          <a:bodyPr/>
          <a:lstStyle/>
          <a:p>
            <a:endParaRPr lang="en-NL"/>
          </a:p>
        </p:txBody>
      </p:sp>
      <p:sp>
        <p:nvSpPr>
          <p:cNvPr id="4" name="Slide Number Placeholder 3">
            <a:extLst>
              <a:ext uri="{FF2B5EF4-FFF2-40B4-BE49-F238E27FC236}">
                <a16:creationId xmlns:a16="http://schemas.microsoft.com/office/drawing/2014/main" id="{018E86AC-5EDF-C053-70C1-48D56F9D5542}"/>
              </a:ext>
            </a:extLst>
          </p:cNvPr>
          <p:cNvSpPr>
            <a:spLocks noGrp="1"/>
          </p:cNvSpPr>
          <p:nvPr>
            <p:ph type="sldNum" sz="quarter" idx="12"/>
          </p:nvPr>
        </p:nvSpPr>
        <p:spPr/>
        <p:txBody>
          <a:bodyPr/>
          <a:lstStyle/>
          <a:p>
            <a:fld id="{A4C5E35F-323C-4AC9-A193-D482FFFB2350}" type="slidenum">
              <a:rPr lang="en-NL" smtClean="0"/>
              <a:t>‹#›</a:t>
            </a:fld>
            <a:endParaRPr lang="en-NL"/>
          </a:p>
        </p:txBody>
      </p:sp>
    </p:spTree>
    <p:extLst>
      <p:ext uri="{BB962C8B-B14F-4D97-AF65-F5344CB8AC3E}">
        <p14:creationId xmlns:p14="http://schemas.microsoft.com/office/powerpoint/2010/main" val="234047271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11" name="Text Placeholder 10"/>
          <p:cNvSpPr>
            <a:spLocks noGrp="1"/>
          </p:cNvSpPr>
          <p:nvPr>
            <p:ph type="body" sz="quarter" idx="12" hasCustomPrompt="1"/>
          </p:nvPr>
        </p:nvSpPr>
        <p:spPr>
          <a:xfrm>
            <a:off x="609599" y="3354315"/>
            <a:ext cx="5433483" cy="474288"/>
          </a:xfrm>
          <a:prstGeom prst="rect">
            <a:avLst/>
          </a:prstGeom>
        </p:spPr>
        <p:txBody>
          <a:bodyPr vert="horz"/>
          <a:lstStyle>
            <a:lvl1pPr marL="342891" marR="0" indent="-256026" algn="l" defTabSz="457189" rtl="0" eaLnBrk="1" fontAlgn="auto" latinLnBrk="0" hangingPunct="1">
              <a:lnSpc>
                <a:spcPct val="100000"/>
              </a:lnSpc>
              <a:spcBef>
                <a:spcPct val="20000"/>
              </a:spcBef>
              <a:spcAft>
                <a:spcPts val="0"/>
              </a:spcAft>
              <a:buClrTx/>
              <a:buSzTx/>
              <a:buFont typeface="Arial"/>
              <a:buNone/>
              <a:tabLst/>
              <a:defRPr sz="1600" b="1" baseline="0">
                <a:solidFill>
                  <a:schemeClr val="bg1"/>
                </a:solidFill>
              </a:defRPr>
            </a:lvl1pPr>
            <a:lvl2pPr>
              <a:buNone/>
              <a:defRPr sz="1600"/>
            </a:lvl2pPr>
            <a:lvl3pPr>
              <a:buNone/>
              <a:defRPr sz="1600"/>
            </a:lvl3pPr>
            <a:lvl4pPr>
              <a:buNone/>
              <a:defRPr sz="1600"/>
            </a:lvl4pPr>
            <a:lvl5pPr>
              <a:buNone/>
              <a:defRPr sz="1600"/>
            </a:lvl5pPr>
          </a:lstStyle>
          <a:p>
            <a:pPr lvl="0"/>
            <a:r>
              <a:rPr lang="en-US"/>
              <a:t>Questions? Get in touch.</a:t>
            </a:r>
          </a:p>
          <a:p>
            <a:pPr lvl="0"/>
            <a:endParaRPr lang="en-US"/>
          </a:p>
          <a:p>
            <a:pPr marL="342891" marR="0" lvl="0" indent="-256026" algn="l" defTabSz="457189" rtl="0" eaLnBrk="1" fontAlgn="auto" latinLnBrk="0" hangingPunct="1">
              <a:lnSpc>
                <a:spcPct val="100000"/>
              </a:lnSpc>
              <a:spcBef>
                <a:spcPct val="20000"/>
              </a:spcBef>
              <a:spcAft>
                <a:spcPts val="0"/>
              </a:spcAft>
              <a:buClrTx/>
              <a:buSzTx/>
              <a:buFont typeface="Arial"/>
              <a:buNone/>
              <a:tabLst/>
              <a:defRPr/>
            </a:pPr>
            <a:endParaRPr lang="en-US"/>
          </a:p>
        </p:txBody>
      </p:sp>
      <p:sp>
        <p:nvSpPr>
          <p:cNvPr id="10" name="Subtitle 2"/>
          <p:cNvSpPr>
            <a:spLocks noGrp="1"/>
          </p:cNvSpPr>
          <p:nvPr>
            <p:ph type="subTitle" idx="1" hasCustomPrompt="1"/>
          </p:nvPr>
        </p:nvSpPr>
        <p:spPr>
          <a:xfrm>
            <a:off x="609601" y="1286232"/>
            <a:ext cx="8479417" cy="1445093"/>
          </a:xfrm>
          <a:prstGeom prst="rect">
            <a:avLst/>
          </a:prstGeom>
          <a:ln>
            <a:noFill/>
          </a:ln>
        </p:spPr>
        <p:txBody>
          <a:bodyPr anchor="t">
            <a:normAutofit/>
          </a:bodyPr>
          <a:lstStyle>
            <a:lvl1pPr marL="0" indent="0" algn="l">
              <a:lnSpc>
                <a:spcPct val="100000"/>
              </a:lnSpc>
              <a:buNone/>
              <a:defRPr sz="4800" baseline="0">
                <a:solidFill>
                  <a:srgbClr val="3AABF0"/>
                </a:solidFill>
                <a:latin typeface="Arial"/>
                <a:cs typeface="Aria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Thank you.</a:t>
            </a:r>
          </a:p>
        </p:txBody>
      </p:sp>
      <p:sp>
        <p:nvSpPr>
          <p:cNvPr id="15" name="Text Placeholder 10"/>
          <p:cNvSpPr>
            <a:spLocks noGrp="1"/>
          </p:cNvSpPr>
          <p:nvPr>
            <p:ph type="body" sz="quarter" idx="13" hasCustomPrompt="1"/>
          </p:nvPr>
        </p:nvSpPr>
        <p:spPr>
          <a:xfrm>
            <a:off x="609599" y="3835184"/>
            <a:ext cx="5433483" cy="975389"/>
          </a:xfrm>
          <a:prstGeom prst="rect">
            <a:avLst/>
          </a:prstGeom>
        </p:spPr>
        <p:txBody>
          <a:bodyPr vert="horz"/>
          <a:lstStyle>
            <a:lvl1pPr marL="86866" marR="0" indent="0" algn="l" defTabSz="457189" rtl="0" eaLnBrk="1" fontAlgn="auto" latinLnBrk="0" hangingPunct="1">
              <a:lnSpc>
                <a:spcPct val="100000"/>
              </a:lnSpc>
              <a:spcBef>
                <a:spcPct val="20000"/>
              </a:spcBef>
              <a:spcAft>
                <a:spcPts val="0"/>
              </a:spcAft>
              <a:buClrTx/>
              <a:buSzTx/>
              <a:buFont typeface="Arial"/>
              <a:buNone/>
              <a:tabLst/>
              <a:defRPr kumimoji="0" lang="en-US" sz="1600" b="0" i="0" u="none" strike="noStrike" kern="1200" cap="none" spc="0" normalizeH="0" baseline="0" noProof="0">
                <a:cs typeface="Arial"/>
              </a:defRPr>
            </a:lvl1pPr>
            <a:lvl2pPr>
              <a:buNone/>
              <a:defRPr sz="1600"/>
            </a:lvl2pPr>
            <a:lvl3pPr>
              <a:buNone/>
              <a:defRPr sz="1600"/>
            </a:lvl3pPr>
            <a:lvl4pPr>
              <a:buNone/>
              <a:defRPr sz="1600"/>
            </a:lvl4pPr>
            <a:lvl5pPr>
              <a:buNone/>
              <a:defRPr sz="1600"/>
            </a:lvl5pPr>
          </a:lstStyle>
          <a:p>
            <a:pPr marL="86866" marR="0" lvl="0" indent="0" algn="l" defTabSz="457189" rtl="0" eaLnBrk="1" fontAlgn="auto" latinLnBrk="0" hangingPunct="1">
              <a:lnSpc>
                <a:spcPct val="100000"/>
              </a:lnSpc>
              <a:spcBef>
                <a:spcPct val="20000"/>
              </a:spcBef>
              <a:spcAft>
                <a:spcPts val="0"/>
              </a:spcAft>
              <a:buClrTx/>
              <a:buSzTx/>
              <a:buFont typeface="Arial"/>
              <a:buNone/>
              <a:tabLst/>
              <a:defRPr/>
            </a:pPr>
            <a:r>
              <a:rPr kumimoji="0" lang="en-US" sz="1600" b="0" i="0" u="none" strike="noStrike" kern="1200" cap="none" spc="0" normalizeH="0" baseline="0" noProof="0">
                <a:ln>
                  <a:noFill/>
                </a:ln>
                <a:solidFill>
                  <a:schemeClr val="bg1"/>
                </a:solidFill>
                <a:effectLst/>
                <a:uLnTx/>
                <a:uFillTx/>
                <a:latin typeface="+mn-lt"/>
                <a:ea typeface="+mn-ea"/>
                <a:cs typeface="Arial"/>
              </a:rPr>
              <a:t>First Last Name</a:t>
            </a:r>
          </a:p>
          <a:p>
            <a:pPr marL="86866" marR="0" lvl="0" indent="0" algn="l" defTabSz="457189" rtl="0" eaLnBrk="1" fontAlgn="auto" latinLnBrk="0" hangingPunct="1">
              <a:lnSpc>
                <a:spcPct val="100000"/>
              </a:lnSpc>
              <a:spcBef>
                <a:spcPct val="20000"/>
              </a:spcBef>
              <a:spcAft>
                <a:spcPts val="0"/>
              </a:spcAft>
              <a:buClrTx/>
              <a:buSzTx/>
              <a:buFont typeface="Arial"/>
              <a:buNone/>
              <a:tabLst/>
              <a:defRPr/>
            </a:pPr>
            <a:r>
              <a:rPr kumimoji="0" lang="en-US" sz="1600" b="0" i="0" u="none" strike="noStrike" kern="1200" cap="none" spc="0" normalizeH="0" baseline="0" noProof="0" err="1">
                <a:ln>
                  <a:noFill/>
                </a:ln>
                <a:solidFill>
                  <a:schemeClr val="bg1"/>
                </a:solidFill>
                <a:effectLst/>
                <a:uLnTx/>
                <a:uFillTx/>
                <a:latin typeface="+mn-lt"/>
                <a:ea typeface="+mn-ea"/>
                <a:cs typeface="Arial"/>
              </a:rPr>
              <a:t>email@email.com</a:t>
            </a:r>
            <a:endParaRPr kumimoji="0" lang="en-US" sz="1600" b="0" i="0" u="none" strike="noStrike" kern="1200" cap="none" spc="0" normalizeH="0" baseline="0" noProof="0">
              <a:ln>
                <a:noFill/>
              </a:ln>
              <a:solidFill>
                <a:schemeClr val="bg1"/>
              </a:solidFill>
              <a:effectLst/>
              <a:uLnTx/>
              <a:uFillTx/>
              <a:latin typeface="+mn-lt"/>
              <a:ea typeface="+mn-ea"/>
              <a:cs typeface="Arial"/>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66684" y="165879"/>
            <a:ext cx="1731203" cy="331979"/>
          </a:xfrm>
          <a:prstGeom prst="rect">
            <a:avLst/>
          </a:prstGeom>
        </p:spPr>
      </p:pic>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73069" y="65375"/>
            <a:ext cx="3198688" cy="545231"/>
          </a:xfrm>
          <a:prstGeom prst="rect">
            <a:avLst/>
          </a:prstGeom>
        </p:spPr>
      </p:pic>
      <p:cxnSp>
        <p:nvCxnSpPr>
          <p:cNvPr id="13" name="Straight Connector 12"/>
          <p:cNvCxnSpPr/>
          <p:nvPr userDrawn="1"/>
        </p:nvCxnSpPr>
        <p:spPr>
          <a:xfrm>
            <a:off x="0" y="6546639"/>
            <a:ext cx="12192000" cy="0"/>
          </a:xfrm>
          <a:prstGeom prst="line">
            <a:avLst/>
          </a:prstGeom>
          <a:ln w="19050">
            <a:solidFill>
              <a:srgbClr val="3AABF0"/>
            </a:solidFill>
          </a:ln>
        </p:spPr>
        <p:style>
          <a:lnRef idx="1">
            <a:schemeClr val="accent6"/>
          </a:lnRef>
          <a:fillRef idx="0">
            <a:schemeClr val="accent6"/>
          </a:fillRef>
          <a:effectRef idx="0">
            <a:schemeClr val="accent6"/>
          </a:effectRef>
          <a:fontRef idx="minor">
            <a:schemeClr val="tx1"/>
          </a:fontRef>
        </p:style>
      </p:cxnSp>
      <p:pic>
        <p:nvPicPr>
          <p:cNvPr id="14" name="Picture 13"/>
          <p:cNvPicPr>
            <a:picLocks noChangeAspect="1"/>
          </p:cNvPicPr>
          <p:nvPr userDrawn="1"/>
        </p:nvPicPr>
        <p:blipFill rotWithShape="1">
          <a:blip r:embed="rId4">
            <a:extLst>
              <a:ext uri="{28A0092B-C50C-407E-A947-70E740481C1C}">
                <a14:useLocalDpi xmlns:a14="http://schemas.microsoft.com/office/drawing/2010/main" val="0"/>
              </a:ext>
            </a:extLst>
          </a:blip>
          <a:srcRect b="38185"/>
          <a:stretch/>
        </p:blipFill>
        <p:spPr>
          <a:xfrm>
            <a:off x="0" y="5253573"/>
            <a:ext cx="12192000" cy="1604427"/>
          </a:xfrm>
          <a:prstGeom prst="rect">
            <a:avLst/>
          </a:prstGeom>
        </p:spPr>
      </p:pic>
    </p:spTree>
    <p:extLst>
      <p:ext uri="{BB962C8B-B14F-4D97-AF65-F5344CB8AC3E}">
        <p14:creationId xmlns:p14="http://schemas.microsoft.com/office/powerpoint/2010/main" val="1111817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609601" y="705204"/>
            <a:ext cx="10984425" cy="418645"/>
          </a:xfrm>
          <a:prstGeom prst="rect">
            <a:avLst/>
          </a:prstGeom>
        </p:spPr>
        <p:txBody>
          <a:bodyPr vert="horz" lIns="91440" tIns="45720" rIns="91440" bIns="45720" rtlCol="0" anchor="ctr">
            <a:noAutofit/>
          </a:bodyPr>
          <a:lstStyle>
            <a:lvl1pPr>
              <a:defRPr b="1"/>
            </a:lvl1pPr>
          </a:lstStyle>
          <a:p>
            <a:r>
              <a:rPr lang="en-US"/>
              <a:t>Title of Slide</a:t>
            </a:r>
          </a:p>
        </p:txBody>
      </p:sp>
      <p:sp>
        <p:nvSpPr>
          <p:cNvPr id="5" name="Content Placeholder 1"/>
          <p:cNvSpPr>
            <a:spLocks noGrp="1"/>
          </p:cNvSpPr>
          <p:nvPr>
            <p:ph idx="1"/>
          </p:nvPr>
        </p:nvSpPr>
        <p:spPr>
          <a:xfrm>
            <a:off x="609600" y="1500109"/>
            <a:ext cx="10984425" cy="4898147"/>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7" name="Text Placeholder 22"/>
          <p:cNvSpPr>
            <a:spLocks noGrp="1"/>
          </p:cNvSpPr>
          <p:nvPr>
            <p:ph type="body" sz="quarter" idx="16" hasCustomPrompt="1"/>
          </p:nvPr>
        </p:nvSpPr>
        <p:spPr>
          <a:xfrm>
            <a:off x="264799" y="6511447"/>
            <a:ext cx="8896351"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a:t>Sources &amp; Notes:</a:t>
            </a:r>
          </a:p>
        </p:txBody>
      </p:sp>
    </p:spTree>
    <p:extLst>
      <p:ext uri="{BB962C8B-B14F-4D97-AF65-F5344CB8AC3E}">
        <p14:creationId xmlns:p14="http://schemas.microsoft.com/office/powerpoint/2010/main" val="2464280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68354" y="493835"/>
            <a:ext cx="10655300" cy="617012"/>
          </a:xfrm>
          <a:prstGeom prst="rect">
            <a:avLst/>
          </a:prstGeom>
        </p:spPr>
        <p:txBody>
          <a:bodyPr>
            <a:noAutofit/>
          </a:bodyPr>
          <a:lstStyle>
            <a:lvl1pPr>
              <a:lnSpc>
                <a:spcPct val="100000"/>
              </a:lnSpc>
              <a:defRPr sz="2800"/>
            </a:lvl1pPr>
          </a:lstStyle>
          <a:p>
            <a:r>
              <a:rPr lang="en-US"/>
              <a:t>Agenda</a:t>
            </a:r>
            <a:endParaRPr lang="de-DE"/>
          </a:p>
        </p:txBody>
      </p:sp>
      <p:cxnSp>
        <p:nvCxnSpPr>
          <p:cNvPr id="10" name="Straight Connector 9"/>
          <p:cNvCxnSpPr/>
          <p:nvPr userDrawn="1"/>
        </p:nvCxnSpPr>
        <p:spPr>
          <a:xfrm flipV="1">
            <a:off x="768354" y="5924553"/>
            <a:ext cx="10655300"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5" name="Date Placeholder 4"/>
          <p:cNvSpPr>
            <a:spLocks noGrp="1"/>
          </p:cNvSpPr>
          <p:nvPr>
            <p:ph type="dt" sz="half" idx="14"/>
          </p:nvPr>
        </p:nvSpPr>
        <p:spPr/>
        <p:txBody>
          <a:bodyPr/>
          <a:lstStyle/>
          <a:p>
            <a:fld id="{37FFCD0F-6FD7-423A-A678-0AA8290E11CF}" type="datetimeFigureOut">
              <a:rPr lang="de-DE" smtClean="0"/>
              <a:pPr/>
              <a:t>23.10.2025</a:t>
            </a:fld>
            <a:endParaRPr lang="de-DE"/>
          </a:p>
        </p:txBody>
      </p:sp>
      <p:sp>
        <p:nvSpPr>
          <p:cNvPr id="6" name="Footer Placeholder 5"/>
          <p:cNvSpPr>
            <a:spLocks noGrp="1"/>
          </p:cNvSpPr>
          <p:nvPr>
            <p:ph type="ftr" sz="quarter" idx="15"/>
          </p:nvPr>
        </p:nvSpPr>
        <p:spPr/>
        <p:txBody>
          <a:bodyPr/>
          <a:lstStyle/>
          <a:p>
            <a:endParaRPr lang="de-DE"/>
          </a:p>
        </p:txBody>
      </p:sp>
      <p:sp>
        <p:nvSpPr>
          <p:cNvPr id="18" name="Text Placeholder 1"/>
          <p:cNvSpPr>
            <a:spLocks noGrp="1"/>
          </p:cNvSpPr>
          <p:nvPr>
            <p:ph type="body" sz="quarter" idx="13"/>
          </p:nvPr>
        </p:nvSpPr>
        <p:spPr>
          <a:xfrm>
            <a:off x="768353" y="1419806"/>
            <a:ext cx="10655300" cy="4353063"/>
          </a:xfrm>
          <a:prstGeom prst="rect">
            <a:avLst/>
          </a:prstGeom>
        </p:spPr>
        <p:txBody>
          <a:bodyPr vert="horz" lIns="91440" tIns="0" rIns="91440" bIns="45720" rtlCol="0">
            <a:normAutofit/>
          </a:bodyPr>
          <a:lstStyle>
            <a:lvl1pPr>
              <a:defRPr lang="en-GB" dirty="0"/>
            </a:lvl1pPr>
          </a:lstStyle>
          <a:p>
            <a:pPr marL="285744" lvl="0" indent="-285744">
              <a:lnSpc>
                <a:spcPct val="100000"/>
              </a:lnSpc>
            </a:pPr>
            <a:endParaRPr lang="en-GB"/>
          </a:p>
        </p:txBody>
      </p:sp>
    </p:spTree>
    <p:extLst>
      <p:ext uri="{BB962C8B-B14F-4D97-AF65-F5344CB8AC3E}">
        <p14:creationId xmlns:p14="http://schemas.microsoft.com/office/powerpoint/2010/main" val="219039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63">
          <p15:clr>
            <a:srgbClr val="FBAE40"/>
          </p15:clr>
        </p15:guide>
        <p15:guide id="2" pos="2880">
          <p15:clr>
            <a:srgbClr val="FBAE40"/>
          </p15:clr>
        </p15:guide>
        <p15:guide id="3" pos="2699">
          <p15:clr>
            <a:srgbClr val="FBAE40"/>
          </p15:clr>
        </p15:guide>
        <p15:guide id="4" pos="3061">
          <p15:clr>
            <a:srgbClr val="FBAE40"/>
          </p15:clr>
        </p15:guide>
        <p15:guide id="5" pos="5397">
          <p15:clr>
            <a:srgbClr val="FBAE40"/>
          </p15:clr>
        </p15:guide>
        <p15:guide id="6" orient="horz" pos="373">
          <p15:clr>
            <a:srgbClr val="FBAE40"/>
          </p15:clr>
        </p15:guide>
        <p15:guide id="7" orient="horz" pos="2799">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7" name="Rectangle 6"/>
          <p:cNvSpPr/>
          <p:nvPr userDrawn="1"/>
        </p:nvSpPr>
        <p:spPr>
          <a:xfrm>
            <a:off x="0" y="107513"/>
            <a:ext cx="12192000" cy="471423"/>
          </a:xfrm>
          <a:prstGeom prst="rect">
            <a:avLst/>
          </a:prstGeom>
          <a:solidFill>
            <a:schemeClr val="bg1"/>
          </a:solidFill>
          <a:ln>
            <a:noFill/>
          </a:ln>
          <a:effectLst>
            <a:reflection endPos="0" dir="5400000" sy="-100000" algn="bl" rotWithShape="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3" name="Content Placeholder 2"/>
          <p:cNvSpPr>
            <a:spLocks noGrp="1"/>
          </p:cNvSpPr>
          <p:nvPr>
            <p:ph sz="half" idx="1"/>
          </p:nvPr>
        </p:nvSpPr>
        <p:spPr>
          <a:xfrm>
            <a:off x="609600" y="1500109"/>
            <a:ext cx="10984424" cy="4898147"/>
          </a:xfrm>
          <a:prstGeom prst="rect">
            <a:avLst/>
          </a:prstGeom>
        </p:spPr>
        <p:txBody>
          <a:bodyPr/>
          <a:lstStyle>
            <a:lvl1pPr>
              <a:defRPr sz="2000">
                <a:solidFill>
                  <a:srgbClr val="505050"/>
                </a:solidFill>
                <a:latin typeface="Arial"/>
                <a:cs typeface="Arial"/>
              </a:defRPr>
            </a:lvl1pPr>
            <a:lvl2pPr>
              <a:defRPr sz="1800">
                <a:solidFill>
                  <a:srgbClr val="505050"/>
                </a:solidFill>
                <a:latin typeface="Arial"/>
                <a:cs typeface="Arial"/>
              </a:defRPr>
            </a:lvl2pPr>
            <a:lvl3pPr>
              <a:defRPr sz="1600">
                <a:solidFill>
                  <a:srgbClr val="505050"/>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6" name="Title Placeholder 1"/>
          <p:cNvSpPr>
            <a:spLocks noGrp="1"/>
          </p:cNvSpPr>
          <p:nvPr>
            <p:ph type="title"/>
          </p:nvPr>
        </p:nvSpPr>
        <p:spPr>
          <a:xfrm>
            <a:off x="609601" y="835743"/>
            <a:ext cx="10984425" cy="380587"/>
          </a:xfrm>
          <a:prstGeom prst="rect">
            <a:avLst/>
          </a:prstGeom>
        </p:spPr>
        <p:txBody>
          <a:bodyPr vert="horz" lIns="91440" tIns="45720" rIns="91440" bIns="45720" rtlCol="0" anchor="ctr">
            <a:noAutofit/>
          </a:bodyPr>
          <a:lstStyle>
            <a:lvl1pPr algn="l">
              <a:defRPr sz="2600" b="0">
                <a:solidFill>
                  <a:srgbClr val="3AABF0"/>
                </a:solidFill>
                <a:latin typeface="+mj-lt"/>
              </a:defRPr>
            </a:lvl1pPr>
          </a:lstStyle>
          <a:p>
            <a:r>
              <a:rPr lang="en-US"/>
              <a:t>Title of Slide</a:t>
            </a:r>
          </a:p>
        </p:txBody>
      </p:sp>
      <p:sp>
        <p:nvSpPr>
          <p:cNvPr id="5" name="Slide Number Placeholder 7"/>
          <p:cNvSpPr txBox="1">
            <a:spLocks/>
          </p:cNvSpPr>
          <p:nvPr userDrawn="1"/>
        </p:nvSpPr>
        <p:spPr>
          <a:xfrm>
            <a:off x="11051653" y="6398258"/>
            <a:ext cx="783712" cy="336599"/>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800" dirty="0">
                <a:solidFill>
                  <a:srgbClr val="505050"/>
                </a:solidFill>
              </a:rPr>
              <a:t>  |  </a:t>
            </a:r>
            <a:fld id="{DA15E891-66B8-4B28-AB8F-05A4B1DE573C}" type="slidenum">
              <a:rPr lang="en-US" sz="800" smtClean="0">
                <a:solidFill>
                  <a:srgbClr val="505050"/>
                </a:solidFill>
              </a:rPr>
              <a:pPr/>
              <a:t>‹#›</a:t>
            </a:fld>
            <a:endParaRPr lang="en-US" sz="800" dirty="0">
              <a:solidFill>
                <a:srgbClr val="505050"/>
              </a:solidFill>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5053" y="96987"/>
            <a:ext cx="2694488" cy="459288"/>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24389" y="162699"/>
            <a:ext cx="1735191" cy="332743"/>
          </a:xfrm>
          <a:prstGeom prst="rect">
            <a:avLst/>
          </a:prstGeom>
        </p:spPr>
      </p:pic>
    </p:spTree>
    <p:extLst>
      <p:ext uri="{BB962C8B-B14F-4D97-AF65-F5344CB8AC3E}">
        <p14:creationId xmlns:p14="http://schemas.microsoft.com/office/powerpoint/2010/main" val="3883165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Quot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EEE115E-9A03-449B-92F1-3CD40794A0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77200" y="2743200"/>
            <a:ext cx="4114800" cy="4114800"/>
          </a:xfrm>
          <a:prstGeom prst="rect">
            <a:avLst/>
          </a:prstGeom>
        </p:spPr>
      </p:pic>
      <p:sp>
        <p:nvSpPr>
          <p:cNvPr id="7" name="Title 1"/>
          <p:cNvSpPr>
            <a:spLocks noGrp="1"/>
          </p:cNvSpPr>
          <p:nvPr>
            <p:ph type="title" hasCustomPrompt="1"/>
          </p:nvPr>
        </p:nvSpPr>
        <p:spPr>
          <a:xfrm>
            <a:off x="768349" y="1113365"/>
            <a:ext cx="7987200" cy="4224000"/>
          </a:xfrm>
          <a:prstGeom prst="rect">
            <a:avLst/>
          </a:prstGeom>
        </p:spPr>
        <p:txBody>
          <a:bodyPr lIns="0" tIns="0" rIns="0">
            <a:normAutofit/>
          </a:bodyPr>
          <a:lstStyle>
            <a:lvl1pPr marL="0" indent="0">
              <a:lnSpc>
                <a:spcPct val="100000"/>
              </a:lnSpc>
              <a:defRPr sz="4800" baseline="0">
                <a:solidFill>
                  <a:schemeClr val="bg1"/>
                </a:solidFill>
              </a:defRPr>
            </a:lvl1pPr>
          </a:lstStyle>
          <a:p>
            <a:r>
              <a:rPr lang="en-US"/>
              <a:t>“Quote”</a:t>
            </a:r>
          </a:p>
        </p:txBody>
      </p:sp>
      <p:sp>
        <p:nvSpPr>
          <p:cNvPr id="4" name="Date Placeholder 3">
            <a:extLst>
              <a:ext uri="{FF2B5EF4-FFF2-40B4-BE49-F238E27FC236}">
                <a16:creationId xmlns:a16="http://schemas.microsoft.com/office/drawing/2014/main" id="{B0A140A6-5D0E-4488-95CA-4733486F593B}"/>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8B200B3A-B3FB-4A32-A145-4E221A432DD0}"/>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97DC275C-83AD-4E74-9F99-2A21F1C78853}"/>
              </a:ext>
            </a:extLst>
          </p:cNvPr>
          <p:cNvSpPr>
            <a:spLocks noGrp="1"/>
          </p:cNvSpPr>
          <p:nvPr>
            <p:ph type="sldNum" sz="quarter" idx="12"/>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434207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2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609597" y="1943072"/>
            <a:ext cx="10984427" cy="3765589"/>
          </a:xfrm>
        </p:spPr>
        <p:txBody>
          <a:bodyPr/>
          <a:lstStyle>
            <a:lvl1pPr marL="0" indent="0">
              <a:buNone/>
              <a:defRPr>
                <a:solidFill>
                  <a:srgbClr val="53565A"/>
                </a:solidFill>
              </a:defRPr>
            </a:lvl1pPr>
          </a:lstStyle>
          <a:p>
            <a:pPr lvl="0"/>
            <a:r>
              <a:rPr lang="en-US"/>
              <a:t>Click to edit Master text styles</a:t>
            </a:r>
          </a:p>
          <a:p>
            <a:endParaRPr lang="en-US"/>
          </a:p>
        </p:txBody>
      </p:sp>
      <p:sp>
        <p:nvSpPr>
          <p:cNvPr id="8" name="Slide Number Placeholder 7"/>
          <p:cNvSpPr txBox="1">
            <a:spLocks/>
          </p:cNvSpPr>
          <p:nvPr userDrawn="1"/>
        </p:nvSpPr>
        <p:spPr>
          <a:xfrm>
            <a:off x="11299117" y="-7655"/>
            <a:ext cx="783712" cy="354523"/>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  </a:t>
            </a:r>
            <a:fld id="{DA15E891-66B8-4B28-AB8F-05A4B1DE573C}" type="slidenum">
              <a:rPr kumimoji="0" lang="en-US" sz="7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a:t>
            </a:fld>
            <a:endParaRPr kumimoji="0" lang="en-US"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4" name="Title Placeholder 1"/>
          <p:cNvSpPr>
            <a:spLocks noGrp="1"/>
          </p:cNvSpPr>
          <p:nvPr>
            <p:ph type="title"/>
          </p:nvPr>
        </p:nvSpPr>
        <p:spPr>
          <a:xfrm>
            <a:off x="609601" y="705204"/>
            <a:ext cx="10984425"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a:t>Title of Slide</a:t>
            </a:r>
          </a:p>
        </p:txBody>
      </p:sp>
      <p:sp>
        <p:nvSpPr>
          <p:cNvPr id="5" name="Text Placeholder 4"/>
          <p:cNvSpPr>
            <a:spLocks noGrp="1"/>
          </p:cNvSpPr>
          <p:nvPr>
            <p:ph type="body" sz="quarter" idx="10" hasCustomPrompt="1"/>
          </p:nvPr>
        </p:nvSpPr>
        <p:spPr>
          <a:xfrm>
            <a:off x="609600" y="1241714"/>
            <a:ext cx="10984424" cy="350591"/>
          </a:xfrm>
        </p:spPr>
        <p:txBody>
          <a:bodyPr>
            <a:normAutofit/>
          </a:bodyPr>
          <a:lstStyle>
            <a:lvl1pPr marL="0" marR="0" indent="0" algn="l" defTabSz="457189"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a:t>Subtitle of Slide</a:t>
            </a:r>
          </a:p>
        </p:txBody>
      </p:sp>
      <p:sp>
        <p:nvSpPr>
          <p:cNvPr id="9" name="Text Placeholder 8"/>
          <p:cNvSpPr>
            <a:spLocks noGrp="1"/>
          </p:cNvSpPr>
          <p:nvPr>
            <p:ph type="body" sz="quarter" idx="11" hasCustomPrompt="1"/>
          </p:nvPr>
        </p:nvSpPr>
        <p:spPr>
          <a:xfrm>
            <a:off x="609597" y="5794655"/>
            <a:ext cx="10984427" cy="370435"/>
          </a:xfrm>
        </p:spPr>
        <p:txBody>
          <a:bodyPr>
            <a:normAutofit/>
          </a:bodyPr>
          <a:lstStyle>
            <a:lvl1pPr marL="0" indent="0">
              <a:buNone/>
              <a:defRPr sz="1300">
                <a:solidFill>
                  <a:srgbClr val="A7A8AA"/>
                </a:solidFill>
              </a:defRPr>
            </a:lvl1pPr>
            <a:lvl2pPr marL="457189" indent="0">
              <a:buNone/>
              <a:defRPr sz="1600">
                <a:latin typeface="Arial"/>
                <a:cs typeface="Arial"/>
              </a:defRPr>
            </a:lvl2pPr>
          </a:lstStyle>
          <a:p>
            <a:pPr lvl="0"/>
            <a:r>
              <a:rPr lang="en-US"/>
              <a:t>Author Name</a:t>
            </a:r>
          </a:p>
        </p:txBody>
      </p:sp>
      <p:sp>
        <p:nvSpPr>
          <p:cNvPr id="18" name="Text Placeholder 17"/>
          <p:cNvSpPr>
            <a:spLocks noGrp="1"/>
          </p:cNvSpPr>
          <p:nvPr>
            <p:ph type="body" sz="quarter" idx="12" hasCustomPrompt="1"/>
          </p:nvPr>
        </p:nvSpPr>
        <p:spPr>
          <a:xfrm>
            <a:off x="609597" y="6165091"/>
            <a:ext cx="10984424" cy="357432"/>
          </a:xfrm>
        </p:spPr>
        <p:txBody>
          <a:bodyPr>
            <a:normAutofit/>
          </a:bodyPr>
          <a:lstStyle>
            <a:lvl1pPr marL="0" indent="0">
              <a:buNone/>
              <a:defRPr sz="1300">
                <a:solidFill>
                  <a:srgbClr val="A7A8AA"/>
                </a:solidFill>
              </a:defRPr>
            </a:lvl1pPr>
          </a:lstStyle>
          <a:p>
            <a:pPr lvl="0"/>
            <a:r>
              <a:rPr lang="en-US"/>
              <a:t>©</a:t>
            </a:r>
          </a:p>
        </p:txBody>
      </p:sp>
    </p:spTree>
    <p:extLst>
      <p:ext uri="{BB962C8B-B14F-4D97-AF65-F5344CB8AC3E}">
        <p14:creationId xmlns:p14="http://schemas.microsoft.com/office/powerpoint/2010/main" val="361550394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Title slide with white text and dark logo">
    <p:spTree>
      <p:nvGrpSpPr>
        <p:cNvPr id="1" name=""/>
        <p:cNvGrpSpPr/>
        <p:nvPr/>
      </p:nvGrpSpPr>
      <p:grpSpPr>
        <a:xfrm>
          <a:off x="0" y="0"/>
          <a:ext cx="0" cy="0"/>
          <a:chOff x="0" y="0"/>
          <a:chExt cx="0" cy="0"/>
        </a:xfrm>
      </p:grpSpPr>
      <p:sp>
        <p:nvSpPr>
          <p:cNvPr id="14" name="Picture Placeholder 13"/>
          <p:cNvSpPr>
            <a:spLocks noGrp="1"/>
          </p:cNvSpPr>
          <p:nvPr>
            <p:ph type="pic" sz="quarter" idx="15" hasCustomPrompt="1"/>
          </p:nvPr>
        </p:nvSpPr>
        <p:spPr>
          <a:xfrm>
            <a:off x="0" y="0"/>
            <a:ext cx="12192000" cy="6858000"/>
          </a:xfrm>
          <a:prstGeom prst="rect">
            <a:avLst/>
          </a:prstGeom>
          <a:solidFill>
            <a:schemeClr val="accent6"/>
          </a:solidFill>
        </p:spPr>
        <p:txBody>
          <a:bodyPr>
            <a:normAutofit/>
          </a:bodyPr>
          <a:lstStyle>
            <a:lvl1pPr marL="0" indent="0" algn="ctr">
              <a:lnSpc>
                <a:spcPct val="100000"/>
              </a:lnSpc>
              <a:buNone/>
              <a:defRPr sz="2133" baseline="0"/>
            </a:lvl1pPr>
          </a:lstStyle>
          <a:p>
            <a:r>
              <a:rPr lang="en-US" noProof="0" dirty="0"/>
              <a:t>Drag picture to placeholder or click icon to add</a:t>
            </a:r>
          </a:p>
        </p:txBody>
      </p:sp>
      <p:sp>
        <p:nvSpPr>
          <p:cNvPr id="2" name="Title 1"/>
          <p:cNvSpPr>
            <a:spLocks noGrp="1"/>
          </p:cNvSpPr>
          <p:nvPr>
            <p:ph type="ctrTitle" hasCustomPrompt="1"/>
          </p:nvPr>
        </p:nvSpPr>
        <p:spPr>
          <a:xfrm>
            <a:off x="768352" y="2212623"/>
            <a:ext cx="6816945" cy="2325511"/>
          </a:xfrm>
          <a:prstGeom prst="rect">
            <a:avLst/>
          </a:prstGeom>
        </p:spPr>
        <p:txBody>
          <a:bodyPr lIns="0" tIns="0" rIns="0" bIns="0" anchor="t" anchorCtr="0">
            <a:normAutofit/>
          </a:bodyPr>
          <a:lstStyle>
            <a:lvl1pPr algn="l">
              <a:lnSpc>
                <a:spcPct val="100000"/>
              </a:lnSpc>
              <a:defRPr sz="5067">
                <a:solidFill>
                  <a:schemeClr val="bg1"/>
                </a:solidFill>
              </a:defRPr>
            </a:lvl1pPr>
          </a:lstStyle>
          <a:p>
            <a:r>
              <a:rPr lang="en-US" noProof="0"/>
              <a:t>Click to edit title max over 2x lines</a:t>
            </a:r>
          </a:p>
        </p:txBody>
      </p:sp>
      <p:sp>
        <p:nvSpPr>
          <p:cNvPr id="12" name="Text Placeholder 11"/>
          <p:cNvSpPr>
            <a:spLocks noGrp="1"/>
          </p:cNvSpPr>
          <p:nvPr>
            <p:ph type="body" sz="quarter" idx="14" hasCustomPrompt="1"/>
          </p:nvPr>
        </p:nvSpPr>
        <p:spPr>
          <a:xfrm>
            <a:off x="768352" y="5881637"/>
            <a:ext cx="6816945" cy="653335"/>
          </a:xfrm>
          <a:prstGeom prst="rect">
            <a:avLst/>
          </a:prstGeom>
        </p:spPr>
        <p:txBody>
          <a:bodyPr lIns="0" tIns="0" rIns="0" bIns="0">
            <a:normAutofit/>
          </a:bodyPr>
          <a:lstStyle>
            <a:lvl1pPr marL="0" indent="0">
              <a:lnSpc>
                <a:spcPct val="100000"/>
              </a:lnSpc>
              <a:spcBef>
                <a:spcPts val="0"/>
              </a:spcBef>
              <a:spcAft>
                <a:spcPts val="0"/>
              </a:spcAft>
              <a:buNone/>
              <a:defRPr sz="1733"/>
            </a:lvl1pPr>
            <a:lvl2pPr marL="0" indent="0">
              <a:buNone/>
              <a:defRPr sz="1333"/>
            </a:lvl2pPr>
            <a:lvl3pPr marL="0" indent="0">
              <a:buNone/>
              <a:defRPr sz="1333"/>
            </a:lvl3pPr>
            <a:lvl4pPr marL="0" indent="0">
              <a:buNone/>
              <a:defRPr sz="1333"/>
            </a:lvl4pPr>
            <a:lvl5pPr marL="0" indent="0">
              <a:buNone/>
              <a:defRPr sz="1333"/>
            </a:lvl5pPr>
          </a:lstStyle>
          <a:p>
            <a:pPr lvl="0"/>
            <a:r>
              <a:rPr lang="en-US"/>
              <a:t>Month, year</a:t>
            </a:r>
            <a:br>
              <a:rPr lang="en-US"/>
            </a:br>
            <a:r>
              <a:rPr lang="en-US"/>
              <a:t>Name presenter</a:t>
            </a:r>
          </a:p>
        </p:txBody>
      </p:sp>
      <p:sp>
        <p:nvSpPr>
          <p:cNvPr id="9" name="Text Placeholder 6"/>
          <p:cNvSpPr>
            <a:spLocks noGrp="1"/>
          </p:cNvSpPr>
          <p:nvPr>
            <p:ph type="body" sz="quarter" idx="16" hasCustomPrompt="1"/>
          </p:nvPr>
        </p:nvSpPr>
        <p:spPr>
          <a:xfrm>
            <a:off x="768352" y="4651023"/>
            <a:ext cx="6816945" cy="1016000"/>
          </a:xfrm>
          <a:prstGeom prst="rect">
            <a:avLst/>
          </a:prstGeom>
        </p:spPr>
        <p:txBody>
          <a:bodyPr lIns="0" tIns="0" rIns="0" bIns="0">
            <a:normAutofit/>
          </a:bodyPr>
          <a:lstStyle>
            <a:lvl1pPr marL="0" indent="0">
              <a:lnSpc>
                <a:spcPct val="100000"/>
              </a:lnSpc>
              <a:buNone/>
              <a:defRPr sz="2667">
                <a:solidFill>
                  <a:srgbClr val="FF6C00"/>
                </a:solidFill>
              </a:defRPr>
            </a:lvl1pPr>
            <a:lvl2pPr marL="457189" indent="0">
              <a:lnSpc>
                <a:spcPts val="4800"/>
              </a:lnSpc>
              <a:buNone/>
              <a:defRPr sz="4000">
                <a:solidFill>
                  <a:srgbClr val="FF6C00"/>
                </a:solidFill>
              </a:defRPr>
            </a:lvl2pPr>
            <a:lvl3pPr marL="914377" indent="0">
              <a:lnSpc>
                <a:spcPts val="4800"/>
              </a:lnSpc>
              <a:buNone/>
              <a:defRPr sz="4000">
                <a:solidFill>
                  <a:srgbClr val="FF6C00"/>
                </a:solidFill>
              </a:defRPr>
            </a:lvl3pPr>
            <a:lvl4pPr marL="1371566" indent="0">
              <a:lnSpc>
                <a:spcPts val="4800"/>
              </a:lnSpc>
              <a:buNone/>
              <a:defRPr sz="4000">
                <a:solidFill>
                  <a:srgbClr val="FF6C00"/>
                </a:solidFill>
              </a:defRPr>
            </a:lvl4pPr>
            <a:lvl5pPr marL="1828754" indent="0">
              <a:lnSpc>
                <a:spcPts val="4800"/>
              </a:lnSpc>
              <a:buNone/>
              <a:defRPr sz="4000">
                <a:solidFill>
                  <a:srgbClr val="FF6C00"/>
                </a:solidFill>
              </a:defRPr>
            </a:lvl5pPr>
          </a:lstStyle>
          <a:p>
            <a:pPr lvl="0"/>
            <a:r>
              <a:rPr lang="en-US"/>
              <a:t>Subtitle</a:t>
            </a:r>
          </a:p>
        </p:txBody>
      </p:sp>
      <p:sp>
        <p:nvSpPr>
          <p:cNvPr id="16" name="Text Placeholder 9"/>
          <p:cNvSpPr>
            <a:spLocks noGrp="1"/>
          </p:cNvSpPr>
          <p:nvPr>
            <p:ph type="body" sz="quarter" idx="13" hasCustomPrompt="1"/>
          </p:nvPr>
        </p:nvSpPr>
        <p:spPr>
          <a:xfrm>
            <a:off x="768351" y="493184"/>
            <a:ext cx="736600" cy="8128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33"/>
            </a:lvl1pPr>
          </a:lstStyle>
          <a:p>
            <a:pPr lvl="0"/>
            <a:r>
              <a:rPr lang="en-US"/>
              <a:t>.</a:t>
            </a:r>
          </a:p>
        </p:txBody>
      </p:sp>
    </p:spTree>
    <p:extLst>
      <p:ext uri="{BB962C8B-B14F-4D97-AF65-F5344CB8AC3E}">
        <p14:creationId xmlns:p14="http://schemas.microsoft.com/office/powerpoint/2010/main" val="2338573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5" pos="5397">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Title slide with dark text and dark logo">
    <p:spTree>
      <p:nvGrpSpPr>
        <p:cNvPr id="1" name=""/>
        <p:cNvGrpSpPr/>
        <p:nvPr/>
      </p:nvGrpSpPr>
      <p:grpSpPr>
        <a:xfrm>
          <a:off x="0" y="0"/>
          <a:ext cx="0" cy="0"/>
          <a:chOff x="0" y="0"/>
          <a:chExt cx="0" cy="0"/>
        </a:xfrm>
      </p:grpSpPr>
      <p:sp>
        <p:nvSpPr>
          <p:cNvPr id="14" name="Picture Placeholder 13"/>
          <p:cNvSpPr>
            <a:spLocks noGrp="1"/>
          </p:cNvSpPr>
          <p:nvPr>
            <p:ph type="pic" sz="quarter" idx="15" hasCustomPrompt="1"/>
          </p:nvPr>
        </p:nvSpPr>
        <p:spPr>
          <a:xfrm>
            <a:off x="0" y="0"/>
            <a:ext cx="12192000" cy="6858000"/>
          </a:xfrm>
          <a:prstGeom prst="rect">
            <a:avLst/>
          </a:prstGeom>
          <a:solidFill>
            <a:schemeClr val="accent6"/>
          </a:solidFill>
        </p:spPr>
        <p:txBody>
          <a:bodyPr>
            <a:normAutofit/>
          </a:bodyPr>
          <a:lstStyle>
            <a:lvl1pPr marL="0" indent="0" algn="ctr">
              <a:lnSpc>
                <a:spcPct val="100000"/>
              </a:lnSpc>
              <a:buNone/>
              <a:defRPr sz="2133" baseline="0"/>
            </a:lvl1pPr>
          </a:lstStyle>
          <a:p>
            <a:r>
              <a:rPr lang="en-US" noProof="0" dirty="0"/>
              <a:t>Drag picture to placeholder or click icon to add</a:t>
            </a:r>
          </a:p>
        </p:txBody>
      </p:sp>
      <p:sp>
        <p:nvSpPr>
          <p:cNvPr id="2" name="Title 1"/>
          <p:cNvSpPr>
            <a:spLocks noGrp="1"/>
          </p:cNvSpPr>
          <p:nvPr>
            <p:ph type="ctrTitle" hasCustomPrompt="1"/>
          </p:nvPr>
        </p:nvSpPr>
        <p:spPr>
          <a:xfrm>
            <a:off x="768352" y="2212623"/>
            <a:ext cx="6816945" cy="2325511"/>
          </a:xfrm>
          <a:prstGeom prst="rect">
            <a:avLst/>
          </a:prstGeom>
        </p:spPr>
        <p:txBody>
          <a:bodyPr lIns="0" tIns="0" rIns="0" bIns="0" anchor="t" anchorCtr="0">
            <a:normAutofit/>
          </a:bodyPr>
          <a:lstStyle>
            <a:lvl1pPr algn="l">
              <a:lnSpc>
                <a:spcPct val="100000"/>
              </a:lnSpc>
              <a:defRPr sz="5067">
                <a:solidFill>
                  <a:srgbClr val="53565A"/>
                </a:solidFill>
              </a:defRPr>
            </a:lvl1pPr>
          </a:lstStyle>
          <a:p>
            <a:r>
              <a:rPr lang="en-US" noProof="0"/>
              <a:t>Click to edit title max over 2x lines</a:t>
            </a:r>
          </a:p>
        </p:txBody>
      </p:sp>
      <p:sp>
        <p:nvSpPr>
          <p:cNvPr id="12" name="Text Placeholder 11"/>
          <p:cNvSpPr>
            <a:spLocks noGrp="1"/>
          </p:cNvSpPr>
          <p:nvPr>
            <p:ph type="body" sz="quarter" idx="14" hasCustomPrompt="1"/>
          </p:nvPr>
        </p:nvSpPr>
        <p:spPr>
          <a:xfrm>
            <a:off x="768352" y="5881637"/>
            <a:ext cx="6816945" cy="653335"/>
          </a:xfrm>
          <a:prstGeom prst="rect">
            <a:avLst/>
          </a:prstGeom>
        </p:spPr>
        <p:txBody>
          <a:bodyPr lIns="0" tIns="0" rIns="0" bIns="0">
            <a:normAutofit/>
          </a:bodyPr>
          <a:lstStyle>
            <a:lvl1pPr marL="0" indent="0">
              <a:lnSpc>
                <a:spcPct val="100000"/>
              </a:lnSpc>
              <a:spcBef>
                <a:spcPts val="0"/>
              </a:spcBef>
              <a:spcAft>
                <a:spcPts val="0"/>
              </a:spcAft>
              <a:buNone/>
              <a:defRPr sz="1733"/>
            </a:lvl1pPr>
            <a:lvl2pPr marL="0" indent="0">
              <a:buNone/>
              <a:defRPr sz="1333"/>
            </a:lvl2pPr>
            <a:lvl3pPr marL="0" indent="0">
              <a:buNone/>
              <a:defRPr sz="1333"/>
            </a:lvl3pPr>
            <a:lvl4pPr marL="0" indent="0">
              <a:buNone/>
              <a:defRPr sz="1333"/>
            </a:lvl4pPr>
            <a:lvl5pPr marL="0" indent="0">
              <a:buNone/>
              <a:defRPr sz="1333"/>
            </a:lvl5pPr>
          </a:lstStyle>
          <a:p>
            <a:pPr lvl="0"/>
            <a:r>
              <a:rPr lang="en-US"/>
              <a:t>Month, year</a:t>
            </a:r>
            <a:br>
              <a:rPr lang="en-US"/>
            </a:br>
            <a:r>
              <a:rPr lang="en-US"/>
              <a:t>Name presenter</a:t>
            </a:r>
          </a:p>
        </p:txBody>
      </p:sp>
      <p:sp>
        <p:nvSpPr>
          <p:cNvPr id="9" name="Text Placeholder 6"/>
          <p:cNvSpPr>
            <a:spLocks noGrp="1"/>
          </p:cNvSpPr>
          <p:nvPr>
            <p:ph type="body" sz="quarter" idx="16" hasCustomPrompt="1"/>
          </p:nvPr>
        </p:nvSpPr>
        <p:spPr>
          <a:xfrm>
            <a:off x="768352" y="4651023"/>
            <a:ext cx="6816945" cy="1016000"/>
          </a:xfrm>
          <a:prstGeom prst="rect">
            <a:avLst/>
          </a:prstGeom>
        </p:spPr>
        <p:txBody>
          <a:bodyPr lIns="0" tIns="0" rIns="0" bIns="0">
            <a:normAutofit/>
          </a:bodyPr>
          <a:lstStyle>
            <a:lvl1pPr marL="0" indent="0">
              <a:lnSpc>
                <a:spcPct val="100000"/>
              </a:lnSpc>
              <a:buNone/>
              <a:defRPr sz="2667">
                <a:solidFill>
                  <a:srgbClr val="FF6C00"/>
                </a:solidFill>
              </a:defRPr>
            </a:lvl1pPr>
            <a:lvl2pPr marL="457189" indent="0">
              <a:lnSpc>
                <a:spcPts val="4800"/>
              </a:lnSpc>
              <a:buNone/>
              <a:defRPr sz="4000">
                <a:solidFill>
                  <a:srgbClr val="FF6C00"/>
                </a:solidFill>
              </a:defRPr>
            </a:lvl2pPr>
            <a:lvl3pPr marL="914377" indent="0">
              <a:lnSpc>
                <a:spcPts val="4800"/>
              </a:lnSpc>
              <a:buNone/>
              <a:defRPr sz="4000">
                <a:solidFill>
                  <a:srgbClr val="FF6C00"/>
                </a:solidFill>
              </a:defRPr>
            </a:lvl3pPr>
            <a:lvl4pPr marL="1371566" indent="0">
              <a:lnSpc>
                <a:spcPts val="4800"/>
              </a:lnSpc>
              <a:buNone/>
              <a:defRPr sz="4000">
                <a:solidFill>
                  <a:srgbClr val="FF6C00"/>
                </a:solidFill>
              </a:defRPr>
            </a:lvl4pPr>
            <a:lvl5pPr marL="1828754" indent="0">
              <a:lnSpc>
                <a:spcPts val="4800"/>
              </a:lnSpc>
              <a:buNone/>
              <a:defRPr sz="4000">
                <a:solidFill>
                  <a:srgbClr val="FF6C00"/>
                </a:solidFill>
              </a:defRPr>
            </a:lvl5pPr>
          </a:lstStyle>
          <a:p>
            <a:pPr lvl="0"/>
            <a:r>
              <a:rPr lang="en-US"/>
              <a:t>Subtitle</a:t>
            </a:r>
          </a:p>
        </p:txBody>
      </p:sp>
      <p:sp>
        <p:nvSpPr>
          <p:cNvPr id="8" name="Text Placeholder 9">
            <a:extLst>
              <a:ext uri="{FF2B5EF4-FFF2-40B4-BE49-F238E27FC236}">
                <a16:creationId xmlns:a16="http://schemas.microsoft.com/office/drawing/2014/main" id="{246A4B26-CBD6-4EC3-9BB2-03D1059EC06C}"/>
              </a:ext>
            </a:extLst>
          </p:cNvPr>
          <p:cNvSpPr>
            <a:spLocks noGrp="1"/>
          </p:cNvSpPr>
          <p:nvPr>
            <p:ph type="body" sz="quarter" idx="13" hasCustomPrompt="1"/>
          </p:nvPr>
        </p:nvSpPr>
        <p:spPr>
          <a:xfrm>
            <a:off x="768351" y="493184"/>
            <a:ext cx="736600" cy="8128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33"/>
            </a:lvl1pPr>
          </a:lstStyle>
          <a:p>
            <a:pPr lvl="0"/>
            <a:r>
              <a:rPr lang="en-US"/>
              <a:t>.</a:t>
            </a:r>
          </a:p>
        </p:txBody>
      </p:sp>
    </p:spTree>
    <p:extLst>
      <p:ext uri="{BB962C8B-B14F-4D97-AF65-F5344CB8AC3E}">
        <p14:creationId xmlns:p14="http://schemas.microsoft.com/office/powerpoint/2010/main" val="2853998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Title slide with orange text and dark logo">
    <p:spTree>
      <p:nvGrpSpPr>
        <p:cNvPr id="1" name=""/>
        <p:cNvGrpSpPr/>
        <p:nvPr/>
      </p:nvGrpSpPr>
      <p:grpSpPr>
        <a:xfrm>
          <a:off x="0" y="0"/>
          <a:ext cx="0" cy="0"/>
          <a:chOff x="0" y="0"/>
          <a:chExt cx="0" cy="0"/>
        </a:xfrm>
      </p:grpSpPr>
      <p:sp>
        <p:nvSpPr>
          <p:cNvPr id="14" name="Picture Placeholder 13"/>
          <p:cNvSpPr>
            <a:spLocks noGrp="1"/>
          </p:cNvSpPr>
          <p:nvPr>
            <p:ph type="pic" sz="quarter" idx="15" hasCustomPrompt="1"/>
          </p:nvPr>
        </p:nvSpPr>
        <p:spPr>
          <a:xfrm>
            <a:off x="0" y="0"/>
            <a:ext cx="12192000" cy="6858000"/>
          </a:xfrm>
          <a:prstGeom prst="rect">
            <a:avLst/>
          </a:prstGeom>
          <a:solidFill>
            <a:schemeClr val="accent6"/>
          </a:solidFill>
        </p:spPr>
        <p:txBody>
          <a:bodyPr>
            <a:normAutofit/>
          </a:bodyPr>
          <a:lstStyle>
            <a:lvl1pPr marL="0" indent="0" algn="ctr">
              <a:lnSpc>
                <a:spcPct val="100000"/>
              </a:lnSpc>
              <a:buNone/>
              <a:defRPr sz="2133" baseline="0"/>
            </a:lvl1pPr>
          </a:lstStyle>
          <a:p>
            <a:r>
              <a:rPr lang="en-US" noProof="0" dirty="0"/>
              <a:t>Drag picture to placeholder or click icon to add</a:t>
            </a:r>
          </a:p>
        </p:txBody>
      </p:sp>
      <p:sp>
        <p:nvSpPr>
          <p:cNvPr id="2" name="Title 1"/>
          <p:cNvSpPr>
            <a:spLocks noGrp="1"/>
          </p:cNvSpPr>
          <p:nvPr>
            <p:ph type="ctrTitle" hasCustomPrompt="1"/>
          </p:nvPr>
        </p:nvSpPr>
        <p:spPr>
          <a:xfrm>
            <a:off x="768352" y="2212623"/>
            <a:ext cx="6816945" cy="2325511"/>
          </a:xfrm>
          <a:prstGeom prst="rect">
            <a:avLst/>
          </a:prstGeom>
        </p:spPr>
        <p:txBody>
          <a:bodyPr lIns="0" tIns="0" rIns="0" bIns="0" anchor="t" anchorCtr="0">
            <a:normAutofit/>
          </a:bodyPr>
          <a:lstStyle>
            <a:lvl1pPr algn="l">
              <a:lnSpc>
                <a:spcPct val="100000"/>
              </a:lnSpc>
              <a:defRPr sz="5067">
                <a:solidFill>
                  <a:schemeClr val="accent2"/>
                </a:solidFill>
              </a:defRPr>
            </a:lvl1pPr>
          </a:lstStyle>
          <a:p>
            <a:r>
              <a:rPr lang="en-US" noProof="0"/>
              <a:t>Click to edit title max over 2x lines</a:t>
            </a:r>
          </a:p>
        </p:txBody>
      </p:sp>
      <p:sp>
        <p:nvSpPr>
          <p:cNvPr id="12" name="Text Placeholder 11"/>
          <p:cNvSpPr>
            <a:spLocks noGrp="1"/>
          </p:cNvSpPr>
          <p:nvPr>
            <p:ph type="body" sz="quarter" idx="14" hasCustomPrompt="1"/>
          </p:nvPr>
        </p:nvSpPr>
        <p:spPr>
          <a:xfrm>
            <a:off x="768352" y="5881637"/>
            <a:ext cx="6816945" cy="653335"/>
          </a:xfrm>
          <a:prstGeom prst="rect">
            <a:avLst/>
          </a:prstGeom>
        </p:spPr>
        <p:txBody>
          <a:bodyPr lIns="0" tIns="0" rIns="0" bIns="0">
            <a:normAutofit/>
          </a:bodyPr>
          <a:lstStyle>
            <a:lvl1pPr marL="0" indent="0">
              <a:lnSpc>
                <a:spcPct val="100000"/>
              </a:lnSpc>
              <a:spcBef>
                <a:spcPts val="0"/>
              </a:spcBef>
              <a:spcAft>
                <a:spcPts val="0"/>
              </a:spcAft>
              <a:buNone/>
              <a:defRPr sz="1733"/>
            </a:lvl1pPr>
            <a:lvl2pPr marL="0" indent="0">
              <a:buNone/>
              <a:defRPr sz="1333"/>
            </a:lvl2pPr>
            <a:lvl3pPr marL="0" indent="0">
              <a:buNone/>
              <a:defRPr sz="1333"/>
            </a:lvl3pPr>
            <a:lvl4pPr marL="0" indent="0">
              <a:buNone/>
              <a:defRPr sz="1333"/>
            </a:lvl4pPr>
            <a:lvl5pPr marL="0" indent="0">
              <a:buNone/>
              <a:defRPr sz="1333"/>
            </a:lvl5pPr>
          </a:lstStyle>
          <a:p>
            <a:pPr lvl="0"/>
            <a:r>
              <a:rPr lang="en-US"/>
              <a:t>Month, year</a:t>
            </a:r>
            <a:br>
              <a:rPr lang="en-US"/>
            </a:br>
            <a:r>
              <a:rPr lang="en-US"/>
              <a:t>Name presenter</a:t>
            </a:r>
          </a:p>
        </p:txBody>
      </p:sp>
      <p:sp>
        <p:nvSpPr>
          <p:cNvPr id="9" name="Text Placeholder 6"/>
          <p:cNvSpPr>
            <a:spLocks noGrp="1"/>
          </p:cNvSpPr>
          <p:nvPr>
            <p:ph type="body" sz="quarter" idx="16" hasCustomPrompt="1"/>
          </p:nvPr>
        </p:nvSpPr>
        <p:spPr>
          <a:xfrm>
            <a:off x="768352" y="4651023"/>
            <a:ext cx="6816945" cy="1016000"/>
          </a:xfrm>
          <a:prstGeom prst="rect">
            <a:avLst/>
          </a:prstGeom>
        </p:spPr>
        <p:txBody>
          <a:bodyPr lIns="0" tIns="0" rIns="0" bIns="0">
            <a:normAutofit/>
          </a:bodyPr>
          <a:lstStyle>
            <a:lvl1pPr marL="0" indent="0">
              <a:lnSpc>
                <a:spcPct val="100000"/>
              </a:lnSpc>
              <a:buNone/>
              <a:defRPr sz="2667">
                <a:solidFill>
                  <a:srgbClr val="FF6C00"/>
                </a:solidFill>
              </a:defRPr>
            </a:lvl1pPr>
            <a:lvl2pPr marL="457189" indent="0">
              <a:lnSpc>
                <a:spcPts val="4800"/>
              </a:lnSpc>
              <a:buNone/>
              <a:defRPr sz="4000">
                <a:solidFill>
                  <a:srgbClr val="FF6C00"/>
                </a:solidFill>
              </a:defRPr>
            </a:lvl2pPr>
            <a:lvl3pPr marL="914377" indent="0">
              <a:lnSpc>
                <a:spcPts val="4800"/>
              </a:lnSpc>
              <a:buNone/>
              <a:defRPr sz="4000">
                <a:solidFill>
                  <a:srgbClr val="FF6C00"/>
                </a:solidFill>
              </a:defRPr>
            </a:lvl3pPr>
            <a:lvl4pPr marL="1371566" indent="0">
              <a:lnSpc>
                <a:spcPts val="4800"/>
              </a:lnSpc>
              <a:buNone/>
              <a:defRPr sz="4000">
                <a:solidFill>
                  <a:srgbClr val="FF6C00"/>
                </a:solidFill>
              </a:defRPr>
            </a:lvl4pPr>
            <a:lvl5pPr marL="1828754" indent="0">
              <a:lnSpc>
                <a:spcPts val="4800"/>
              </a:lnSpc>
              <a:buNone/>
              <a:defRPr sz="4000">
                <a:solidFill>
                  <a:srgbClr val="FF6C00"/>
                </a:solidFill>
              </a:defRPr>
            </a:lvl5pPr>
          </a:lstStyle>
          <a:p>
            <a:pPr lvl="0"/>
            <a:r>
              <a:rPr lang="en-US"/>
              <a:t>Subtitle</a:t>
            </a:r>
          </a:p>
        </p:txBody>
      </p:sp>
      <p:sp>
        <p:nvSpPr>
          <p:cNvPr id="8" name="Text Placeholder 9">
            <a:extLst>
              <a:ext uri="{FF2B5EF4-FFF2-40B4-BE49-F238E27FC236}">
                <a16:creationId xmlns:a16="http://schemas.microsoft.com/office/drawing/2014/main" id="{8C401EA3-16A6-47D3-9D6E-A27DFE2287EA}"/>
              </a:ext>
            </a:extLst>
          </p:cNvPr>
          <p:cNvSpPr>
            <a:spLocks noGrp="1"/>
          </p:cNvSpPr>
          <p:nvPr>
            <p:ph type="body" sz="quarter" idx="13" hasCustomPrompt="1"/>
          </p:nvPr>
        </p:nvSpPr>
        <p:spPr>
          <a:xfrm>
            <a:off x="768351" y="493184"/>
            <a:ext cx="736600" cy="8128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33"/>
            </a:lvl1pPr>
          </a:lstStyle>
          <a:p>
            <a:pPr lvl="0"/>
            <a:r>
              <a:rPr lang="en-US"/>
              <a:t>.</a:t>
            </a:r>
          </a:p>
        </p:txBody>
      </p:sp>
    </p:spTree>
    <p:extLst>
      <p:ext uri="{BB962C8B-B14F-4D97-AF65-F5344CB8AC3E}">
        <p14:creationId xmlns:p14="http://schemas.microsoft.com/office/powerpoint/2010/main" val="2740067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Title slide with white text and white logo">
    <p:spTree>
      <p:nvGrpSpPr>
        <p:cNvPr id="1" name=""/>
        <p:cNvGrpSpPr/>
        <p:nvPr/>
      </p:nvGrpSpPr>
      <p:grpSpPr>
        <a:xfrm>
          <a:off x="0" y="0"/>
          <a:ext cx="0" cy="0"/>
          <a:chOff x="0" y="0"/>
          <a:chExt cx="0" cy="0"/>
        </a:xfrm>
      </p:grpSpPr>
      <p:sp>
        <p:nvSpPr>
          <p:cNvPr id="14" name="AchtergrondBeeld"/>
          <p:cNvSpPr>
            <a:spLocks noGrp="1"/>
          </p:cNvSpPr>
          <p:nvPr>
            <p:ph type="pic" sz="quarter" idx="15" hasCustomPrompt="1"/>
          </p:nvPr>
        </p:nvSpPr>
        <p:spPr>
          <a:xfrm>
            <a:off x="0" y="0"/>
            <a:ext cx="12192000" cy="6858000"/>
          </a:xfrm>
          <a:prstGeom prst="rect">
            <a:avLst/>
          </a:prstGeom>
          <a:solidFill>
            <a:srgbClr val="3E4043">
              <a:alpha val="14902"/>
            </a:srgbClr>
          </a:solidFill>
        </p:spPr>
        <p:txBody>
          <a:bodyPr>
            <a:normAutofit/>
          </a:bodyPr>
          <a:lstStyle>
            <a:lvl1pPr marL="0" indent="0" algn="ctr">
              <a:lnSpc>
                <a:spcPct val="100000"/>
              </a:lnSpc>
              <a:buNone/>
              <a:defRPr sz="2133" baseline="0"/>
            </a:lvl1pPr>
          </a:lstStyle>
          <a:p>
            <a:r>
              <a:rPr lang="en-US" noProof="0" dirty="0"/>
              <a:t>Drag picture to placeholder or click icon to add</a:t>
            </a:r>
          </a:p>
        </p:txBody>
      </p:sp>
      <p:sp>
        <p:nvSpPr>
          <p:cNvPr id="12" name="Text Placeholder 11"/>
          <p:cNvSpPr>
            <a:spLocks noGrp="1"/>
          </p:cNvSpPr>
          <p:nvPr>
            <p:ph type="body" sz="quarter" idx="14" hasCustomPrompt="1"/>
          </p:nvPr>
        </p:nvSpPr>
        <p:spPr>
          <a:xfrm>
            <a:off x="768352" y="5881637"/>
            <a:ext cx="6816945" cy="653335"/>
          </a:xfrm>
          <a:prstGeom prst="rect">
            <a:avLst/>
          </a:prstGeom>
        </p:spPr>
        <p:txBody>
          <a:bodyPr lIns="0" tIns="0" rIns="0" bIns="0">
            <a:normAutofit/>
          </a:bodyPr>
          <a:lstStyle>
            <a:lvl1pPr marL="0" indent="0">
              <a:lnSpc>
                <a:spcPct val="100000"/>
              </a:lnSpc>
              <a:spcBef>
                <a:spcPts val="0"/>
              </a:spcBef>
              <a:spcAft>
                <a:spcPts val="0"/>
              </a:spcAft>
              <a:buNone/>
              <a:defRPr sz="1733">
                <a:solidFill>
                  <a:schemeClr val="bg1"/>
                </a:solidFill>
              </a:defRPr>
            </a:lvl1pPr>
            <a:lvl2pPr marL="0" indent="0">
              <a:buNone/>
              <a:defRPr sz="1333"/>
            </a:lvl2pPr>
            <a:lvl3pPr marL="0" indent="0">
              <a:buNone/>
              <a:defRPr sz="1333"/>
            </a:lvl3pPr>
            <a:lvl4pPr marL="0" indent="0">
              <a:buNone/>
              <a:defRPr sz="1333"/>
            </a:lvl4pPr>
            <a:lvl5pPr marL="0" indent="0">
              <a:buNone/>
              <a:defRPr sz="1333"/>
            </a:lvl5pPr>
          </a:lstStyle>
          <a:p>
            <a:pPr lvl="0"/>
            <a:r>
              <a:rPr lang="en-US"/>
              <a:t>Month, year</a:t>
            </a:r>
            <a:br>
              <a:rPr lang="en-US"/>
            </a:br>
            <a:r>
              <a:rPr lang="en-US"/>
              <a:t>Name presenter</a:t>
            </a:r>
          </a:p>
        </p:txBody>
      </p:sp>
      <p:sp>
        <p:nvSpPr>
          <p:cNvPr id="20" name="Title 1"/>
          <p:cNvSpPr>
            <a:spLocks noGrp="1"/>
          </p:cNvSpPr>
          <p:nvPr>
            <p:ph type="ctrTitle" hasCustomPrompt="1"/>
          </p:nvPr>
        </p:nvSpPr>
        <p:spPr>
          <a:xfrm>
            <a:off x="768352" y="2212623"/>
            <a:ext cx="6816945" cy="2325511"/>
          </a:xfrm>
          <a:prstGeom prst="rect">
            <a:avLst/>
          </a:prstGeom>
        </p:spPr>
        <p:txBody>
          <a:bodyPr lIns="0" tIns="0" rIns="0" bIns="0" anchor="t" anchorCtr="0">
            <a:normAutofit/>
          </a:bodyPr>
          <a:lstStyle>
            <a:lvl1pPr algn="l">
              <a:lnSpc>
                <a:spcPct val="100000"/>
              </a:lnSpc>
              <a:defRPr sz="5067">
                <a:solidFill>
                  <a:schemeClr val="bg1"/>
                </a:solidFill>
              </a:defRPr>
            </a:lvl1pPr>
          </a:lstStyle>
          <a:p>
            <a:r>
              <a:rPr lang="en-US" noProof="0"/>
              <a:t>Click to edit title max over 2x lines</a:t>
            </a:r>
          </a:p>
        </p:txBody>
      </p:sp>
      <p:sp>
        <p:nvSpPr>
          <p:cNvPr id="21" name="Text Placeholder 6"/>
          <p:cNvSpPr>
            <a:spLocks noGrp="1"/>
          </p:cNvSpPr>
          <p:nvPr>
            <p:ph type="body" sz="quarter" idx="16" hasCustomPrompt="1"/>
          </p:nvPr>
        </p:nvSpPr>
        <p:spPr>
          <a:xfrm>
            <a:off x="768352" y="4651023"/>
            <a:ext cx="6816945" cy="1016000"/>
          </a:xfrm>
          <a:prstGeom prst="rect">
            <a:avLst/>
          </a:prstGeom>
        </p:spPr>
        <p:txBody>
          <a:bodyPr lIns="0" tIns="0" rIns="0" bIns="0">
            <a:normAutofit/>
          </a:bodyPr>
          <a:lstStyle>
            <a:lvl1pPr marL="0" indent="0">
              <a:lnSpc>
                <a:spcPct val="100000"/>
              </a:lnSpc>
              <a:buNone/>
              <a:defRPr sz="2667">
                <a:solidFill>
                  <a:srgbClr val="FF6C00"/>
                </a:solidFill>
              </a:defRPr>
            </a:lvl1pPr>
            <a:lvl2pPr marL="457189" indent="0">
              <a:lnSpc>
                <a:spcPts val="4800"/>
              </a:lnSpc>
              <a:buNone/>
              <a:defRPr sz="4000">
                <a:solidFill>
                  <a:srgbClr val="FF6C00"/>
                </a:solidFill>
              </a:defRPr>
            </a:lvl2pPr>
            <a:lvl3pPr marL="914377" indent="0">
              <a:lnSpc>
                <a:spcPts val="4800"/>
              </a:lnSpc>
              <a:buNone/>
              <a:defRPr sz="4000">
                <a:solidFill>
                  <a:srgbClr val="FF6C00"/>
                </a:solidFill>
              </a:defRPr>
            </a:lvl3pPr>
            <a:lvl4pPr marL="1371566" indent="0">
              <a:lnSpc>
                <a:spcPts val="4800"/>
              </a:lnSpc>
              <a:buNone/>
              <a:defRPr sz="4000">
                <a:solidFill>
                  <a:srgbClr val="FF6C00"/>
                </a:solidFill>
              </a:defRPr>
            </a:lvl4pPr>
            <a:lvl5pPr marL="1828754" indent="0">
              <a:lnSpc>
                <a:spcPts val="4800"/>
              </a:lnSpc>
              <a:buNone/>
              <a:defRPr sz="4000">
                <a:solidFill>
                  <a:srgbClr val="FF6C00"/>
                </a:solidFill>
              </a:defRPr>
            </a:lvl5pPr>
          </a:lstStyle>
          <a:p>
            <a:pPr lvl="0"/>
            <a:r>
              <a:rPr lang="en-US"/>
              <a:t>Subtitle</a:t>
            </a:r>
          </a:p>
        </p:txBody>
      </p:sp>
      <p:sp>
        <p:nvSpPr>
          <p:cNvPr id="7" name="Text Placeholder 9">
            <a:extLst>
              <a:ext uri="{FF2B5EF4-FFF2-40B4-BE49-F238E27FC236}">
                <a16:creationId xmlns:a16="http://schemas.microsoft.com/office/drawing/2014/main" id="{F59E71B1-F750-4435-986C-7F9EF2056098}"/>
              </a:ext>
            </a:extLst>
          </p:cNvPr>
          <p:cNvSpPr>
            <a:spLocks noGrp="1"/>
          </p:cNvSpPr>
          <p:nvPr>
            <p:ph type="body" sz="quarter" idx="13" hasCustomPrompt="1"/>
          </p:nvPr>
        </p:nvSpPr>
        <p:spPr>
          <a:xfrm>
            <a:off x="768351" y="493184"/>
            <a:ext cx="736600" cy="8128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33"/>
            </a:lvl1pPr>
          </a:lstStyle>
          <a:p>
            <a:pPr lvl="0"/>
            <a:r>
              <a:rPr lang="en-US"/>
              <a:t>.</a:t>
            </a:r>
          </a:p>
        </p:txBody>
      </p:sp>
    </p:spTree>
    <p:extLst>
      <p:ext uri="{BB962C8B-B14F-4D97-AF65-F5344CB8AC3E}">
        <p14:creationId xmlns:p14="http://schemas.microsoft.com/office/powerpoint/2010/main" val="2355094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85F9C2-EDFF-6CFE-3615-A105A6BACB2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NL"/>
          </a:p>
        </p:txBody>
      </p:sp>
      <p:sp>
        <p:nvSpPr>
          <p:cNvPr id="3" name="Content Placeholder 2">
            <a:extLst>
              <a:ext uri="{FF2B5EF4-FFF2-40B4-BE49-F238E27FC236}">
                <a16:creationId xmlns:a16="http://schemas.microsoft.com/office/drawing/2014/main" id="{86FAC52C-D55A-E251-0E00-41089354C51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
        <p:nvSpPr>
          <p:cNvPr id="4" name="Text Placeholder 3">
            <a:extLst>
              <a:ext uri="{FF2B5EF4-FFF2-40B4-BE49-F238E27FC236}">
                <a16:creationId xmlns:a16="http://schemas.microsoft.com/office/drawing/2014/main" id="{368D04FB-F20E-D1CE-0142-A4876615D38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0FA0D73-0DA5-F619-286C-B78B9C0F51E8}"/>
              </a:ext>
            </a:extLst>
          </p:cNvPr>
          <p:cNvSpPr>
            <a:spLocks noGrp="1"/>
          </p:cNvSpPr>
          <p:nvPr>
            <p:ph type="dt" sz="half" idx="10"/>
          </p:nvPr>
        </p:nvSpPr>
        <p:spPr/>
        <p:txBody>
          <a:bodyPr/>
          <a:lstStyle/>
          <a:p>
            <a:fld id="{036B0891-7476-4D8C-837F-BB2F6F398C80}" type="datetimeFigureOut">
              <a:rPr lang="en-NL" smtClean="0"/>
              <a:t>10/23/2025</a:t>
            </a:fld>
            <a:endParaRPr lang="en-NL"/>
          </a:p>
        </p:txBody>
      </p:sp>
      <p:sp>
        <p:nvSpPr>
          <p:cNvPr id="6" name="Footer Placeholder 5">
            <a:extLst>
              <a:ext uri="{FF2B5EF4-FFF2-40B4-BE49-F238E27FC236}">
                <a16:creationId xmlns:a16="http://schemas.microsoft.com/office/drawing/2014/main" id="{15FF945D-C853-0509-D5C1-1512052AB80A}"/>
              </a:ext>
            </a:extLst>
          </p:cNvPr>
          <p:cNvSpPr>
            <a:spLocks noGrp="1"/>
          </p:cNvSpPr>
          <p:nvPr>
            <p:ph type="ftr" sz="quarter" idx="11"/>
          </p:nvPr>
        </p:nvSpPr>
        <p:spPr/>
        <p:txBody>
          <a:bodyPr/>
          <a:lstStyle/>
          <a:p>
            <a:endParaRPr lang="en-NL"/>
          </a:p>
        </p:txBody>
      </p:sp>
      <p:sp>
        <p:nvSpPr>
          <p:cNvPr id="7" name="Slide Number Placeholder 6">
            <a:extLst>
              <a:ext uri="{FF2B5EF4-FFF2-40B4-BE49-F238E27FC236}">
                <a16:creationId xmlns:a16="http://schemas.microsoft.com/office/drawing/2014/main" id="{D4A94B9D-F3BF-09DA-5DF3-FBFC3F581EDB}"/>
              </a:ext>
            </a:extLst>
          </p:cNvPr>
          <p:cNvSpPr>
            <a:spLocks noGrp="1"/>
          </p:cNvSpPr>
          <p:nvPr>
            <p:ph type="sldNum" sz="quarter" idx="12"/>
          </p:nvPr>
        </p:nvSpPr>
        <p:spPr/>
        <p:txBody>
          <a:bodyPr/>
          <a:lstStyle/>
          <a:p>
            <a:fld id="{A4C5E35F-323C-4AC9-A193-D482FFFB2350}" type="slidenum">
              <a:rPr lang="en-NL" smtClean="0"/>
              <a:t>‹#›</a:t>
            </a:fld>
            <a:endParaRPr lang="en-NL"/>
          </a:p>
        </p:txBody>
      </p:sp>
    </p:spTree>
    <p:extLst>
      <p:ext uri="{BB962C8B-B14F-4D97-AF65-F5344CB8AC3E}">
        <p14:creationId xmlns:p14="http://schemas.microsoft.com/office/powerpoint/2010/main" val="169290397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Title slide with orange text and white logo">
    <p:spTree>
      <p:nvGrpSpPr>
        <p:cNvPr id="1" name=""/>
        <p:cNvGrpSpPr/>
        <p:nvPr/>
      </p:nvGrpSpPr>
      <p:grpSpPr>
        <a:xfrm>
          <a:off x="0" y="0"/>
          <a:ext cx="0" cy="0"/>
          <a:chOff x="0" y="0"/>
          <a:chExt cx="0" cy="0"/>
        </a:xfrm>
      </p:grpSpPr>
      <p:sp>
        <p:nvSpPr>
          <p:cNvPr id="14" name="AchtergrondBeeld"/>
          <p:cNvSpPr>
            <a:spLocks noGrp="1"/>
          </p:cNvSpPr>
          <p:nvPr>
            <p:ph type="pic" sz="quarter" idx="15" hasCustomPrompt="1"/>
          </p:nvPr>
        </p:nvSpPr>
        <p:spPr>
          <a:xfrm>
            <a:off x="0" y="0"/>
            <a:ext cx="12192000" cy="6858000"/>
          </a:xfrm>
          <a:prstGeom prst="rect">
            <a:avLst/>
          </a:prstGeom>
          <a:solidFill>
            <a:srgbClr val="3E4043">
              <a:alpha val="14902"/>
            </a:srgbClr>
          </a:solidFill>
        </p:spPr>
        <p:txBody>
          <a:bodyPr>
            <a:normAutofit/>
          </a:bodyPr>
          <a:lstStyle>
            <a:lvl1pPr marL="0" indent="0" algn="ctr">
              <a:lnSpc>
                <a:spcPct val="100000"/>
              </a:lnSpc>
              <a:buNone/>
              <a:defRPr sz="2133" baseline="0"/>
            </a:lvl1pPr>
          </a:lstStyle>
          <a:p>
            <a:r>
              <a:rPr lang="en-US" noProof="0" dirty="0"/>
              <a:t>Drag picture to placeholder or click icon to add</a:t>
            </a:r>
          </a:p>
        </p:txBody>
      </p:sp>
      <p:sp>
        <p:nvSpPr>
          <p:cNvPr id="12" name="Text Placeholder 11"/>
          <p:cNvSpPr>
            <a:spLocks noGrp="1"/>
          </p:cNvSpPr>
          <p:nvPr>
            <p:ph type="body" sz="quarter" idx="14" hasCustomPrompt="1"/>
          </p:nvPr>
        </p:nvSpPr>
        <p:spPr>
          <a:xfrm>
            <a:off x="768352" y="5881637"/>
            <a:ext cx="6816945" cy="653335"/>
          </a:xfrm>
          <a:prstGeom prst="rect">
            <a:avLst/>
          </a:prstGeom>
        </p:spPr>
        <p:txBody>
          <a:bodyPr lIns="0" tIns="0" rIns="0" bIns="0">
            <a:normAutofit/>
          </a:bodyPr>
          <a:lstStyle>
            <a:lvl1pPr marL="0" indent="0">
              <a:lnSpc>
                <a:spcPct val="100000"/>
              </a:lnSpc>
              <a:spcBef>
                <a:spcPts val="0"/>
              </a:spcBef>
              <a:spcAft>
                <a:spcPts val="0"/>
              </a:spcAft>
              <a:buNone/>
              <a:defRPr sz="1733">
                <a:solidFill>
                  <a:schemeClr val="bg1"/>
                </a:solidFill>
              </a:defRPr>
            </a:lvl1pPr>
            <a:lvl2pPr marL="0" indent="0">
              <a:buNone/>
              <a:defRPr sz="1333"/>
            </a:lvl2pPr>
            <a:lvl3pPr marL="0" indent="0">
              <a:buNone/>
              <a:defRPr sz="1333"/>
            </a:lvl3pPr>
            <a:lvl4pPr marL="0" indent="0">
              <a:buNone/>
              <a:defRPr sz="1333"/>
            </a:lvl4pPr>
            <a:lvl5pPr marL="0" indent="0">
              <a:buNone/>
              <a:defRPr sz="1333"/>
            </a:lvl5pPr>
          </a:lstStyle>
          <a:p>
            <a:pPr lvl="0"/>
            <a:r>
              <a:rPr lang="en-US"/>
              <a:t>Month, year</a:t>
            </a:r>
            <a:br>
              <a:rPr lang="en-US"/>
            </a:br>
            <a:r>
              <a:rPr lang="en-US"/>
              <a:t>Name presenter</a:t>
            </a:r>
          </a:p>
        </p:txBody>
      </p:sp>
      <p:sp>
        <p:nvSpPr>
          <p:cNvPr id="20" name="Title 1"/>
          <p:cNvSpPr>
            <a:spLocks noGrp="1"/>
          </p:cNvSpPr>
          <p:nvPr>
            <p:ph type="ctrTitle" hasCustomPrompt="1"/>
          </p:nvPr>
        </p:nvSpPr>
        <p:spPr>
          <a:xfrm>
            <a:off x="768352" y="2212623"/>
            <a:ext cx="6816945" cy="2325511"/>
          </a:xfrm>
          <a:prstGeom prst="rect">
            <a:avLst/>
          </a:prstGeom>
        </p:spPr>
        <p:txBody>
          <a:bodyPr lIns="0" tIns="0" rIns="0" bIns="0" anchor="t" anchorCtr="0">
            <a:normAutofit/>
          </a:bodyPr>
          <a:lstStyle>
            <a:lvl1pPr algn="l">
              <a:lnSpc>
                <a:spcPct val="100000"/>
              </a:lnSpc>
              <a:defRPr sz="5067">
                <a:solidFill>
                  <a:schemeClr val="accent2"/>
                </a:solidFill>
              </a:defRPr>
            </a:lvl1pPr>
          </a:lstStyle>
          <a:p>
            <a:r>
              <a:rPr lang="en-US" noProof="0"/>
              <a:t>Click to edit title max over 2x lines</a:t>
            </a:r>
          </a:p>
        </p:txBody>
      </p:sp>
      <p:sp>
        <p:nvSpPr>
          <p:cNvPr id="21" name="Text Placeholder 6"/>
          <p:cNvSpPr>
            <a:spLocks noGrp="1"/>
          </p:cNvSpPr>
          <p:nvPr>
            <p:ph type="body" sz="quarter" idx="16" hasCustomPrompt="1"/>
          </p:nvPr>
        </p:nvSpPr>
        <p:spPr>
          <a:xfrm>
            <a:off x="768352" y="4651023"/>
            <a:ext cx="6816945" cy="1016000"/>
          </a:xfrm>
          <a:prstGeom prst="rect">
            <a:avLst/>
          </a:prstGeom>
        </p:spPr>
        <p:txBody>
          <a:bodyPr lIns="0" tIns="0" rIns="0" bIns="0">
            <a:normAutofit/>
          </a:bodyPr>
          <a:lstStyle>
            <a:lvl1pPr marL="0" indent="0">
              <a:lnSpc>
                <a:spcPct val="100000"/>
              </a:lnSpc>
              <a:buNone/>
              <a:defRPr sz="2667">
                <a:solidFill>
                  <a:srgbClr val="FF6C00"/>
                </a:solidFill>
              </a:defRPr>
            </a:lvl1pPr>
            <a:lvl2pPr marL="457189" indent="0">
              <a:lnSpc>
                <a:spcPts val="4800"/>
              </a:lnSpc>
              <a:buNone/>
              <a:defRPr sz="4000">
                <a:solidFill>
                  <a:srgbClr val="FF6C00"/>
                </a:solidFill>
              </a:defRPr>
            </a:lvl2pPr>
            <a:lvl3pPr marL="914377" indent="0">
              <a:lnSpc>
                <a:spcPts val="4800"/>
              </a:lnSpc>
              <a:buNone/>
              <a:defRPr sz="4000">
                <a:solidFill>
                  <a:srgbClr val="FF6C00"/>
                </a:solidFill>
              </a:defRPr>
            </a:lvl3pPr>
            <a:lvl4pPr marL="1371566" indent="0">
              <a:lnSpc>
                <a:spcPts val="4800"/>
              </a:lnSpc>
              <a:buNone/>
              <a:defRPr sz="4000">
                <a:solidFill>
                  <a:srgbClr val="FF6C00"/>
                </a:solidFill>
              </a:defRPr>
            </a:lvl4pPr>
            <a:lvl5pPr marL="1828754" indent="0">
              <a:lnSpc>
                <a:spcPts val="4800"/>
              </a:lnSpc>
              <a:buNone/>
              <a:defRPr sz="4000">
                <a:solidFill>
                  <a:srgbClr val="FF6C00"/>
                </a:solidFill>
              </a:defRPr>
            </a:lvl5pPr>
          </a:lstStyle>
          <a:p>
            <a:pPr lvl="0"/>
            <a:r>
              <a:rPr lang="en-US"/>
              <a:t>Subtitle</a:t>
            </a:r>
          </a:p>
        </p:txBody>
      </p:sp>
      <p:sp>
        <p:nvSpPr>
          <p:cNvPr id="8" name="Text Placeholder 9">
            <a:extLst>
              <a:ext uri="{FF2B5EF4-FFF2-40B4-BE49-F238E27FC236}">
                <a16:creationId xmlns:a16="http://schemas.microsoft.com/office/drawing/2014/main" id="{0E6E70A5-8AF3-4A7A-B204-A2BBA103534A}"/>
              </a:ext>
            </a:extLst>
          </p:cNvPr>
          <p:cNvSpPr>
            <a:spLocks noGrp="1"/>
          </p:cNvSpPr>
          <p:nvPr>
            <p:ph type="body" sz="quarter" idx="13" hasCustomPrompt="1"/>
          </p:nvPr>
        </p:nvSpPr>
        <p:spPr>
          <a:xfrm>
            <a:off x="768351" y="493184"/>
            <a:ext cx="736600" cy="8128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33"/>
            </a:lvl1pPr>
          </a:lstStyle>
          <a:p>
            <a:pPr lvl="0"/>
            <a:r>
              <a:rPr lang="en-US"/>
              <a:t>.</a:t>
            </a:r>
          </a:p>
        </p:txBody>
      </p:sp>
    </p:spTree>
    <p:extLst>
      <p:ext uri="{BB962C8B-B14F-4D97-AF65-F5344CB8AC3E}">
        <p14:creationId xmlns:p14="http://schemas.microsoft.com/office/powerpoint/2010/main" val="652263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Title slide with orange and gray text and white logo">
    <p:spTree>
      <p:nvGrpSpPr>
        <p:cNvPr id="1" name=""/>
        <p:cNvGrpSpPr/>
        <p:nvPr/>
      </p:nvGrpSpPr>
      <p:grpSpPr>
        <a:xfrm>
          <a:off x="0" y="0"/>
          <a:ext cx="0" cy="0"/>
          <a:chOff x="0" y="0"/>
          <a:chExt cx="0" cy="0"/>
        </a:xfrm>
      </p:grpSpPr>
      <p:sp>
        <p:nvSpPr>
          <p:cNvPr id="14" name="AchtergrondBeeld"/>
          <p:cNvSpPr>
            <a:spLocks noGrp="1"/>
          </p:cNvSpPr>
          <p:nvPr>
            <p:ph type="pic" sz="quarter" idx="15" hasCustomPrompt="1"/>
          </p:nvPr>
        </p:nvSpPr>
        <p:spPr>
          <a:xfrm>
            <a:off x="0" y="0"/>
            <a:ext cx="12192000" cy="6858000"/>
          </a:xfrm>
          <a:prstGeom prst="rect">
            <a:avLst/>
          </a:prstGeom>
          <a:solidFill>
            <a:srgbClr val="3E4043">
              <a:alpha val="14902"/>
            </a:srgbClr>
          </a:solidFill>
        </p:spPr>
        <p:txBody>
          <a:bodyPr>
            <a:normAutofit/>
          </a:bodyPr>
          <a:lstStyle>
            <a:lvl1pPr marL="0" indent="0" algn="ctr">
              <a:lnSpc>
                <a:spcPct val="100000"/>
              </a:lnSpc>
              <a:buNone/>
              <a:defRPr sz="2133" baseline="0"/>
            </a:lvl1pPr>
          </a:lstStyle>
          <a:p>
            <a:r>
              <a:rPr lang="en-US" noProof="0" dirty="0"/>
              <a:t>Drag picture to placeholder or click icon to add</a:t>
            </a:r>
          </a:p>
        </p:txBody>
      </p:sp>
      <p:sp>
        <p:nvSpPr>
          <p:cNvPr id="12" name="Text Placeholder 11"/>
          <p:cNvSpPr>
            <a:spLocks noGrp="1"/>
          </p:cNvSpPr>
          <p:nvPr>
            <p:ph type="body" sz="quarter" idx="14" hasCustomPrompt="1"/>
          </p:nvPr>
        </p:nvSpPr>
        <p:spPr>
          <a:xfrm>
            <a:off x="768352" y="5881637"/>
            <a:ext cx="6816945" cy="653335"/>
          </a:xfrm>
          <a:prstGeom prst="rect">
            <a:avLst/>
          </a:prstGeom>
        </p:spPr>
        <p:txBody>
          <a:bodyPr lIns="0" tIns="0" rIns="0" bIns="0">
            <a:normAutofit/>
          </a:bodyPr>
          <a:lstStyle>
            <a:lvl1pPr marL="0" indent="0">
              <a:lnSpc>
                <a:spcPct val="100000"/>
              </a:lnSpc>
              <a:spcBef>
                <a:spcPts val="0"/>
              </a:spcBef>
              <a:spcAft>
                <a:spcPts val="0"/>
              </a:spcAft>
              <a:buNone/>
              <a:defRPr sz="1733">
                <a:solidFill>
                  <a:schemeClr val="tx1"/>
                </a:solidFill>
              </a:defRPr>
            </a:lvl1pPr>
            <a:lvl2pPr marL="0" indent="0">
              <a:buNone/>
              <a:defRPr sz="1333"/>
            </a:lvl2pPr>
            <a:lvl3pPr marL="0" indent="0">
              <a:buNone/>
              <a:defRPr sz="1333"/>
            </a:lvl3pPr>
            <a:lvl4pPr marL="0" indent="0">
              <a:buNone/>
              <a:defRPr sz="1333"/>
            </a:lvl4pPr>
            <a:lvl5pPr marL="0" indent="0">
              <a:buNone/>
              <a:defRPr sz="1333"/>
            </a:lvl5pPr>
          </a:lstStyle>
          <a:p>
            <a:pPr lvl="0"/>
            <a:r>
              <a:rPr lang="en-US"/>
              <a:t>Month, year</a:t>
            </a:r>
            <a:br>
              <a:rPr lang="en-US"/>
            </a:br>
            <a:r>
              <a:rPr lang="en-US"/>
              <a:t>Name presenter</a:t>
            </a:r>
          </a:p>
        </p:txBody>
      </p:sp>
      <p:sp>
        <p:nvSpPr>
          <p:cNvPr id="20" name="Title 1"/>
          <p:cNvSpPr>
            <a:spLocks noGrp="1"/>
          </p:cNvSpPr>
          <p:nvPr>
            <p:ph type="ctrTitle" hasCustomPrompt="1"/>
          </p:nvPr>
        </p:nvSpPr>
        <p:spPr>
          <a:xfrm>
            <a:off x="768352" y="2212623"/>
            <a:ext cx="6816945" cy="2325511"/>
          </a:xfrm>
          <a:prstGeom prst="rect">
            <a:avLst/>
          </a:prstGeom>
        </p:spPr>
        <p:txBody>
          <a:bodyPr lIns="0" tIns="0" rIns="0" bIns="0" anchor="t" anchorCtr="0">
            <a:normAutofit/>
          </a:bodyPr>
          <a:lstStyle>
            <a:lvl1pPr algn="l">
              <a:lnSpc>
                <a:spcPct val="100000"/>
              </a:lnSpc>
              <a:defRPr sz="5067">
                <a:solidFill>
                  <a:schemeClr val="accent2"/>
                </a:solidFill>
              </a:defRPr>
            </a:lvl1pPr>
          </a:lstStyle>
          <a:p>
            <a:r>
              <a:rPr lang="en-US" noProof="0"/>
              <a:t>Click to edit title max over 2x lines</a:t>
            </a:r>
          </a:p>
        </p:txBody>
      </p:sp>
      <p:sp>
        <p:nvSpPr>
          <p:cNvPr id="21" name="Text Placeholder 6"/>
          <p:cNvSpPr>
            <a:spLocks noGrp="1"/>
          </p:cNvSpPr>
          <p:nvPr>
            <p:ph type="body" sz="quarter" idx="16" hasCustomPrompt="1"/>
          </p:nvPr>
        </p:nvSpPr>
        <p:spPr>
          <a:xfrm>
            <a:off x="768352" y="4651023"/>
            <a:ext cx="6816945" cy="1016000"/>
          </a:xfrm>
          <a:prstGeom prst="rect">
            <a:avLst/>
          </a:prstGeom>
        </p:spPr>
        <p:txBody>
          <a:bodyPr lIns="0" tIns="0" rIns="0" bIns="0">
            <a:normAutofit/>
          </a:bodyPr>
          <a:lstStyle>
            <a:lvl1pPr marL="0" indent="0">
              <a:lnSpc>
                <a:spcPct val="100000"/>
              </a:lnSpc>
              <a:buNone/>
              <a:defRPr sz="2667">
                <a:solidFill>
                  <a:srgbClr val="FF6C00"/>
                </a:solidFill>
              </a:defRPr>
            </a:lvl1pPr>
            <a:lvl2pPr marL="457189" indent="0">
              <a:lnSpc>
                <a:spcPts val="4800"/>
              </a:lnSpc>
              <a:buNone/>
              <a:defRPr sz="4000">
                <a:solidFill>
                  <a:srgbClr val="FF6C00"/>
                </a:solidFill>
              </a:defRPr>
            </a:lvl2pPr>
            <a:lvl3pPr marL="914377" indent="0">
              <a:lnSpc>
                <a:spcPts val="4800"/>
              </a:lnSpc>
              <a:buNone/>
              <a:defRPr sz="4000">
                <a:solidFill>
                  <a:srgbClr val="FF6C00"/>
                </a:solidFill>
              </a:defRPr>
            </a:lvl3pPr>
            <a:lvl4pPr marL="1371566" indent="0">
              <a:lnSpc>
                <a:spcPts val="4800"/>
              </a:lnSpc>
              <a:buNone/>
              <a:defRPr sz="4000">
                <a:solidFill>
                  <a:srgbClr val="FF6C00"/>
                </a:solidFill>
              </a:defRPr>
            </a:lvl4pPr>
            <a:lvl5pPr marL="1828754" indent="0">
              <a:lnSpc>
                <a:spcPts val="4800"/>
              </a:lnSpc>
              <a:buNone/>
              <a:defRPr sz="4000">
                <a:solidFill>
                  <a:srgbClr val="FF6C00"/>
                </a:solidFill>
              </a:defRPr>
            </a:lvl5pPr>
          </a:lstStyle>
          <a:p>
            <a:pPr lvl="0"/>
            <a:r>
              <a:rPr lang="en-US"/>
              <a:t>Subtitle</a:t>
            </a:r>
          </a:p>
        </p:txBody>
      </p:sp>
      <p:sp>
        <p:nvSpPr>
          <p:cNvPr id="8" name="Text Placeholder 9">
            <a:extLst>
              <a:ext uri="{FF2B5EF4-FFF2-40B4-BE49-F238E27FC236}">
                <a16:creationId xmlns:a16="http://schemas.microsoft.com/office/drawing/2014/main" id="{0E6E70A5-8AF3-4A7A-B204-A2BBA103534A}"/>
              </a:ext>
            </a:extLst>
          </p:cNvPr>
          <p:cNvSpPr>
            <a:spLocks noGrp="1"/>
          </p:cNvSpPr>
          <p:nvPr>
            <p:ph type="body" sz="quarter" idx="13" hasCustomPrompt="1"/>
          </p:nvPr>
        </p:nvSpPr>
        <p:spPr>
          <a:xfrm>
            <a:off x="768351" y="493184"/>
            <a:ext cx="736600" cy="8128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33"/>
            </a:lvl1pPr>
          </a:lstStyle>
          <a:p>
            <a:pPr lvl="0"/>
            <a:r>
              <a:rPr lang="en-US"/>
              <a:t>.</a:t>
            </a:r>
          </a:p>
        </p:txBody>
      </p:sp>
    </p:spTree>
    <p:extLst>
      <p:ext uri="{BB962C8B-B14F-4D97-AF65-F5344CB8AC3E}">
        <p14:creationId xmlns:p14="http://schemas.microsoft.com/office/powerpoint/2010/main" val="294175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Main title slide with subtitle">
    <p:spTree>
      <p:nvGrpSpPr>
        <p:cNvPr id="1" name=""/>
        <p:cNvGrpSpPr/>
        <p:nvPr/>
      </p:nvGrpSpPr>
      <p:grpSpPr>
        <a:xfrm>
          <a:off x="0" y="0"/>
          <a:ext cx="0" cy="0"/>
          <a:chOff x="0" y="0"/>
          <a:chExt cx="0" cy="0"/>
        </a:xfrm>
      </p:grpSpPr>
      <p:sp>
        <p:nvSpPr>
          <p:cNvPr id="18" name="Text Placeholder 11"/>
          <p:cNvSpPr>
            <a:spLocks noGrp="1"/>
          </p:cNvSpPr>
          <p:nvPr>
            <p:ph type="body" sz="quarter" idx="14" hasCustomPrompt="1"/>
          </p:nvPr>
        </p:nvSpPr>
        <p:spPr>
          <a:xfrm>
            <a:off x="768352" y="5881637"/>
            <a:ext cx="6816945" cy="653335"/>
          </a:xfrm>
          <a:prstGeom prst="rect">
            <a:avLst/>
          </a:prstGeom>
        </p:spPr>
        <p:txBody>
          <a:bodyPr lIns="0" tIns="0" rIns="0" bIns="0">
            <a:normAutofit/>
          </a:bodyPr>
          <a:lstStyle>
            <a:lvl1pPr marL="0" indent="0" algn="l">
              <a:lnSpc>
                <a:spcPct val="100000"/>
              </a:lnSpc>
              <a:spcBef>
                <a:spcPts val="0"/>
              </a:spcBef>
              <a:spcAft>
                <a:spcPts val="0"/>
              </a:spcAft>
              <a:buFont typeface="Arial" charset="0"/>
              <a:buNone/>
              <a:defRPr sz="1733"/>
            </a:lvl1pPr>
            <a:lvl2pPr marL="0" indent="0">
              <a:buNone/>
              <a:defRPr sz="1333"/>
            </a:lvl2pPr>
            <a:lvl3pPr marL="0" indent="0">
              <a:buNone/>
              <a:defRPr sz="1333"/>
            </a:lvl3pPr>
            <a:lvl4pPr marL="0" indent="0">
              <a:buNone/>
              <a:defRPr sz="1333"/>
            </a:lvl4pPr>
            <a:lvl5pPr marL="0" indent="0">
              <a:buNone/>
              <a:defRPr sz="1333"/>
            </a:lvl5pPr>
          </a:lstStyle>
          <a:p>
            <a:pPr lvl="0"/>
            <a:r>
              <a:rPr lang="en-US"/>
              <a:t>Month, year</a:t>
            </a:r>
            <a:br>
              <a:rPr lang="en-US"/>
            </a:br>
            <a:r>
              <a:rPr lang="en-US"/>
              <a:t>Name presenter</a:t>
            </a:r>
          </a:p>
        </p:txBody>
      </p:sp>
      <p:sp>
        <p:nvSpPr>
          <p:cNvPr id="8" name="Title 1"/>
          <p:cNvSpPr>
            <a:spLocks noGrp="1"/>
          </p:cNvSpPr>
          <p:nvPr>
            <p:ph type="ctrTitle" hasCustomPrompt="1"/>
          </p:nvPr>
        </p:nvSpPr>
        <p:spPr>
          <a:xfrm>
            <a:off x="768352" y="2212623"/>
            <a:ext cx="6816945" cy="2325511"/>
          </a:xfrm>
          <a:prstGeom prst="rect">
            <a:avLst/>
          </a:prstGeom>
        </p:spPr>
        <p:txBody>
          <a:bodyPr lIns="0" tIns="0" rIns="0" bIns="0" anchor="t" anchorCtr="0">
            <a:normAutofit/>
          </a:bodyPr>
          <a:lstStyle>
            <a:lvl1pPr algn="l">
              <a:lnSpc>
                <a:spcPct val="100000"/>
              </a:lnSpc>
              <a:defRPr sz="5067">
                <a:solidFill>
                  <a:srgbClr val="53565A"/>
                </a:solidFill>
              </a:defRPr>
            </a:lvl1pPr>
          </a:lstStyle>
          <a:p>
            <a:r>
              <a:rPr lang="en-US" noProof="0"/>
              <a:t>Click to edit title max over 2x lines</a:t>
            </a:r>
          </a:p>
        </p:txBody>
      </p:sp>
      <p:sp>
        <p:nvSpPr>
          <p:cNvPr id="10" name="Text Placeholder 6"/>
          <p:cNvSpPr>
            <a:spLocks noGrp="1"/>
          </p:cNvSpPr>
          <p:nvPr>
            <p:ph type="body" sz="quarter" idx="16" hasCustomPrompt="1"/>
          </p:nvPr>
        </p:nvSpPr>
        <p:spPr>
          <a:xfrm>
            <a:off x="768352" y="4651023"/>
            <a:ext cx="6816945" cy="1016000"/>
          </a:xfrm>
          <a:prstGeom prst="rect">
            <a:avLst/>
          </a:prstGeom>
        </p:spPr>
        <p:txBody>
          <a:bodyPr lIns="0" tIns="0" rIns="0" bIns="0">
            <a:normAutofit/>
          </a:bodyPr>
          <a:lstStyle>
            <a:lvl1pPr marL="0" indent="0">
              <a:lnSpc>
                <a:spcPct val="100000"/>
              </a:lnSpc>
              <a:buNone/>
              <a:defRPr sz="2667">
                <a:solidFill>
                  <a:srgbClr val="FF6C00"/>
                </a:solidFill>
              </a:defRPr>
            </a:lvl1pPr>
            <a:lvl2pPr marL="457189" indent="0">
              <a:lnSpc>
                <a:spcPts val="4800"/>
              </a:lnSpc>
              <a:buNone/>
              <a:defRPr sz="4000">
                <a:solidFill>
                  <a:srgbClr val="FF6C00"/>
                </a:solidFill>
              </a:defRPr>
            </a:lvl2pPr>
            <a:lvl3pPr marL="914377" indent="0">
              <a:lnSpc>
                <a:spcPts val="4800"/>
              </a:lnSpc>
              <a:buNone/>
              <a:defRPr sz="4000">
                <a:solidFill>
                  <a:srgbClr val="FF6C00"/>
                </a:solidFill>
              </a:defRPr>
            </a:lvl3pPr>
            <a:lvl4pPr marL="1371566" indent="0">
              <a:lnSpc>
                <a:spcPts val="4800"/>
              </a:lnSpc>
              <a:buNone/>
              <a:defRPr sz="4000">
                <a:solidFill>
                  <a:srgbClr val="FF6C00"/>
                </a:solidFill>
              </a:defRPr>
            </a:lvl4pPr>
            <a:lvl5pPr marL="1828754" indent="0">
              <a:lnSpc>
                <a:spcPts val="4800"/>
              </a:lnSpc>
              <a:buNone/>
              <a:defRPr sz="4000">
                <a:solidFill>
                  <a:srgbClr val="FF6C00"/>
                </a:solidFill>
              </a:defRPr>
            </a:lvl5pPr>
          </a:lstStyle>
          <a:p>
            <a:pPr lvl="0"/>
            <a:r>
              <a:rPr lang="en-US"/>
              <a:t>Subtitle</a:t>
            </a:r>
          </a:p>
        </p:txBody>
      </p:sp>
      <p:pic>
        <p:nvPicPr>
          <p:cNvPr id="7" name="Picture 6">
            <a:extLst>
              <a:ext uri="{FF2B5EF4-FFF2-40B4-BE49-F238E27FC236}">
                <a16:creationId xmlns:a16="http://schemas.microsoft.com/office/drawing/2014/main" id="{8ED1E7E9-0B74-D54C-8C9A-067E1D0C0E9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45571" y="1711571"/>
            <a:ext cx="5146429" cy="5146429"/>
          </a:xfrm>
          <a:prstGeom prst="rect">
            <a:avLst/>
          </a:prstGeom>
        </p:spPr>
      </p:pic>
      <p:sp>
        <p:nvSpPr>
          <p:cNvPr id="11" name="Text Placeholder 9">
            <a:extLst>
              <a:ext uri="{FF2B5EF4-FFF2-40B4-BE49-F238E27FC236}">
                <a16:creationId xmlns:a16="http://schemas.microsoft.com/office/drawing/2014/main" id="{E8A0C770-19FC-43E2-AEE2-B18B053BEFFE}"/>
              </a:ext>
            </a:extLst>
          </p:cNvPr>
          <p:cNvSpPr>
            <a:spLocks noGrp="1"/>
          </p:cNvSpPr>
          <p:nvPr>
            <p:ph type="body" sz="quarter" idx="13" hasCustomPrompt="1"/>
          </p:nvPr>
        </p:nvSpPr>
        <p:spPr>
          <a:xfrm>
            <a:off x="768351" y="493184"/>
            <a:ext cx="736600" cy="812800"/>
          </a:xfrm>
          <a:prstGeom prst="rect">
            <a:avLst/>
          </a:prstGeom>
          <a:blipFill dpi="0"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p:spPr>
        <p:txBody>
          <a:bodyPr>
            <a:noAutofit/>
          </a:bodyPr>
          <a:lstStyle>
            <a:lvl1pPr marL="0" indent="0">
              <a:buNone/>
              <a:defRPr sz="133"/>
            </a:lvl1pPr>
          </a:lstStyle>
          <a:p>
            <a:pPr lvl="0"/>
            <a:r>
              <a:rPr lang="en-US"/>
              <a:t>.</a:t>
            </a:r>
          </a:p>
        </p:txBody>
      </p:sp>
    </p:spTree>
    <p:extLst>
      <p:ext uri="{BB962C8B-B14F-4D97-AF65-F5344CB8AC3E}">
        <p14:creationId xmlns:p14="http://schemas.microsoft.com/office/powerpoint/2010/main" val="4171378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p:cSld name="Section Header">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cstate="print">
            <a:grayscl/>
            <a:extLst>
              <a:ext uri="{28A0092B-C50C-407E-A947-70E740481C1C}">
                <a14:useLocalDpi xmlns:a14="http://schemas.microsoft.com/office/drawing/2010/main" val="0"/>
              </a:ext>
            </a:extLst>
          </a:blip>
          <a:srcRect/>
          <a:stretch/>
        </p:blipFill>
        <p:spPr>
          <a:xfrm>
            <a:off x="-1" y="1"/>
            <a:ext cx="12185324" cy="1063548"/>
          </a:xfrm>
          <a:prstGeom prst="rect">
            <a:avLst/>
          </a:prstGeom>
        </p:spPr>
      </p:pic>
      <p:sp>
        <p:nvSpPr>
          <p:cNvPr id="7" name="Text Placeholder 6"/>
          <p:cNvSpPr>
            <a:spLocks noGrp="1"/>
          </p:cNvSpPr>
          <p:nvPr>
            <p:ph type="body" sz="quarter" idx="15" hasCustomPrompt="1"/>
          </p:nvPr>
        </p:nvSpPr>
        <p:spPr>
          <a:xfrm>
            <a:off x="768352" y="1418168"/>
            <a:ext cx="10655299" cy="2087032"/>
          </a:xfrm>
          <a:prstGeom prst="rect">
            <a:avLst/>
          </a:prstGeom>
        </p:spPr>
        <p:txBody>
          <a:bodyPr anchor="b">
            <a:noAutofit/>
          </a:bodyPr>
          <a:lstStyle>
            <a:lvl1pPr marL="0" indent="0" algn="ctr">
              <a:lnSpc>
                <a:spcPct val="100000"/>
              </a:lnSpc>
              <a:buNone/>
              <a:defRPr sz="5333">
                <a:solidFill>
                  <a:schemeClr val="tx1"/>
                </a:solidFill>
              </a:defRPr>
            </a:lvl1pPr>
            <a:lvl2pPr marL="457189" indent="0">
              <a:lnSpc>
                <a:spcPts val="4800"/>
              </a:lnSpc>
              <a:buNone/>
              <a:defRPr sz="4000">
                <a:solidFill>
                  <a:srgbClr val="FF6C00"/>
                </a:solidFill>
              </a:defRPr>
            </a:lvl2pPr>
            <a:lvl3pPr marL="914377" indent="0">
              <a:lnSpc>
                <a:spcPts val="4800"/>
              </a:lnSpc>
              <a:buNone/>
              <a:defRPr sz="4000">
                <a:solidFill>
                  <a:srgbClr val="FF6C00"/>
                </a:solidFill>
              </a:defRPr>
            </a:lvl3pPr>
            <a:lvl4pPr marL="1371566" indent="0">
              <a:lnSpc>
                <a:spcPts val="4800"/>
              </a:lnSpc>
              <a:buNone/>
              <a:defRPr sz="4000">
                <a:solidFill>
                  <a:srgbClr val="FF6C00"/>
                </a:solidFill>
              </a:defRPr>
            </a:lvl4pPr>
            <a:lvl5pPr marL="1828754" indent="0">
              <a:lnSpc>
                <a:spcPts val="4800"/>
              </a:lnSpc>
              <a:buNone/>
              <a:defRPr sz="4000">
                <a:solidFill>
                  <a:srgbClr val="FF6C00"/>
                </a:solidFill>
              </a:defRPr>
            </a:lvl5pPr>
          </a:lstStyle>
          <a:p>
            <a:pPr lvl="0"/>
            <a:r>
              <a:rPr lang="en-US"/>
              <a:t>Click to edit title</a:t>
            </a:r>
            <a:br>
              <a:rPr lang="en-US"/>
            </a:br>
            <a:r>
              <a:rPr lang="en-US"/>
              <a:t>max over 2 lines</a:t>
            </a:r>
          </a:p>
        </p:txBody>
      </p:sp>
      <p:sp>
        <p:nvSpPr>
          <p:cNvPr id="9" name="Title 1"/>
          <p:cNvSpPr>
            <a:spLocks noGrp="1"/>
          </p:cNvSpPr>
          <p:nvPr>
            <p:ph type="title" hasCustomPrompt="1"/>
          </p:nvPr>
        </p:nvSpPr>
        <p:spPr>
          <a:xfrm>
            <a:off x="768352" y="3522132"/>
            <a:ext cx="10655299" cy="880535"/>
          </a:xfrm>
        </p:spPr>
        <p:txBody>
          <a:bodyPr anchor="t">
            <a:noAutofit/>
          </a:bodyPr>
          <a:lstStyle>
            <a:lvl1pPr algn="ctr">
              <a:lnSpc>
                <a:spcPct val="100000"/>
              </a:lnSpc>
              <a:defRPr sz="2667">
                <a:solidFill>
                  <a:schemeClr val="accent2"/>
                </a:solidFill>
              </a:defRPr>
            </a:lvl1pPr>
          </a:lstStyle>
          <a:p>
            <a:r>
              <a:rPr lang="en-US"/>
              <a:t>Subtitle</a:t>
            </a:r>
          </a:p>
        </p:txBody>
      </p:sp>
      <p:sp>
        <p:nvSpPr>
          <p:cNvPr id="2" name="Date Placeholder 1">
            <a:extLst>
              <a:ext uri="{FF2B5EF4-FFF2-40B4-BE49-F238E27FC236}">
                <a16:creationId xmlns:a16="http://schemas.microsoft.com/office/drawing/2014/main" id="{BA6EA6FA-95FE-4F8F-85EC-1FAC96E3B7C1}"/>
              </a:ext>
            </a:extLst>
          </p:cNvPr>
          <p:cNvSpPr>
            <a:spLocks noGrp="1"/>
          </p:cNvSpPr>
          <p:nvPr>
            <p:ph type="dt" sz="half" idx="16"/>
          </p:nvPr>
        </p:nvSpPr>
        <p:spPr/>
        <p:txBody>
          <a:bodyPr/>
          <a:lstStyle/>
          <a:p>
            <a:endParaRPr lang="en-US" dirty="0"/>
          </a:p>
        </p:txBody>
      </p:sp>
      <p:sp>
        <p:nvSpPr>
          <p:cNvPr id="3" name="Footer Placeholder 2">
            <a:extLst>
              <a:ext uri="{FF2B5EF4-FFF2-40B4-BE49-F238E27FC236}">
                <a16:creationId xmlns:a16="http://schemas.microsoft.com/office/drawing/2014/main" id="{5A310452-B107-48F7-82C4-83CEEEAF2C79}"/>
              </a:ext>
            </a:extLst>
          </p:cNvPr>
          <p:cNvSpPr>
            <a:spLocks noGrp="1"/>
          </p:cNvSpPr>
          <p:nvPr>
            <p:ph type="ftr" sz="quarter" idx="17"/>
          </p:nvPr>
        </p:nvSpPr>
        <p:spPr/>
        <p:txBody>
          <a:bodyPr/>
          <a:lstStyle/>
          <a:p>
            <a:endParaRPr lang="en-US" dirty="0"/>
          </a:p>
        </p:txBody>
      </p:sp>
      <p:sp>
        <p:nvSpPr>
          <p:cNvPr id="4" name="Slide Number Placeholder 3">
            <a:extLst>
              <a:ext uri="{FF2B5EF4-FFF2-40B4-BE49-F238E27FC236}">
                <a16:creationId xmlns:a16="http://schemas.microsoft.com/office/drawing/2014/main" id="{02B5289F-FA18-43F2-8D12-2C70CDD7C8F0}"/>
              </a:ext>
            </a:extLst>
          </p:cNvPr>
          <p:cNvSpPr>
            <a:spLocks noGrp="1"/>
          </p:cNvSpPr>
          <p:nvPr>
            <p:ph type="sldNum" sz="quarter" idx="1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417155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18" name="Text Placeholder 1"/>
          <p:cNvSpPr>
            <a:spLocks noGrp="1"/>
          </p:cNvSpPr>
          <p:nvPr>
            <p:ph type="body" sz="quarter" idx="13"/>
          </p:nvPr>
        </p:nvSpPr>
        <p:spPr>
          <a:xfrm>
            <a:off x="768350" y="1113368"/>
            <a:ext cx="10655300" cy="5196417"/>
          </a:xfrm>
          <a:prstGeom prst="rect">
            <a:avLst/>
          </a:prstGeom>
        </p:spPr>
        <p:txBody>
          <a:bodyPr vert="horz" lIns="0" tIns="0" rIns="0" bIns="0" rtlCol="0">
            <a:normAutofit/>
          </a:bodyPr>
          <a:lstStyle>
            <a:lvl1pPr marL="383990" indent="-383990">
              <a:defRPr lang="en-GB" dirty="0"/>
            </a:lvl1pPr>
          </a:lstStyle>
          <a:p>
            <a:pPr marL="380990" lvl="0" indent="-380990">
              <a:lnSpc>
                <a:spcPct val="100000"/>
              </a:lnSpc>
            </a:pPr>
            <a:r>
              <a:rPr lang="en-US"/>
              <a:t>Click to edit Master text styles</a:t>
            </a:r>
          </a:p>
        </p:txBody>
      </p:sp>
      <p:sp>
        <p:nvSpPr>
          <p:cNvPr id="4" name="Titel 3">
            <a:extLst>
              <a:ext uri="{FF2B5EF4-FFF2-40B4-BE49-F238E27FC236}">
                <a16:creationId xmlns:a16="http://schemas.microsoft.com/office/drawing/2014/main" id="{70D682A7-E09E-481B-B790-3AF34F8C4EF7}"/>
              </a:ext>
            </a:extLst>
          </p:cNvPr>
          <p:cNvSpPr>
            <a:spLocks noGrp="1"/>
          </p:cNvSpPr>
          <p:nvPr>
            <p:ph type="title" hasCustomPrompt="1"/>
          </p:nvPr>
        </p:nvSpPr>
        <p:spPr/>
        <p:txBody>
          <a:bodyPr/>
          <a:lstStyle>
            <a:lvl1pPr>
              <a:defRPr/>
            </a:lvl1pPr>
          </a:lstStyle>
          <a:p>
            <a:r>
              <a:rPr lang="en-US"/>
              <a:t>Agenda</a:t>
            </a:r>
          </a:p>
        </p:txBody>
      </p:sp>
      <p:sp>
        <p:nvSpPr>
          <p:cNvPr id="2" name="Date Placeholder 1">
            <a:extLst>
              <a:ext uri="{FF2B5EF4-FFF2-40B4-BE49-F238E27FC236}">
                <a16:creationId xmlns:a16="http://schemas.microsoft.com/office/drawing/2014/main" id="{183A9B50-46B5-4E97-BF86-927797BF349C}"/>
              </a:ext>
            </a:extLst>
          </p:cNvPr>
          <p:cNvSpPr>
            <a:spLocks noGrp="1"/>
          </p:cNvSpPr>
          <p:nvPr>
            <p:ph type="dt" sz="half" idx="14"/>
          </p:nvPr>
        </p:nvSpPr>
        <p:spPr/>
        <p:txBody>
          <a:bodyPr/>
          <a:lstStyle/>
          <a:p>
            <a:fld id="{37FFCD0F-6FD7-423A-A678-0AA8290E11CF}" type="datetimeFigureOut">
              <a:rPr lang="de-DE" smtClean="0"/>
              <a:pPr/>
              <a:t>23.10.2025</a:t>
            </a:fld>
            <a:endParaRPr lang="de-DE"/>
          </a:p>
        </p:txBody>
      </p:sp>
      <p:sp>
        <p:nvSpPr>
          <p:cNvPr id="7" name="Footer Placeholder 6">
            <a:extLst>
              <a:ext uri="{FF2B5EF4-FFF2-40B4-BE49-F238E27FC236}">
                <a16:creationId xmlns:a16="http://schemas.microsoft.com/office/drawing/2014/main" id="{F1E6D825-B685-43C9-80D2-C60FD7D07855}"/>
              </a:ext>
            </a:extLst>
          </p:cNvPr>
          <p:cNvSpPr>
            <a:spLocks noGrp="1"/>
          </p:cNvSpPr>
          <p:nvPr>
            <p:ph type="ftr" sz="quarter" idx="15"/>
          </p:nvPr>
        </p:nvSpPr>
        <p:spPr/>
        <p:txBody>
          <a:bodyPr/>
          <a:lstStyle/>
          <a:p>
            <a:endParaRPr lang="de-DE"/>
          </a:p>
        </p:txBody>
      </p:sp>
      <p:sp>
        <p:nvSpPr>
          <p:cNvPr id="8" name="Slide Number Placeholder 7">
            <a:extLst>
              <a:ext uri="{FF2B5EF4-FFF2-40B4-BE49-F238E27FC236}">
                <a16:creationId xmlns:a16="http://schemas.microsoft.com/office/drawing/2014/main" id="{BB9D7424-FFC1-4F16-B297-C0AF041229F5}"/>
              </a:ext>
            </a:extLst>
          </p:cNvPr>
          <p:cNvSpPr>
            <a:spLocks noGrp="1"/>
          </p:cNvSpPr>
          <p:nvPr>
            <p:ph type="sldNum" sz="quarter" idx="16"/>
          </p:nvPr>
        </p:nvSpPr>
        <p:spPr/>
        <p:txBody>
          <a:bodyPr/>
          <a:lstStyle/>
          <a:p>
            <a:fld id="{82F89014-7F8D-47C1-8D79-17A715C9D2BB}" type="slidenum">
              <a:rPr lang="en-US" smtClean="0"/>
              <a:pPr/>
              <a:t>‹#›</a:t>
            </a:fld>
            <a:endParaRPr lang="en-US" dirty="0"/>
          </a:p>
        </p:txBody>
      </p:sp>
      <p:cxnSp>
        <p:nvCxnSpPr>
          <p:cNvPr id="3" name="Straight Connector 2">
            <a:extLst>
              <a:ext uri="{FF2B5EF4-FFF2-40B4-BE49-F238E27FC236}">
                <a16:creationId xmlns:a16="http://schemas.microsoft.com/office/drawing/2014/main" id="{F6CB8641-A472-26DF-D4FF-75F44A4F1BC3}"/>
              </a:ext>
            </a:extLst>
          </p:cNvPr>
          <p:cNvCxnSpPr/>
          <p:nvPr userDrawn="1"/>
        </p:nvCxnSpPr>
        <p:spPr>
          <a:xfrm flipV="1">
            <a:off x="768354" y="5924553"/>
            <a:ext cx="10655300"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8162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CC9CF60C-F237-4C35-B5B9-DCAC15891EE3}"/>
              </a:ext>
            </a:extLst>
          </p:cNvPr>
          <p:cNvSpPr>
            <a:spLocks noGrp="1"/>
          </p:cNvSpPr>
          <p:nvPr>
            <p:ph type="title"/>
          </p:nvPr>
        </p:nvSpPr>
        <p:spPr/>
        <p:txBody>
          <a:bodyPr/>
          <a:lstStyle>
            <a:lvl1pPr>
              <a:defRPr/>
            </a:lvl1pPr>
          </a:lstStyle>
          <a:p>
            <a:r>
              <a:rPr lang="en-US"/>
              <a:t>Click to edit Master title style</a:t>
            </a:r>
          </a:p>
        </p:txBody>
      </p:sp>
      <p:sp>
        <p:nvSpPr>
          <p:cNvPr id="3" name="Date Placeholder 2">
            <a:extLst>
              <a:ext uri="{FF2B5EF4-FFF2-40B4-BE49-F238E27FC236}">
                <a16:creationId xmlns:a16="http://schemas.microsoft.com/office/drawing/2014/main" id="{5249DBEF-F615-45A1-AA51-C34CD01BC994}"/>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0443A0FA-AB68-49F8-A8DA-E9F3A2F1B80A}"/>
              </a:ext>
            </a:extLst>
          </p:cNvPr>
          <p:cNvSpPr>
            <a:spLocks noGrp="1"/>
          </p:cNvSpPr>
          <p:nvPr>
            <p:ph type="ftr" sz="quarter" idx="11"/>
          </p:nvPr>
        </p:nvSpPr>
        <p:spPr/>
        <p:txBody>
          <a:bodyPr/>
          <a:lstStyle/>
          <a:p>
            <a:endParaRPr lang="en-US" dirty="0"/>
          </a:p>
        </p:txBody>
      </p:sp>
      <p:sp>
        <p:nvSpPr>
          <p:cNvPr id="8" name="Slide Number Placeholder 7">
            <a:extLst>
              <a:ext uri="{FF2B5EF4-FFF2-40B4-BE49-F238E27FC236}">
                <a16:creationId xmlns:a16="http://schemas.microsoft.com/office/drawing/2014/main" id="{E1F4F1C2-2D04-4080-9FD1-F04C6A8525E5}"/>
              </a:ext>
            </a:extLst>
          </p:cNvPr>
          <p:cNvSpPr>
            <a:spLocks noGrp="1"/>
          </p:cNvSpPr>
          <p:nvPr>
            <p:ph type="sldNum" sz="quarter" idx="12"/>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310383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11" name="Text Placeholder 8"/>
          <p:cNvSpPr>
            <a:spLocks noGrp="1"/>
          </p:cNvSpPr>
          <p:nvPr>
            <p:ph type="body" sz="quarter" idx="13" hasCustomPrompt="1"/>
          </p:nvPr>
        </p:nvSpPr>
        <p:spPr>
          <a:xfrm>
            <a:off x="768351" y="1113368"/>
            <a:ext cx="10655300" cy="5196416"/>
          </a:xfrm>
          <a:prstGeom prst="rect">
            <a:avLst/>
          </a:prstGeom>
        </p:spPr>
        <p:txBody>
          <a:bodyPr>
            <a:normAutofit/>
          </a:bodyPr>
          <a:lstStyle>
            <a:lvl1pPr marL="0" indent="0">
              <a:lnSpc>
                <a:spcPct val="100000"/>
              </a:lnSpc>
              <a:buFont typeface="Arial" charset="0"/>
              <a:buNone/>
              <a:defRPr sz="2400" b="0"/>
            </a:lvl1pPr>
            <a:lvl2pPr marL="480472" indent="-480472">
              <a:lnSpc>
                <a:spcPct val="100000"/>
              </a:lnSpc>
              <a:buFont typeface="+mj-lt"/>
              <a:buAutoNum type="arabicPeriod"/>
              <a:defRPr sz="2133" b="0"/>
            </a:lvl2pPr>
            <a:lvl3pPr marL="486821" indent="0">
              <a:lnSpc>
                <a:spcPct val="100000"/>
              </a:lnSpc>
              <a:buFont typeface="Arial" charset="0"/>
              <a:buNone/>
              <a:defRPr sz="2133" b="0"/>
            </a:lvl3pPr>
            <a:lvl4pPr marL="732348" indent="0">
              <a:lnSpc>
                <a:spcPct val="100000"/>
              </a:lnSpc>
              <a:buNone/>
              <a:tabLst/>
              <a:defRPr sz="2133" b="0"/>
            </a:lvl4pPr>
            <a:lvl5pPr marL="967293" indent="0">
              <a:lnSpc>
                <a:spcPct val="100000"/>
              </a:lnSpc>
              <a:buFont typeface="Arial" charset="0"/>
              <a:buNone/>
              <a:defRPr sz="2133" b="0" baseline="0"/>
            </a:lvl5pPr>
          </a:lstStyle>
          <a:p>
            <a:pPr lvl="0"/>
            <a:r>
              <a:rPr lang="en-US"/>
              <a:t>Click to add text</a:t>
            </a:r>
          </a:p>
        </p:txBody>
      </p:sp>
      <p:sp>
        <p:nvSpPr>
          <p:cNvPr id="4" name="Titel 3">
            <a:extLst>
              <a:ext uri="{FF2B5EF4-FFF2-40B4-BE49-F238E27FC236}">
                <a16:creationId xmlns:a16="http://schemas.microsoft.com/office/drawing/2014/main" id="{1C4B0388-7C7E-45C3-A6E3-3E637FAB215F}"/>
              </a:ext>
            </a:extLst>
          </p:cNvPr>
          <p:cNvSpPr>
            <a:spLocks noGrp="1"/>
          </p:cNvSpPr>
          <p:nvPr>
            <p:ph type="title"/>
          </p:nvPr>
        </p:nvSpPr>
        <p:spPr/>
        <p:txBody>
          <a:bodyPr/>
          <a:lstStyle>
            <a:lvl1pPr>
              <a:defRPr/>
            </a:lvl1pPr>
          </a:lstStyle>
          <a:p>
            <a:r>
              <a:rPr lang="en-US"/>
              <a:t>Click to edit Master title style</a:t>
            </a:r>
          </a:p>
        </p:txBody>
      </p:sp>
      <p:sp>
        <p:nvSpPr>
          <p:cNvPr id="3" name="Date Placeholder 2">
            <a:extLst>
              <a:ext uri="{FF2B5EF4-FFF2-40B4-BE49-F238E27FC236}">
                <a16:creationId xmlns:a16="http://schemas.microsoft.com/office/drawing/2014/main" id="{CDC33F9F-6CBB-499E-A399-F579A1C082A4}"/>
              </a:ext>
            </a:extLst>
          </p:cNvPr>
          <p:cNvSpPr>
            <a:spLocks noGrp="1"/>
          </p:cNvSpPr>
          <p:nvPr>
            <p:ph type="dt" sz="half" idx="14"/>
          </p:nvPr>
        </p:nvSpPr>
        <p:spPr/>
        <p:txBody>
          <a:bodyPr/>
          <a:lstStyle/>
          <a:p>
            <a:endParaRPr lang="en-US" dirty="0"/>
          </a:p>
        </p:txBody>
      </p:sp>
      <p:sp>
        <p:nvSpPr>
          <p:cNvPr id="5" name="Footer Placeholder 4">
            <a:extLst>
              <a:ext uri="{FF2B5EF4-FFF2-40B4-BE49-F238E27FC236}">
                <a16:creationId xmlns:a16="http://schemas.microsoft.com/office/drawing/2014/main" id="{475B278D-E37B-46DC-954C-589B0EF3EA41}"/>
              </a:ext>
            </a:extLst>
          </p:cNvPr>
          <p:cNvSpPr>
            <a:spLocks noGrp="1"/>
          </p:cNvSpPr>
          <p:nvPr>
            <p:ph type="ftr" sz="quarter" idx="15"/>
          </p:nvPr>
        </p:nvSpPr>
        <p:spPr/>
        <p:txBody>
          <a:bodyPr/>
          <a:lstStyle/>
          <a:p>
            <a:endParaRPr lang="en-US" dirty="0"/>
          </a:p>
        </p:txBody>
      </p:sp>
      <p:sp>
        <p:nvSpPr>
          <p:cNvPr id="6" name="Slide Number Placeholder 5">
            <a:extLst>
              <a:ext uri="{FF2B5EF4-FFF2-40B4-BE49-F238E27FC236}">
                <a16:creationId xmlns:a16="http://schemas.microsoft.com/office/drawing/2014/main" id="{14826578-F514-4D23-8B3F-F3016B7CA922}"/>
              </a:ext>
            </a:extLst>
          </p:cNvPr>
          <p:cNvSpPr>
            <a:spLocks noGrp="1"/>
          </p:cNvSpPr>
          <p:nvPr>
            <p:ph type="sldNum" sz="quarter" idx="16"/>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3618963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and bullets">
    <p:spTree>
      <p:nvGrpSpPr>
        <p:cNvPr id="1" name=""/>
        <p:cNvGrpSpPr/>
        <p:nvPr/>
      </p:nvGrpSpPr>
      <p:grpSpPr>
        <a:xfrm>
          <a:off x="0" y="0"/>
          <a:ext cx="0" cy="0"/>
          <a:chOff x="0" y="0"/>
          <a:chExt cx="0" cy="0"/>
        </a:xfrm>
      </p:grpSpPr>
      <p:sp>
        <p:nvSpPr>
          <p:cNvPr id="14" name="Content Placeholder 2"/>
          <p:cNvSpPr>
            <a:spLocks noGrp="1"/>
          </p:cNvSpPr>
          <p:nvPr>
            <p:ph sz="quarter" idx="16" hasCustomPrompt="1"/>
          </p:nvPr>
        </p:nvSpPr>
        <p:spPr>
          <a:xfrm>
            <a:off x="768351" y="1113368"/>
            <a:ext cx="10655300" cy="5196417"/>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el 2">
            <a:extLst>
              <a:ext uri="{FF2B5EF4-FFF2-40B4-BE49-F238E27FC236}">
                <a16:creationId xmlns:a16="http://schemas.microsoft.com/office/drawing/2014/main" id="{90FE40DE-7E7D-4146-AB2D-5551E7E7415C}"/>
              </a:ext>
            </a:extLst>
          </p:cNvPr>
          <p:cNvSpPr>
            <a:spLocks noGrp="1"/>
          </p:cNvSpPr>
          <p:nvPr>
            <p:ph type="title"/>
          </p:nvPr>
        </p:nvSpPr>
        <p:spPr/>
        <p:txBody>
          <a:bodyPr/>
          <a:lstStyle>
            <a:lvl1pPr>
              <a:defRPr/>
            </a:lvl1pPr>
          </a:lstStyle>
          <a:p>
            <a:r>
              <a:rPr lang="en-US"/>
              <a:t>Click to edit Master title style</a:t>
            </a:r>
          </a:p>
        </p:txBody>
      </p:sp>
      <p:sp>
        <p:nvSpPr>
          <p:cNvPr id="4" name="Date Placeholder 3">
            <a:extLst>
              <a:ext uri="{FF2B5EF4-FFF2-40B4-BE49-F238E27FC236}">
                <a16:creationId xmlns:a16="http://schemas.microsoft.com/office/drawing/2014/main" id="{0EB1770B-7A94-4844-AD38-CF8FB3080003}"/>
              </a:ext>
            </a:extLst>
          </p:cNvPr>
          <p:cNvSpPr>
            <a:spLocks noGrp="1"/>
          </p:cNvSpPr>
          <p:nvPr>
            <p:ph type="dt" sz="half" idx="17"/>
          </p:nvPr>
        </p:nvSpPr>
        <p:spPr/>
        <p:txBody>
          <a:bodyPr/>
          <a:lstStyle/>
          <a:p>
            <a:endParaRPr lang="en-US" dirty="0"/>
          </a:p>
        </p:txBody>
      </p:sp>
      <p:sp>
        <p:nvSpPr>
          <p:cNvPr id="5" name="Footer Placeholder 4">
            <a:extLst>
              <a:ext uri="{FF2B5EF4-FFF2-40B4-BE49-F238E27FC236}">
                <a16:creationId xmlns:a16="http://schemas.microsoft.com/office/drawing/2014/main" id="{48F74F79-D68A-45F4-B9C7-F1CCDF9519A6}"/>
              </a:ext>
            </a:extLst>
          </p:cNvPr>
          <p:cNvSpPr>
            <a:spLocks noGrp="1"/>
          </p:cNvSpPr>
          <p:nvPr>
            <p:ph type="ftr" sz="quarter" idx="18"/>
          </p:nvPr>
        </p:nvSpPr>
        <p:spPr/>
        <p:txBody>
          <a:bodyPr/>
          <a:lstStyle/>
          <a:p>
            <a:endParaRPr lang="en-US" dirty="0"/>
          </a:p>
        </p:txBody>
      </p:sp>
      <p:sp>
        <p:nvSpPr>
          <p:cNvPr id="6" name="Slide Number Placeholder 5">
            <a:extLst>
              <a:ext uri="{FF2B5EF4-FFF2-40B4-BE49-F238E27FC236}">
                <a16:creationId xmlns:a16="http://schemas.microsoft.com/office/drawing/2014/main" id="{B6356A03-20E1-4E11-AF69-2080BD58C145}"/>
              </a:ext>
            </a:extLst>
          </p:cNvPr>
          <p:cNvSpPr>
            <a:spLocks noGrp="1"/>
          </p:cNvSpPr>
          <p:nvPr>
            <p:ph type="sldNum" sz="quarter" idx="19"/>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4189498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and text two columns">
    <p:spTree>
      <p:nvGrpSpPr>
        <p:cNvPr id="1" name=""/>
        <p:cNvGrpSpPr/>
        <p:nvPr/>
      </p:nvGrpSpPr>
      <p:grpSpPr>
        <a:xfrm>
          <a:off x="0" y="0"/>
          <a:ext cx="0" cy="0"/>
          <a:chOff x="0" y="0"/>
          <a:chExt cx="0" cy="0"/>
        </a:xfrm>
      </p:grpSpPr>
      <p:sp>
        <p:nvSpPr>
          <p:cNvPr id="20" name="Text Placeholder 8"/>
          <p:cNvSpPr>
            <a:spLocks noGrp="1"/>
          </p:cNvSpPr>
          <p:nvPr>
            <p:ph type="body" sz="quarter" idx="23" hasCustomPrompt="1"/>
          </p:nvPr>
        </p:nvSpPr>
        <p:spPr>
          <a:xfrm>
            <a:off x="6479118" y="1113368"/>
            <a:ext cx="4944533" cy="5198400"/>
          </a:xfrm>
          <a:prstGeom prst="rect">
            <a:avLst/>
          </a:prstGeom>
        </p:spPr>
        <p:txBody>
          <a:bodyPr>
            <a:normAutofit/>
          </a:bodyPr>
          <a:lstStyle>
            <a:lvl1pPr marL="0" indent="0">
              <a:lnSpc>
                <a:spcPct val="100000"/>
              </a:lnSpc>
              <a:buFont typeface="Arial" charset="0"/>
              <a:buNone/>
              <a:defRPr sz="2133" b="0" baseline="0"/>
            </a:lvl1pPr>
            <a:lvl2pPr marL="480472" indent="-480472">
              <a:lnSpc>
                <a:spcPct val="100000"/>
              </a:lnSpc>
              <a:buFont typeface="+mj-lt"/>
              <a:buAutoNum type="arabicPeriod"/>
              <a:defRPr sz="2133" b="0"/>
            </a:lvl2pPr>
            <a:lvl3pPr marL="486821" indent="0">
              <a:lnSpc>
                <a:spcPct val="100000"/>
              </a:lnSpc>
              <a:buFont typeface="Arial" charset="0"/>
              <a:buNone/>
              <a:defRPr sz="2133" b="0"/>
            </a:lvl3pPr>
            <a:lvl4pPr marL="732348" indent="0">
              <a:lnSpc>
                <a:spcPct val="100000"/>
              </a:lnSpc>
              <a:buNone/>
              <a:tabLst/>
              <a:defRPr sz="2133" b="0"/>
            </a:lvl4pPr>
            <a:lvl5pPr marL="967293" indent="0">
              <a:lnSpc>
                <a:spcPct val="100000"/>
              </a:lnSpc>
              <a:buFont typeface="Arial" charset="0"/>
              <a:buNone/>
              <a:defRPr sz="2133" b="0" baseline="0"/>
            </a:lvl5pPr>
          </a:lstStyle>
          <a:p>
            <a:pPr lvl="0"/>
            <a:r>
              <a:rPr lang="en-US"/>
              <a:t>Click to add text</a:t>
            </a:r>
          </a:p>
        </p:txBody>
      </p:sp>
      <p:sp>
        <p:nvSpPr>
          <p:cNvPr id="23" name="Text Placeholder 8"/>
          <p:cNvSpPr>
            <a:spLocks noGrp="1"/>
          </p:cNvSpPr>
          <p:nvPr>
            <p:ph type="body" sz="quarter" idx="24" hasCustomPrompt="1"/>
          </p:nvPr>
        </p:nvSpPr>
        <p:spPr>
          <a:xfrm>
            <a:off x="768352" y="1113367"/>
            <a:ext cx="4944533" cy="5198400"/>
          </a:xfrm>
          <a:prstGeom prst="rect">
            <a:avLst/>
          </a:prstGeom>
        </p:spPr>
        <p:txBody>
          <a:bodyPr>
            <a:normAutofit/>
          </a:bodyPr>
          <a:lstStyle>
            <a:lvl1pPr marL="0" indent="0">
              <a:lnSpc>
                <a:spcPct val="100000"/>
              </a:lnSpc>
              <a:buFont typeface="Arial" charset="0"/>
              <a:buNone/>
              <a:defRPr sz="2133" b="0"/>
            </a:lvl1pPr>
            <a:lvl2pPr marL="480472" indent="-480472">
              <a:lnSpc>
                <a:spcPct val="100000"/>
              </a:lnSpc>
              <a:buFont typeface="+mj-lt"/>
              <a:buAutoNum type="arabicPeriod"/>
              <a:defRPr sz="2133" b="0"/>
            </a:lvl2pPr>
            <a:lvl3pPr marL="486821" indent="0">
              <a:lnSpc>
                <a:spcPct val="100000"/>
              </a:lnSpc>
              <a:buFont typeface="Arial" charset="0"/>
              <a:buNone/>
              <a:defRPr sz="2133" b="0"/>
            </a:lvl3pPr>
            <a:lvl4pPr marL="732348" indent="0">
              <a:lnSpc>
                <a:spcPct val="100000"/>
              </a:lnSpc>
              <a:buNone/>
              <a:tabLst/>
              <a:defRPr sz="2133" b="0"/>
            </a:lvl4pPr>
            <a:lvl5pPr marL="967293" indent="0">
              <a:lnSpc>
                <a:spcPct val="100000"/>
              </a:lnSpc>
              <a:buFont typeface="Arial" charset="0"/>
              <a:buNone/>
              <a:defRPr sz="2133" b="0" baseline="0"/>
            </a:lvl5pPr>
          </a:lstStyle>
          <a:p>
            <a:pPr lvl="0"/>
            <a:r>
              <a:rPr lang="en-US"/>
              <a:t>Click to add text</a:t>
            </a:r>
          </a:p>
        </p:txBody>
      </p:sp>
      <p:sp>
        <p:nvSpPr>
          <p:cNvPr id="4" name="Titel 3">
            <a:extLst>
              <a:ext uri="{FF2B5EF4-FFF2-40B4-BE49-F238E27FC236}">
                <a16:creationId xmlns:a16="http://schemas.microsoft.com/office/drawing/2014/main" id="{A1EA73AF-7637-4A6C-A4B0-311EBFC6D961}"/>
              </a:ext>
            </a:extLst>
          </p:cNvPr>
          <p:cNvSpPr>
            <a:spLocks noGrp="1"/>
          </p:cNvSpPr>
          <p:nvPr>
            <p:ph type="title"/>
          </p:nvPr>
        </p:nvSpPr>
        <p:spPr/>
        <p:txBody>
          <a:bodyPr/>
          <a:lstStyle>
            <a:lvl1pPr>
              <a:defRPr/>
            </a:lvl1pPr>
          </a:lstStyle>
          <a:p>
            <a:r>
              <a:rPr lang="en-US"/>
              <a:t>Click to edit Master title style</a:t>
            </a:r>
          </a:p>
        </p:txBody>
      </p:sp>
      <p:sp>
        <p:nvSpPr>
          <p:cNvPr id="5" name="Date Placeholder 4">
            <a:extLst>
              <a:ext uri="{FF2B5EF4-FFF2-40B4-BE49-F238E27FC236}">
                <a16:creationId xmlns:a16="http://schemas.microsoft.com/office/drawing/2014/main" id="{1C14264F-6D72-4F24-8CD7-BE495E8BB687}"/>
              </a:ext>
            </a:extLst>
          </p:cNvPr>
          <p:cNvSpPr>
            <a:spLocks noGrp="1"/>
          </p:cNvSpPr>
          <p:nvPr>
            <p:ph type="dt" sz="half" idx="25"/>
          </p:nvPr>
        </p:nvSpPr>
        <p:spPr/>
        <p:txBody>
          <a:bodyPr/>
          <a:lstStyle/>
          <a:p>
            <a:endParaRPr lang="en-US" dirty="0"/>
          </a:p>
        </p:txBody>
      </p:sp>
      <p:sp>
        <p:nvSpPr>
          <p:cNvPr id="7" name="Footer Placeholder 6">
            <a:extLst>
              <a:ext uri="{FF2B5EF4-FFF2-40B4-BE49-F238E27FC236}">
                <a16:creationId xmlns:a16="http://schemas.microsoft.com/office/drawing/2014/main" id="{E3CD3D90-6931-458C-A0AF-D2BBC25C8663}"/>
              </a:ext>
            </a:extLst>
          </p:cNvPr>
          <p:cNvSpPr>
            <a:spLocks noGrp="1"/>
          </p:cNvSpPr>
          <p:nvPr>
            <p:ph type="ftr" sz="quarter" idx="26"/>
          </p:nvPr>
        </p:nvSpPr>
        <p:spPr/>
        <p:txBody>
          <a:bodyPr/>
          <a:lstStyle/>
          <a:p>
            <a:endParaRPr lang="en-US" dirty="0"/>
          </a:p>
        </p:txBody>
      </p:sp>
      <p:sp>
        <p:nvSpPr>
          <p:cNvPr id="8" name="Slide Number Placeholder 7">
            <a:extLst>
              <a:ext uri="{FF2B5EF4-FFF2-40B4-BE49-F238E27FC236}">
                <a16:creationId xmlns:a16="http://schemas.microsoft.com/office/drawing/2014/main" id="{DE8558DF-C777-4C31-85A8-21E662F0A5EB}"/>
              </a:ext>
            </a:extLst>
          </p:cNvPr>
          <p:cNvSpPr>
            <a:spLocks noGrp="1"/>
          </p:cNvSpPr>
          <p:nvPr>
            <p:ph type="sldNum" sz="quarter" idx="2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3949526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and bullets two column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768351" y="1113368"/>
            <a:ext cx="4944533" cy="5196417"/>
          </a:xfrm>
          <a:prstGeom prst="rect">
            <a:avLst/>
          </a:prstGeom>
        </p:spPr>
        <p:txBody>
          <a:bodyPr/>
          <a:lstStyle>
            <a:lvl1pPr marL="380990" indent="-380990">
              <a:lnSpc>
                <a:spcPct val="100000"/>
              </a:lnSpc>
              <a:buFont typeface="Arial" panose="020B0604020202020204" pitchFamily="34" charset="0"/>
              <a:buChar char="•"/>
              <a:defRPr sz="2133" b="0" baseline="0"/>
            </a:lvl1pPr>
            <a:lvl2pPr marL="380990" indent="-380990">
              <a:lnSpc>
                <a:spcPct val="100000"/>
              </a:lnSpc>
              <a:buFont typeface="Arial" panose="020B0604020202020204" pitchFamily="34" charset="0"/>
              <a:buChar char="•"/>
              <a:defRPr sz="1733" b="0"/>
            </a:lvl2pPr>
            <a:lvl3pPr marL="596885" indent="-232828">
              <a:lnSpc>
                <a:spcPct val="100000"/>
              </a:lnSpc>
              <a:buFont typeface="Arial" panose="020B0604020202020204" pitchFamily="34" charset="0"/>
              <a:buChar char="−"/>
              <a:defRPr sz="1867" b="0"/>
            </a:lvl3pPr>
            <a:lvl4pPr marL="831830" indent="-234945">
              <a:lnSpc>
                <a:spcPct val="100000"/>
              </a:lnSpc>
              <a:tabLst/>
              <a:defRPr sz="1867" b="0"/>
            </a:lvl4pPr>
            <a:lvl5pPr marL="1079473" indent="-247644">
              <a:lnSpc>
                <a:spcPct val="100000"/>
              </a:lnSpc>
              <a:defRPr sz="1867" b="0"/>
            </a:lvl5pPr>
            <a:lvl6pPr marL="2285943"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a:p>
        </p:txBody>
      </p:sp>
      <p:sp>
        <p:nvSpPr>
          <p:cNvPr id="9" name="Text Placeholder 8"/>
          <p:cNvSpPr>
            <a:spLocks noGrp="1"/>
          </p:cNvSpPr>
          <p:nvPr>
            <p:ph type="body" sz="quarter" idx="17" hasCustomPrompt="1"/>
          </p:nvPr>
        </p:nvSpPr>
        <p:spPr>
          <a:xfrm>
            <a:off x="6479118" y="1113368"/>
            <a:ext cx="4944533" cy="5196417"/>
          </a:xfrm>
          <a:prstGeom prst="rect">
            <a:avLst/>
          </a:prstGeom>
        </p:spPr>
        <p:txBody>
          <a:bodyPr/>
          <a:lstStyle>
            <a:lvl1pPr marL="380990" indent="-380990">
              <a:lnSpc>
                <a:spcPct val="100000"/>
              </a:lnSpc>
              <a:buFont typeface="Arial" panose="020B0604020202020204" pitchFamily="34" charset="0"/>
              <a:buChar char="•"/>
              <a:defRPr sz="2133" b="0"/>
            </a:lvl1pPr>
            <a:lvl2pPr marL="383108" indent="-383108">
              <a:lnSpc>
                <a:spcPct val="100000"/>
              </a:lnSpc>
              <a:buFont typeface="Arial" panose="020B0604020202020204" pitchFamily="34" charset="0"/>
              <a:buChar char="•"/>
              <a:defRPr sz="1733" b="0"/>
            </a:lvl2pPr>
            <a:lvl3pPr marL="596885" indent="-232828">
              <a:lnSpc>
                <a:spcPct val="100000"/>
              </a:lnSpc>
              <a:buFont typeface="Arial" panose="020B0604020202020204" pitchFamily="34" charset="0"/>
              <a:buChar char="−"/>
              <a:defRPr sz="1867" b="0"/>
            </a:lvl3pPr>
            <a:lvl4pPr marL="831830" indent="-234945">
              <a:lnSpc>
                <a:spcPct val="100000"/>
              </a:lnSpc>
              <a:tabLst/>
              <a:defRPr sz="1867" b="0"/>
            </a:lvl4pPr>
            <a:lvl5pPr marL="1079473" indent="-247644">
              <a:lnSpc>
                <a:spcPct val="100000"/>
              </a:lnSpc>
              <a:defRPr sz="1867" b="0"/>
            </a:lvl5pPr>
          </a:lstStyle>
          <a:p>
            <a:pPr lvl="0"/>
            <a:r>
              <a:rPr lang="en-US"/>
              <a:t>Click to add text</a:t>
            </a:r>
          </a:p>
          <a:p>
            <a:pPr lvl="2"/>
            <a:r>
              <a:rPr lang="en-US"/>
              <a:t>Second level</a:t>
            </a:r>
          </a:p>
          <a:p>
            <a:pPr lvl="3"/>
            <a:r>
              <a:rPr lang="en-US"/>
              <a:t>Third level</a:t>
            </a:r>
          </a:p>
          <a:p>
            <a:pPr lvl="4"/>
            <a:r>
              <a:rPr lang="en-US"/>
              <a:t>Fourth level</a:t>
            </a:r>
          </a:p>
        </p:txBody>
      </p:sp>
      <p:sp>
        <p:nvSpPr>
          <p:cNvPr id="4" name="Titel 3">
            <a:extLst>
              <a:ext uri="{FF2B5EF4-FFF2-40B4-BE49-F238E27FC236}">
                <a16:creationId xmlns:a16="http://schemas.microsoft.com/office/drawing/2014/main" id="{3872E2A8-E205-4778-8440-C86A31617406}"/>
              </a:ext>
            </a:extLst>
          </p:cNvPr>
          <p:cNvSpPr>
            <a:spLocks noGrp="1"/>
          </p:cNvSpPr>
          <p:nvPr>
            <p:ph type="title"/>
          </p:nvPr>
        </p:nvSpPr>
        <p:spPr/>
        <p:txBody>
          <a:bodyPr/>
          <a:lstStyle/>
          <a:p>
            <a:r>
              <a:rPr lang="en-US"/>
              <a:t>Click to edit Master title style</a:t>
            </a:r>
          </a:p>
        </p:txBody>
      </p:sp>
      <p:sp>
        <p:nvSpPr>
          <p:cNvPr id="5" name="Date Placeholder 4">
            <a:extLst>
              <a:ext uri="{FF2B5EF4-FFF2-40B4-BE49-F238E27FC236}">
                <a16:creationId xmlns:a16="http://schemas.microsoft.com/office/drawing/2014/main" id="{ADE4B11B-E592-4BB9-AE34-F70CB195E727}"/>
              </a:ext>
            </a:extLst>
          </p:cNvPr>
          <p:cNvSpPr>
            <a:spLocks noGrp="1"/>
          </p:cNvSpPr>
          <p:nvPr>
            <p:ph type="dt" sz="half" idx="18"/>
          </p:nvPr>
        </p:nvSpPr>
        <p:spPr/>
        <p:txBody>
          <a:bodyPr/>
          <a:lstStyle/>
          <a:p>
            <a:endParaRPr lang="en-US" dirty="0"/>
          </a:p>
        </p:txBody>
      </p:sp>
      <p:sp>
        <p:nvSpPr>
          <p:cNvPr id="7" name="Footer Placeholder 6">
            <a:extLst>
              <a:ext uri="{FF2B5EF4-FFF2-40B4-BE49-F238E27FC236}">
                <a16:creationId xmlns:a16="http://schemas.microsoft.com/office/drawing/2014/main" id="{6F1A4215-8A59-48E0-8F12-9F23CA60220A}"/>
              </a:ext>
            </a:extLst>
          </p:cNvPr>
          <p:cNvSpPr>
            <a:spLocks noGrp="1"/>
          </p:cNvSpPr>
          <p:nvPr>
            <p:ph type="ftr" sz="quarter" idx="19"/>
          </p:nvPr>
        </p:nvSpPr>
        <p:spPr/>
        <p:txBody>
          <a:bodyPr/>
          <a:lstStyle/>
          <a:p>
            <a:endParaRPr lang="en-US" dirty="0"/>
          </a:p>
        </p:txBody>
      </p:sp>
      <p:sp>
        <p:nvSpPr>
          <p:cNvPr id="10" name="Slide Number Placeholder 9">
            <a:extLst>
              <a:ext uri="{FF2B5EF4-FFF2-40B4-BE49-F238E27FC236}">
                <a16:creationId xmlns:a16="http://schemas.microsoft.com/office/drawing/2014/main" id="{CF294D08-94E6-49A2-9DF7-3985093964AC}"/>
              </a:ext>
            </a:extLst>
          </p:cNvPr>
          <p:cNvSpPr>
            <a:spLocks noGrp="1"/>
          </p:cNvSpPr>
          <p:nvPr>
            <p:ph type="sldNum" sz="quarter" idx="20"/>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996221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02128D-63B3-2B8C-A7BE-106A5162017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NL"/>
          </a:p>
        </p:txBody>
      </p:sp>
      <p:sp>
        <p:nvSpPr>
          <p:cNvPr id="3" name="Picture Placeholder 2">
            <a:extLst>
              <a:ext uri="{FF2B5EF4-FFF2-40B4-BE49-F238E27FC236}">
                <a16:creationId xmlns:a16="http://schemas.microsoft.com/office/drawing/2014/main" id="{F7279793-FAB2-8945-A588-AE85F004E88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NL"/>
          </a:p>
        </p:txBody>
      </p:sp>
      <p:sp>
        <p:nvSpPr>
          <p:cNvPr id="4" name="Text Placeholder 3">
            <a:extLst>
              <a:ext uri="{FF2B5EF4-FFF2-40B4-BE49-F238E27FC236}">
                <a16:creationId xmlns:a16="http://schemas.microsoft.com/office/drawing/2014/main" id="{22575CBF-AA40-0CC9-DE42-342B6817924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43D8AD2-BEE4-CE26-2982-D185AA98D6BF}"/>
              </a:ext>
            </a:extLst>
          </p:cNvPr>
          <p:cNvSpPr>
            <a:spLocks noGrp="1"/>
          </p:cNvSpPr>
          <p:nvPr>
            <p:ph type="dt" sz="half" idx="10"/>
          </p:nvPr>
        </p:nvSpPr>
        <p:spPr/>
        <p:txBody>
          <a:bodyPr/>
          <a:lstStyle/>
          <a:p>
            <a:fld id="{036B0891-7476-4D8C-837F-BB2F6F398C80}" type="datetimeFigureOut">
              <a:rPr lang="en-NL" smtClean="0"/>
              <a:t>10/23/2025</a:t>
            </a:fld>
            <a:endParaRPr lang="en-NL"/>
          </a:p>
        </p:txBody>
      </p:sp>
      <p:sp>
        <p:nvSpPr>
          <p:cNvPr id="6" name="Footer Placeholder 5">
            <a:extLst>
              <a:ext uri="{FF2B5EF4-FFF2-40B4-BE49-F238E27FC236}">
                <a16:creationId xmlns:a16="http://schemas.microsoft.com/office/drawing/2014/main" id="{D344253A-4AC6-B30A-22BE-32FFAF647EDC}"/>
              </a:ext>
            </a:extLst>
          </p:cNvPr>
          <p:cNvSpPr>
            <a:spLocks noGrp="1"/>
          </p:cNvSpPr>
          <p:nvPr>
            <p:ph type="ftr" sz="quarter" idx="11"/>
          </p:nvPr>
        </p:nvSpPr>
        <p:spPr/>
        <p:txBody>
          <a:bodyPr/>
          <a:lstStyle/>
          <a:p>
            <a:endParaRPr lang="en-NL"/>
          </a:p>
        </p:txBody>
      </p:sp>
      <p:sp>
        <p:nvSpPr>
          <p:cNvPr id="7" name="Slide Number Placeholder 6">
            <a:extLst>
              <a:ext uri="{FF2B5EF4-FFF2-40B4-BE49-F238E27FC236}">
                <a16:creationId xmlns:a16="http://schemas.microsoft.com/office/drawing/2014/main" id="{2F83C71F-D363-4855-1EBC-FD426306558F}"/>
              </a:ext>
            </a:extLst>
          </p:cNvPr>
          <p:cNvSpPr>
            <a:spLocks noGrp="1"/>
          </p:cNvSpPr>
          <p:nvPr>
            <p:ph type="sldNum" sz="quarter" idx="12"/>
          </p:nvPr>
        </p:nvSpPr>
        <p:spPr/>
        <p:txBody>
          <a:bodyPr/>
          <a:lstStyle/>
          <a:p>
            <a:fld id="{A4C5E35F-323C-4AC9-A193-D482FFFB2350}" type="slidenum">
              <a:rPr lang="en-NL" smtClean="0"/>
              <a:t>‹#›</a:t>
            </a:fld>
            <a:endParaRPr lang="en-NL"/>
          </a:p>
        </p:txBody>
      </p:sp>
    </p:spTree>
    <p:extLst>
      <p:ext uri="{BB962C8B-B14F-4D97-AF65-F5344CB8AC3E}">
        <p14:creationId xmlns:p14="http://schemas.microsoft.com/office/powerpoint/2010/main" val="302819914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text and image (right)">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6096000" y="0"/>
            <a:ext cx="6096000" cy="6858000"/>
          </a:xfrm>
          <a:prstGeom prst="rect">
            <a:avLst/>
          </a:prstGeom>
          <a:solidFill>
            <a:schemeClr val="accent6"/>
          </a:solidFill>
        </p:spPr>
        <p:txBody>
          <a:bodyPr tIns="2916000"/>
          <a:lstStyle>
            <a:lvl1pPr marL="0" indent="0" algn="ctr">
              <a:lnSpc>
                <a:spcPct val="100000"/>
              </a:lnSpc>
              <a:buFontTx/>
              <a:buNone/>
              <a:defRPr/>
            </a:lvl1pPr>
          </a:lstStyle>
          <a:p>
            <a:r>
              <a:rPr lang="en-US" noProof="0" dirty="0"/>
              <a:t>Drag picture to placeholder </a:t>
            </a:r>
            <a:br>
              <a:rPr lang="en-US" noProof="0" dirty="0"/>
            </a:br>
            <a:r>
              <a:rPr lang="en-US" noProof="0" dirty="0"/>
              <a:t>or click icon to add</a:t>
            </a:r>
          </a:p>
        </p:txBody>
      </p:sp>
      <p:sp>
        <p:nvSpPr>
          <p:cNvPr id="11" name="Text Placeholder 8"/>
          <p:cNvSpPr>
            <a:spLocks noGrp="1"/>
          </p:cNvSpPr>
          <p:nvPr>
            <p:ph type="body" sz="quarter" idx="24" hasCustomPrompt="1"/>
          </p:nvPr>
        </p:nvSpPr>
        <p:spPr>
          <a:xfrm>
            <a:off x="768352" y="1113368"/>
            <a:ext cx="4944533" cy="5196417"/>
          </a:xfrm>
          <a:prstGeom prst="rect">
            <a:avLst/>
          </a:prstGeom>
        </p:spPr>
        <p:txBody>
          <a:bodyPr>
            <a:normAutofit/>
          </a:bodyPr>
          <a:lstStyle>
            <a:lvl1pPr marL="0" indent="0">
              <a:lnSpc>
                <a:spcPct val="100000"/>
              </a:lnSpc>
              <a:buFont typeface="Arial" charset="0"/>
              <a:buNone/>
              <a:defRPr sz="2133" b="0"/>
            </a:lvl1pPr>
            <a:lvl2pPr marL="480472" indent="-480472">
              <a:lnSpc>
                <a:spcPct val="100000"/>
              </a:lnSpc>
              <a:buFont typeface="+mj-lt"/>
              <a:buAutoNum type="arabicPeriod"/>
              <a:defRPr sz="2133" b="0"/>
            </a:lvl2pPr>
            <a:lvl3pPr marL="486821" indent="0">
              <a:lnSpc>
                <a:spcPct val="100000"/>
              </a:lnSpc>
              <a:buFont typeface="Arial" charset="0"/>
              <a:buNone/>
              <a:defRPr sz="2133" b="0"/>
            </a:lvl3pPr>
            <a:lvl4pPr marL="732348" indent="0">
              <a:lnSpc>
                <a:spcPct val="100000"/>
              </a:lnSpc>
              <a:buNone/>
              <a:tabLst/>
              <a:defRPr sz="2133" b="0"/>
            </a:lvl4pPr>
            <a:lvl5pPr marL="967293" indent="0">
              <a:lnSpc>
                <a:spcPct val="100000"/>
              </a:lnSpc>
              <a:buFont typeface="Arial" charset="0"/>
              <a:buNone/>
              <a:defRPr sz="2133" b="0" baseline="0"/>
            </a:lvl5pPr>
          </a:lstStyle>
          <a:p>
            <a:pPr lvl="0"/>
            <a:r>
              <a:rPr lang="en-US"/>
              <a:t>Click to add text</a:t>
            </a:r>
          </a:p>
        </p:txBody>
      </p:sp>
      <p:sp>
        <p:nvSpPr>
          <p:cNvPr id="3" name="Title 2">
            <a:extLst>
              <a:ext uri="{FF2B5EF4-FFF2-40B4-BE49-F238E27FC236}">
                <a16:creationId xmlns:a16="http://schemas.microsoft.com/office/drawing/2014/main" id="{3B1301CE-B3DE-49E1-B3B2-EA2475A78BC7}"/>
              </a:ext>
            </a:extLst>
          </p:cNvPr>
          <p:cNvSpPr>
            <a:spLocks noGrp="1"/>
          </p:cNvSpPr>
          <p:nvPr>
            <p:ph type="title"/>
          </p:nvPr>
        </p:nvSpPr>
        <p:spPr>
          <a:xfrm>
            <a:off x="768351" y="260351"/>
            <a:ext cx="4944533" cy="673100"/>
          </a:xfrm>
        </p:spPr>
        <p:txBody>
          <a:bodyPr/>
          <a:lstStyle>
            <a:lvl1pPr>
              <a:defRPr/>
            </a:lvl1pPr>
          </a:lstStyle>
          <a:p>
            <a:r>
              <a:rPr lang="en-US"/>
              <a:t>Click to edit Master title style</a:t>
            </a:r>
          </a:p>
        </p:txBody>
      </p:sp>
      <p:sp>
        <p:nvSpPr>
          <p:cNvPr id="6" name="Date Placeholder 5">
            <a:extLst>
              <a:ext uri="{FF2B5EF4-FFF2-40B4-BE49-F238E27FC236}">
                <a16:creationId xmlns:a16="http://schemas.microsoft.com/office/drawing/2014/main" id="{D3F7EFBD-DB9C-45C5-9F2E-C46AEC5F67DA}"/>
              </a:ext>
            </a:extLst>
          </p:cNvPr>
          <p:cNvSpPr>
            <a:spLocks noGrp="1"/>
          </p:cNvSpPr>
          <p:nvPr>
            <p:ph type="dt" sz="half" idx="25"/>
          </p:nvPr>
        </p:nvSpPr>
        <p:spPr/>
        <p:txBody>
          <a:bodyPr/>
          <a:lstStyle/>
          <a:p>
            <a:endParaRPr lang="en-US" dirty="0"/>
          </a:p>
        </p:txBody>
      </p:sp>
      <p:sp>
        <p:nvSpPr>
          <p:cNvPr id="7" name="Footer Placeholder 6">
            <a:extLst>
              <a:ext uri="{FF2B5EF4-FFF2-40B4-BE49-F238E27FC236}">
                <a16:creationId xmlns:a16="http://schemas.microsoft.com/office/drawing/2014/main" id="{753377E4-E0A6-4CAB-B97D-2004235209BF}"/>
              </a:ext>
            </a:extLst>
          </p:cNvPr>
          <p:cNvSpPr>
            <a:spLocks noGrp="1"/>
          </p:cNvSpPr>
          <p:nvPr>
            <p:ph type="ftr" sz="quarter" idx="26"/>
          </p:nvPr>
        </p:nvSpPr>
        <p:spPr/>
        <p:txBody>
          <a:bodyPr/>
          <a:lstStyle/>
          <a:p>
            <a:endParaRPr lang="en-US" dirty="0"/>
          </a:p>
        </p:txBody>
      </p:sp>
      <p:sp>
        <p:nvSpPr>
          <p:cNvPr id="8" name="Slide Number Placeholder 7">
            <a:extLst>
              <a:ext uri="{FF2B5EF4-FFF2-40B4-BE49-F238E27FC236}">
                <a16:creationId xmlns:a16="http://schemas.microsoft.com/office/drawing/2014/main" id="{BE4FCB58-7D88-4A1A-B1DD-02B1B052F520}"/>
              </a:ext>
            </a:extLst>
          </p:cNvPr>
          <p:cNvSpPr>
            <a:spLocks noGrp="1"/>
          </p:cNvSpPr>
          <p:nvPr>
            <p:ph type="sldNum" sz="quarter" idx="2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3856862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text and image (left)">
    <p:spTree>
      <p:nvGrpSpPr>
        <p:cNvPr id="1" name=""/>
        <p:cNvGrpSpPr/>
        <p:nvPr/>
      </p:nvGrpSpPr>
      <p:grpSpPr>
        <a:xfrm>
          <a:off x="0" y="0"/>
          <a:ext cx="0" cy="0"/>
          <a:chOff x="0" y="0"/>
          <a:chExt cx="0" cy="0"/>
        </a:xfrm>
      </p:grpSpPr>
      <p:sp>
        <p:nvSpPr>
          <p:cNvPr id="12" name="Picture Placeholder 9"/>
          <p:cNvSpPr>
            <a:spLocks noGrp="1"/>
          </p:cNvSpPr>
          <p:nvPr>
            <p:ph type="pic" sz="quarter" idx="24" hasCustomPrompt="1"/>
          </p:nvPr>
        </p:nvSpPr>
        <p:spPr>
          <a:xfrm>
            <a:off x="0" y="0"/>
            <a:ext cx="6096000" cy="6858000"/>
          </a:xfrm>
          <a:prstGeom prst="rect">
            <a:avLst/>
          </a:prstGeom>
          <a:solidFill>
            <a:schemeClr val="accent6"/>
          </a:solidFill>
        </p:spPr>
        <p:txBody>
          <a:bodyPr tIns="2916000"/>
          <a:lstStyle>
            <a:lvl1pPr marL="0" indent="0" algn="ctr">
              <a:lnSpc>
                <a:spcPct val="100000"/>
              </a:lnSpc>
              <a:buFontTx/>
              <a:buNone/>
              <a:defRPr/>
            </a:lvl1pPr>
          </a:lstStyle>
          <a:p>
            <a:r>
              <a:rPr lang="en-US" noProof="0" dirty="0"/>
              <a:t>Drag picture to placeholder</a:t>
            </a:r>
            <a:br>
              <a:rPr lang="en-US" noProof="0" dirty="0"/>
            </a:br>
            <a:r>
              <a:rPr lang="en-US" noProof="0" dirty="0"/>
              <a:t>or click icon to add</a:t>
            </a:r>
          </a:p>
        </p:txBody>
      </p:sp>
      <p:sp>
        <p:nvSpPr>
          <p:cNvPr id="18" name="Text Placeholder 8"/>
          <p:cNvSpPr>
            <a:spLocks noGrp="1"/>
          </p:cNvSpPr>
          <p:nvPr>
            <p:ph type="body" sz="quarter" idx="25" hasCustomPrompt="1"/>
          </p:nvPr>
        </p:nvSpPr>
        <p:spPr>
          <a:xfrm>
            <a:off x="6479118" y="1113368"/>
            <a:ext cx="4909063" cy="5196417"/>
          </a:xfrm>
          <a:prstGeom prst="rect">
            <a:avLst/>
          </a:prstGeom>
        </p:spPr>
        <p:txBody>
          <a:bodyPr>
            <a:normAutofit/>
          </a:bodyPr>
          <a:lstStyle>
            <a:lvl1pPr marL="0" indent="0">
              <a:lnSpc>
                <a:spcPct val="100000"/>
              </a:lnSpc>
              <a:buFont typeface="Arial" charset="0"/>
              <a:buNone/>
              <a:defRPr sz="2133" b="0"/>
            </a:lvl1pPr>
            <a:lvl2pPr marL="480472" indent="-480472">
              <a:lnSpc>
                <a:spcPct val="100000"/>
              </a:lnSpc>
              <a:buFont typeface="+mj-lt"/>
              <a:buAutoNum type="arabicPeriod"/>
              <a:defRPr sz="2133" b="0"/>
            </a:lvl2pPr>
            <a:lvl3pPr marL="486821" indent="0">
              <a:lnSpc>
                <a:spcPct val="100000"/>
              </a:lnSpc>
              <a:buFont typeface="Arial" charset="0"/>
              <a:buNone/>
              <a:defRPr sz="2133" b="0"/>
            </a:lvl3pPr>
            <a:lvl4pPr marL="732348" indent="0">
              <a:lnSpc>
                <a:spcPct val="100000"/>
              </a:lnSpc>
              <a:buNone/>
              <a:tabLst/>
              <a:defRPr sz="2133" b="0"/>
            </a:lvl4pPr>
            <a:lvl5pPr marL="967293" indent="0">
              <a:lnSpc>
                <a:spcPct val="100000"/>
              </a:lnSpc>
              <a:buFont typeface="Arial" charset="0"/>
              <a:buNone/>
              <a:defRPr sz="2133" b="0" baseline="0"/>
            </a:lvl5pPr>
          </a:lstStyle>
          <a:p>
            <a:pPr lvl="0"/>
            <a:r>
              <a:rPr lang="en-US"/>
              <a:t>Click to add text</a:t>
            </a:r>
          </a:p>
        </p:txBody>
      </p:sp>
      <p:sp>
        <p:nvSpPr>
          <p:cNvPr id="4" name="Title 3">
            <a:extLst>
              <a:ext uri="{FF2B5EF4-FFF2-40B4-BE49-F238E27FC236}">
                <a16:creationId xmlns:a16="http://schemas.microsoft.com/office/drawing/2014/main" id="{1AEE6764-BCD9-4C0F-8D7F-6DAB3E0116B1}"/>
              </a:ext>
            </a:extLst>
          </p:cNvPr>
          <p:cNvSpPr>
            <a:spLocks noGrp="1"/>
          </p:cNvSpPr>
          <p:nvPr>
            <p:ph type="title"/>
          </p:nvPr>
        </p:nvSpPr>
        <p:spPr>
          <a:xfrm>
            <a:off x="6479118" y="260351"/>
            <a:ext cx="4909063" cy="673100"/>
          </a:xfrm>
        </p:spPr>
        <p:txBody>
          <a:bodyPr/>
          <a:lstStyle>
            <a:lvl1pPr>
              <a:defRPr/>
            </a:lvl1pPr>
          </a:lstStyle>
          <a:p>
            <a:r>
              <a:rPr lang="en-US"/>
              <a:t>Click to edit Master title style</a:t>
            </a:r>
          </a:p>
        </p:txBody>
      </p:sp>
      <p:sp>
        <p:nvSpPr>
          <p:cNvPr id="9" name="Date Placeholder 8">
            <a:extLst>
              <a:ext uri="{FF2B5EF4-FFF2-40B4-BE49-F238E27FC236}">
                <a16:creationId xmlns:a16="http://schemas.microsoft.com/office/drawing/2014/main" id="{10B3F087-DB20-4A94-AB80-B37ECB4779CB}"/>
              </a:ext>
            </a:extLst>
          </p:cNvPr>
          <p:cNvSpPr>
            <a:spLocks noGrp="1"/>
          </p:cNvSpPr>
          <p:nvPr>
            <p:ph type="dt" sz="half" idx="26"/>
          </p:nvPr>
        </p:nvSpPr>
        <p:spPr/>
        <p:txBody>
          <a:bodyPr/>
          <a:lstStyle/>
          <a:p>
            <a:endParaRPr lang="en-US" dirty="0"/>
          </a:p>
        </p:txBody>
      </p:sp>
      <p:sp>
        <p:nvSpPr>
          <p:cNvPr id="10" name="Footer Placeholder 9">
            <a:extLst>
              <a:ext uri="{FF2B5EF4-FFF2-40B4-BE49-F238E27FC236}">
                <a16:creationId xmlns:a16="http://schemas.microsoft.com/office/drawing/2014/main" id="{9C6D60D1-99A0-4A98-BC8E-3EF57AA94001}"/>
              </a:ext>
            </a:extLst>
          </p:cNvPr>
          <p:cNvSpPr>
            <a:spLocks noGrp="1"/>
          </p:cNvSpPr>
          <p:nvPr>
            <p:ph type="ftr" sz="quarter" idx="27"/>
          </p:nvPr>
        </p:nvSpPr>
        <p:spPr/>
        <p:txBody>
          <a:bodyPr/>
          <a:lstStyle/>
          <a:p>
            <a:endParaRPr lang="en-US" dirty="0"/>
          </a:p>
        </p:txBody>
      </p:sp>
      <p:sp>
        <p:nvSpPr>
          <p:cNvPr id="11" name="Slide Number Placeholder 10">
            <a:extLst>
              <a:ext uri="{FF2B5EF4-FFF2-40B4-BE49-F238E27FC236}">
                <a16:creationId xmlns:a16="http://schemas.microsoft.com/office/drawing/2014/main" id="{676BAC64-3B0D-463F-8B20-473CDA4BD824}"/>
              </a:ext>
            </a:extLst>
          </p:cNvPr>
          <p:cNvSpPr>
            <a:spLocks noGrp="1"/>
          </p:cNvSpPr>
          <p:nvPr>
            <p:ph type="sldNum" sz="quarter" idx="2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531501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text and image (right large)">
    <p:spTree>
      <p:nvGrpSpPr>
        <p:cNvPr id="1" name=""/>
        <p:cNvGrpSpPr/>
        <p:nvPr/>
      </p:nvGrpSpPr>
      <p:grpSpPr>
        <a:xfrm>
          <a:off x="0" y="0"/>
          <a:ext cx="0" cy="0"/>
          <a:chOff x="0" y="0"/>
          <a:chExt cx="0" cy="0"/>
        </a:xfrm>
      </p:grpSpPr>
      <p:sp>
        <p:nvSpPr>
          <p:cNvPr id="15" name="Picture Placeholder 9"/>
          <p:cNvSpPr>
            <a:spLocks noGrp="1"/>
          </p:cNvSpPr>
          <p:nvPr>
            <p:ph type="pic" sz="quarter" idx="14" hasCustomPrompt="1"/>
          </p:nvPr>
        </p:nvSpPr>
        <p:spPr>
          <a:xfrm>
            <a:off x="4673780" y="1113368"/>
            <a:ext cx="6749869" cy="5196417"/>
          </a:xfrm>
          <a:prstGeom prst="rect">
            <a:avLst/>
          </a:prstGeom>
          <a:solidFill>
            <a:schemeClr val="accent6"/>
          </a:solidFill>
        </p:spPr>
        <p:txBody>
          <a:bodyPr tIns="2196000"/>
          <a:lstStyle>
            <a:lvl1pPr marL="0" indent="0" algn="ctr">
              <a:lnSpc>
                <a:spcPct val="100000"/>
              </a:lnSpc>
              <a:buFontTx/>
              <a:buNone/>
              <a:defRPr/>
            </a:lvl1pPr>
          </a:lstStyle>
          <a:p>
            <a:r>
              <a:rPr lang="en-US" noProof="0" dirty="0"/>
              <a:t>Drag picture to placeholder or click icon to add</a:t>
            </a:r>
          </a:p>
        </p:txBody>
      </p:sp>
      <p:sp>
        <p:nvSpPr>
          <p:cNvPr id="8" name="Text Placeholder 8"/>
          <p:cNvSpPr>
            <a:spLocks noGrp="1"/>
          </p:cNvSpPr>
          <p:nvPr>
            <p:ph type="body" sz="quarter" idx="24" hasCustomPrompt="1"/>
          </p:nvPr>
        </p:nvSpPr>
        <p:spPr>
          <a:xfrm>
            <a:off x="768352" y="1113368"/>
            <a:ext cx="3521427" cy="5196417"/>
          </a:xfrm>
          <a:prstGeom prst="rect">
            <a:avLst/>
          </a:prstGeom>
        </p:spPr>
        <p:txBody>
          <a:bodyPr>
            <a:normAutofit/>
          </a:bodyPr>
          <a:lstStyle>
            <a:lvl1pPr marL="0" indent="0">
              <a:lnSpc>
                <a:spcPct val="100000"/>
              </a:lnSpc>
              <a:buFont typeface="Arial" charset="0"/>
              <a:buNone/>
              <a:defRPr sz="2133" b="0"/>
            </a:lvl1pPr>
            <a:lvl2pPr marL="480472" indent="-480472">
              <a:lnSpc>
                <a:spcPct val="100000"/>
              </a:lnSpc>
              <a:buFont typeface="+mj-lt"/>
              <a:buAutoNum type="arabicPeriod"/>
              <a:defRPr sz="2133" b="0"/>
            </a:lvl2pPr>
            <a:lvl3pPr marL="486821" indent="0">
              <a:lnSpc>
                <a:spcPct val="100000"/>
              </a:lnSpc>
              <a:buFont typeface="Arial" charset="0"/>
              <a:buNone/>
              <a:defRPr sz="2133" b="0"/>
            </a:lvl3pPr>
            <a:lvl4pPr marL="732348" indent="0">
              <a:lnSpc>
                <a:spcPct val="100000"/>
              </a:lnSpc>
              <a:buNone/>
              <a:tabLst/>
              <a:defRPr sz="2133" b="0"/>
            </a:lvl4pPr>
            <a:lvl5pPr marL="967293" indent="0">
              <a:lnSpc>
                <a:spcPct val="100000"/>
              </a:lnSpc>
              <a:buFont typeface="Arial" charset="0"/>
              <a:buNone/>
              <a:defRPr sz="2133" b="0" baseline="0"/>
            </a:lvl5pPr>
          </a:lstStyle>
          <a:p>
            <a:pPr lvl="0"/>
            <a:r>
              <a:rPr lang="en-US"/>
              <a:t>Click to add text</a:t>
            </a:r>
          </a:p>
        </p:txBody>
      </p:sp>
      <p:sp>
        <p:nvSpPr>
          <p:cNvPr id="2" name="Titel 1">
            <a:extLst>
              <a:ext uri="{FF2B5EF4-FFF2-40B4-BE49-F238E27FC236}">
                <a16:creationId xmlns:a16="http://schemas.microsoft.com/office/drawing/2014/main" id="{D82C27FB-C163-4802-BBE9-1194F6A07DDA}"/>
              </a:ext>
            </a:extLst>
          </p:cNvPr>
          <p:cNvSpPr>
            <a:spLocks noGrp="1"/>
          </p:cNvSpPr>
          <p:nvPr>
            <p:ph type="title"/>
          </p:nvPr>
        </p:nvSpPr>
        <p:spPr/>
        <p:txBody>
          <a:bodyPr/>
          <a:lstStyle>
            <a:lvl1pPr>
              <a:defRPr/>
            </a:lvl1pPr>
          </a:lstStyle>
          <a:p>
            <a:r>
              <a:rPr lang="en-US"/>
              <a:t>Click to edit Master title style</a:t>
            </a:r>
          </a:p>
        </p:txBody>
      </p:sp>
      <p:sp>
        <p:nvSpPr>
          <p:cNvPr id="6" name="Date Placeholder 5">
            <a:extLst>
              <a:ext uri="{FF2B5EF4-FFF2-40B4-BE49-F238E27FC236}">
                <a16:creationId xmlns:a16="http://schemas.microsoft.com/office/drawing/2014/main" id="{15946856-8546-4DA9-9A8E-E5AE5A89C49C}"/>
              </a:ext>
            </a:extLst>
          </p:cNvPr>
          <p:cNvSpPr>
            <a:spLocks noGrp="1"/>
          </p:cNvSpPr>
          <p:nvPr>
            <p:ph type="dt" sz="half" idx="25"/>
          </p:nvPr>
        </p:nvSpPr>
        <p:spPr/>
        <p:txBody>
          <a:bodyPr/>
          <a:lstStyle/>
          <a:p>
            <a:endParaRPr lang="en-US" dirty="0"/>
          </a:p>
        </p:txBody>
      </p:sp>
      <p:sp>
        <p:nvSpPr>
          <p:cNvPr id="7" name="Footer Placeholder 6">
            <a:extLst>
              <a:ext uri="{FF2B5EF4-FFF2-40B4-BE49-F238E27FC236}">
                <a16:creationId xmlns:a16="http://schemas.microsoft.com/office/drawing/2014/main" id="{175E8465-767D-44BA-B892-E9FA43E13D51}"/>
              </a:ext>
            </a:extLst>
          </p:cNvPr>
          <p:cNvSpPr>
            <a:spLocks noGrp="1"/>
          </p:cNvSpPr>
          <p:nvPr>
            <p:ph type="ftr" sz="quarter" idx="26"/>
          </p:nvPr>
        </p:nvSpPr>
        <p:spPr/>
        <p:txBody>
          <a:bodyPr/>
          <a:lstStyle/>
          <a:p>
            <a:endParaRPr lang="en-US" dirty="0"/>
          </a:p>
        </p:txBody>
      </p:sp>
      <p:sp>
        <p:nvSpPr>
          <p:cNvPr id="9" name="Slide Number Placeholder 8">
            <a:extLst>
              <a:ext uri="{FF2B5EF4-FFF2-40B4-BE49-F238E27FC236}">
                <a16:creationId xmlns:a16="http://schemas.microsoft.com/office/drawing/2014/main" id="{6786D917-89B9-4999-9898-0406930D63BE}"/>
              </a:ext>
            </a:extLst>
          </p:cNvPr>
          <p:cNvSpPr>
            <a:spLocks noGrp="1"/>
          </p:cNvSpPr>
          <p:nvPr>
            <p:ph type="sldNum" sz="quarter" idx="2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606361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text and image (right large) - 2">
    <p:spTree>
      <p:nvGrpSpPr>
        <p:cNvPr id="1" name=""/>
        <p:cNvGrpSpPr/>
        <p:nvPr/>
      </p:nvGrpSpPr>
      <p:grpSpPr>
        <a:xfrm>
          <a:off x="0" y="0"/>
          <a:ext cx="0" cy="0"/>
          <a:chOff x="0" y="0"/>
          <a:chExt cx="0" cy="0"/>
        </a:xfrm>
      </p:grpSpPr>
      <p:sp>
        <p:nvSpPr>
          <p:cNvPr id="15" name="Picture Placeholder 9"/>
          <p:cNvSpPr>
            <a:spLocks noGrp="1"/>
          </p:cNvSpPr>
          <p:nvPr>
            <p:ph type="pic" sz="quarter" idx="14" hasCustomPrompt="1"/>
          </p:nvPr>
        </p:nvSpPr>
        <p:spPr>
          <a:xfrm>
            <a:off x="4673780" y="1113368"/>
            <a:ext cx="6749869" cy="5196417"/>
          </a:xfrm>
          <a:prstGeom prst="roundRect">
            <a:avLst>
              <a:gd name="adj" fmla="val 2994"/>
            </a:avLst>
          </a:prstGeom>
          <a:solidFill>
            <a:schemeClr val="accent6"/>
          </a:solidFill>
          <a:effectLst>
            <a:outerShdw blurRad="139700" dist="12700" dir="2700000" sx="101000" sy="101000" algn="t" rotWithShape="0">
              <a:srgbClr val="353535">
                <a:alpha val="41000"/>
              </a:srgbClr>
            </a:outerShdw>
          </a:effectLst>
          <a:extLst>
            <a:ext uri="{53640926-AAD7-44D8-BBD7-CCE9431645EC}">
              <a14:shadowObscured xmlns:a14="http://schemas.microsoft.com/office/drawing/2010/main"/>
            </a:ext>
          </a:extLst>
        </p:spPr>
        <p:txBody>
          <a:bodyPr lIns="0" tIns="2196000" rIns="0" bIns="0"/>
          <a:lstStyle>
            <a:lvl1pPr marL="0" indent="0" algn="ctr">
              <a:lnSpc>
                <a:spcPct val="100000"/>
              </a:lnSpc>
              <a:buFontTx/>
              <a:buNone/>
              <a:defRPr/>
            </a:lvl1pPr>
          </a:lstStyle>
          <a:p>
            <a:r>
              <a:rPr lang="en-US" noProof="0" dirty="0"/>
              <a:t>Drag picture to placeholder or click icon to add</a:t>
            </a:r>
          </a:p>
        </p:txBody>
      </p:sp>
      <p:sp>
        <p:nvSpPr>
          <p:cNvPr id="8" name="Text Placeholder 8"/>
          <p:cNvSpPr>
            <a:spLocks noGrp="1"/>
          </p:cNvSpPr>
          <p:nvPr>
            <p:ph type="body" sz="quarter" idx="24" hasCustomPrompt="1"/>
          </p:nvPr>
        </p:nvSpPr>
        <p:spPr>
          <a:xfrm>
            <a:off x="768352" y="1113368"/>
            <a:ext cx="3521427" cy="5196417"/>
          </a:xfrm>
          <a:prstGeom prst="rect">
            <a:avLst/>
          </a:prstGeom>
        </p:spPr>
        <p:txBody>
          <a:bodyPr>
            <a:normAutofit/>
          </a:bodyPr>
          <a:lstStyle>
            <a:lvl1pPr marL="0" indent="0">
              <a:lnSpc>
                <a:spcPct val="100000"/>
              </a:lnSpc>
              <a:buFont typeface="Arial" charset="0"/>
              <a:buNone/>
              <a:defRPr sz="2133" b="0"/>
            </a:lvl1pPr>
            <a:lvl2pPr marL="480472" indent="-480472">
              <a:lnSpc>
                <a:spcPct val="100000"/>
              </a:lnSpc>
              <a:buFont typeface="+mj-lt"/>
              <a:buAutoNum type="arabicPeriod"/>
              <a:defRPr sz="2133" b="0"/>
            </a:lvl2pPr>
            <a:lvl3pPr marL="486821" indent="0">
              <a:lnSpc>
                <a:spcPct val="100000"/>
              </a:lnSpc>
              <a:buFont typeface="Arial" charset="0"/>
              <a:buNone/>
              <a:defRPr sz="2133" b="0"/>
            </a:lvl3pPr>
            <a:lvl4pPr marL="732348" indent="0">
              <a:lnSpc>
                <a:spcPct val="100000"/>
              </a:lnSpc>
              <a:buNone/>
              <a:tabLst/>
              <a:defRPr sz="2133" b="0"/>
            </a:lvl4pPr>
            <a:lvl5pPr marL="967293" indent="0">
              <a:lnSpc>
                <a:spcPct val="100000"/>
              </a:lnSpc>
              <a:buFont typeface="Arial" charset="0"/>
              <a:buNone/>
              <a:defRPr sz="2133" b="0" baseline="0"/>
            </a:lvl5pPr>
          </a:lstStyle>
          <a:p>
            <a:pPr lvl="0"/>
            <a:r>
              <a:rPr lang="en-US"/>
              <a:t>Click to add text</a:t>
            </a:r>
          </a:p>
        </p:txBody>
      </p:sp>
      <p:sp>
        <p:nvSpPr>
          <p:cNvPr id="3" name="Date Placeholder 2">
            <a:extLst>
              <a:ext uri="{FF2B5EF4-FFF2-40B4-BE49-F238E27FC236}">
                <a16:creationId xmlns:a16="http://schemas.microsoft.com/office/drawing/2014/main" id="{136B6A0F-FAB0-4F8C-9459-30EDA0835272}"/>
              </a:ext>
            </a:extLst>
          </p:cNvPr>
          <p:cNvSpPr>
            <a:spLocks noGrp="1"/>
          </p:cNvSpPr>
          <p:nvPr>
            <p:ph type="dt" sz="half" idx="25"/>
          </p:nvPr>
        </p:nvSpPr>
        <p:spPr/>
        <p:txBody>
          <a:bodyPr/>
          <a:lstStyle/>
          <a:p>
            <a:endParaRPr lang="en-US" dirty="0"/>
          </a:p>
        </p:txBody>
      </p:sp>
      <p:sp>
        <p:nvSpPr>
          <p:cNvPr id="4" name="Footer Placeholder 3">
            <a:extLst>
              <a:ext uri="{FF2B5EF4-FFF2-40B4-BE49-F238E27FC236}">
                <a16:creationId xmlns:a16="http://schemas.microsoft.com/office/drawing/2014/main" id="{B59A77CE-E662-481F-BCC4-5E6BB30CACEC}"/>
              </a:ext>
            </a:extLst>
          </p:cNvPr>
          <p:cNvSpPr>
            <a:spLocks noGrp="1"/>
          </p:cNvSpPr>
          <p:nvPr>
            <p:ph type="ftr" sz="quarter" idx="26"/>
          </p:nvPr>
        </p:nvSpPr>
        <p:spPr/>
        <p:txBody>
          <a:bodyPr/>
          <a:lstStyle/>
          <a:p>
            <a:endParaRPr lang="en-US" dirty="0"/>
          </a:p>
        </p:txBody>
      </p:sp>
      <p:sp>
        <p:nvSpPr>
          <p:cNvPr id="5" name="Slide Number Placeholder 4">
            <a:extLst>
              <a:ext uri="{FF2B5EF4-FFF2-40B4-BE49-F238E27FC236}">
                <a16:creationId xmlns:a16="http://schemas.microsoft.com/office/drawing/2014/main" id="{F5D6AD45-0EAC-4DBD-8C61-C0F4ACB53601}"/>
              </a:ext>
            </a:extLst>
          </p:cNvPr>
          <p:cNvSpPr>
            <a:spLocks noGrp="1"/>
          </p:cNvSpPr>
          <p:nvPr>
            <p:ph type="sldNum" sz="quarter" idx="27"/>
          </p:nvPr>
        </p:nvSpPr>
        <p:spPr/>
        <p:txBody>
          <a:bodyPr/>
          <a:lstStyle/>
          <a:p>
            <a:fld id="{82F89014-7F8D-47C1-8D79-17A715C9D2BB}" type="slidenum">
              <a:rPr lang="en-US" smtClean="0"/>
              <a:pPr/>
              <a:t>‹#›</a:t>
            </a:fld>
            <a:endParaRPr lang="en-US" dirty="0"/>
          </a:p>
        </p:txBody>
      </p:sp>
      <p:sp>
        <p:nvSpPr>
          <p:cNvPr id="2" name="Titel 1">
            <a:extLst>
              <a:ext uri="{FF2B5EF4-FFF2-40B4-BE49-F238E27FC236}">
                <a16:creationId xmlns:a16="http://schemas.microsoft.com/office/drawing/2014/main" id="{D82C27FB-C163-4802-BBE9-1194F6A07DDA}"/>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1938728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text and image (right small)">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6479115" y="1113368"/>
            <a:ext cx="4944535" cy="5196417"/>
          </a:xfrm>
          <a:prstGeom prst="rect">
            <a:avLst/>
          </a:prstGeom>
          <a:solidFill>
            <a:schemeClr val="accent6"/>
          </a:solidFill>
        </p:spPr>
        <p:txBody>
          <a:bodyPr tIns="2196000"/>
          <a:lstStyle>
            <a:lvl1pPr marL="0" indent="0" algn="ctr">
              <a:lnSpc>
                <a:spcPct val="100000"/>
              </a:lnSpc>
              <a:buFontTx/>
              <a:buNone/>
              <a:defRPr/>
            </a:lvl1pPr>
          </a:lstStyle>
          <a:p>
            <a:r>
              <a:rPr lang="en-US" noProof="0" dirty="0"/>
              <a:t>Drag picture to placeholder or click icon to add</a:t>
            </a:r>
          </a:p>
        </p:txBody>
      </p:sp>
      <p:sp>
        <p:nvSpPr>
          <p:cNvPr id="9" name="Text Placeholder 8"/>
          <p:cNvSpPr>
            <a:spLocks noGrp="1"/>
          </p:cNvSpPr>
          <p:nvPr>
            <p:ph type="body" sz="quarter" idx="13" hasCustomPrompt="1"/>
          </p:nvPr>
        </p:nvSpPr>
        <p:spPr>
          <a:xfrm>
            <a:off x="768351" y="1113368"/>
            <a:ext cx="4944533" cy="5196417"/>
          </a:xfrm>
          <a:prstGeom prst="rect">
            <a:avLst/>
          </a:prstGeom>
        </p:spPr>
        <p:txBody>
          <a:bodyPr/>
          <a:lstStyle>
            <a:lvl1pPr marL="380990" indent="-380990">
              <a:lnSpc>
                <a:spcPct val="100000"/>
              </a:lnSpc>
              <a:buFont typeface="Arial" panose="020B0604020202020204" pitchFamily="34" charset="0"/>
              <a:buChar char="•"/>
              <a:defRPr sz="2133" b="0" baseline="0"/>
            </a:lvl1pPr>
            <a:lvl2pPr marL="380990" indent="-380990">
              <a:lnSpc>
                <a:spcPct val="100000"/>
              </a:lnSpc>
              <a:buFont typeface="Arial" panose="020B0604020202020204" pitchFamily="34" charset="0"/>
              <a:buChar char="•"/>
              <a:defRPr sz="1733" b="0"/>
            </a:lvl2pPr>
            <a:lvl3pPr marL="596885" indent="-232828">
              <a:lnSpc>
                <a:spcPct val="100000"/>
              </a:lnSpc>
              <a:buFont typeface="Arial" panose="020B0604020202020204" pitchFamily="34" charset="0"/>
              <a:buChar char="−"/>
              <a:defRPr sz="1867" b="0"/>
            </a:lvl3pPr>
            <a:lvl4pPr marL="831830" indent="-234945">
              <a:lnSpc>
                <a:spcPct val="100000"/>
              </a:lnSpc>
              <a:tabLst/>
              <a:defRPr sz="1867" b="0"/>
            </a:lvl4pPr>
            <a:lvl5pPr marL="1079473" indent="-247644">
              <a:lnSpc>
                <a:spcPct val="100000"/>
              </a:lnSpc>
              <a:defRPr sz="1867" b="0"/>
            </a:lvl5pPr>
            <a:lvl6pPr marL="2285943"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a:p>
        </p:txBody>
      </p:sp>
      <p:sp>
        <p:nvSpPr>
          <p:cNvPr id="3" name="Titel 2">
            <a:extLst>
              <a:ext uri="{FF2B5EF4-FFF2-40B4-BE49-F238E27FC236}">
                <a16:creationId xmlns:a16="http://schemas.microsoft.com/office/drawing/2014/main" id="{F71526E6-52FE-4A12-AF1B-B37A25A00344}"/>
              </a:ext>
            </a:extLst>
          </p:cNvPr>
          <p:cNvSpPr>
            <a:spLocks noGrp="1"/>
          </p:cNvSpPr>
          <p:nvPr>
            <p:ph type="title"/>
          </p:nvPr>
        </p:nvSpPr>
        <p:spPr/>
        <p:txBody>
          <a:bodyPr/>
          <a:lstStyle/>
          <a:p>
            <a:r>
              <a:rPr lang="en-US"/>
              <a:t>Click to edit Master title style</a:t>
            </a:r>
          </a:p>
        </p:txBody>
      </p:sp>
      <p:sp>
        <p:nvSpPr>
          <p:cNvPr id="6" name="Date Placeholder 5">
            <a:extLst>
              <a:ext uri="{FF2B5EF4-FFF2-40B4-BE49-F238E27FC236}">
                <a16:creationId xmlns:a16="http://schemas.microsoft.com/office/drawing/2014/main" id="{077FD35B-6C0E-42DE-85B1-6521194AA6A7}"/>
              </a:ext>
            </a:extLst>
          </p:cNvPr>
          <p:cNvSpPr>
            <a:spLocks noGrp="1"/>
          </p:cNvSpPr>
          <p:nvPr>
            <p:ph type="dt" sz="half" idx="15"/>
          </p:nvPr>
        </p:nvSpPr>
        <p:spPr/>
        <p:txBody>
          <a:bodyPr/>
          <a:lstStyle/>
          <a:p>
            <a:endParaRPr lang="en-US" dirty="0"/>
          </a:p>
        </p:txBody>
      </p:sp>
      <p:sp>
        <p:nvSpPr>
          <p:cNvPr id="7" name="Footer Placeholder 6">
            <a:extLst>
              <a:ext uri="{FF2B5EF4-FFF2-40B4-BE49-F238E27FC236}">
                <a16:creationId xmlns:a16="http://schemas.microsoft.com/office/drawing/2014/main" id="{BB11B6FB-578C-4F3B-A98D-5AF9DECFC4C8}"/>
              </a:ext>
            </a:extLst>
          </p:cNvPr>
          <p:cNvSpPr>
            <a:spLocks noGrp="1"/>
          </p:cNvSpPr>
          <p:nvPr>
            <p:ph type="ftr" sz="quarter" idx="16"/>
          </p:nvPr>
        </p:nvSpPr>
        <p:spPr/>
        <p:txBody>
          <a:bodyPr/>
          <a:lstStyle/>
          <a:p>
            <a:endParaRPr lang="en-US" dirty="0"/>
          </a:p>
        </p:txBody>
      </p:sp>
      <p:sp>
        <p:nvSpPr>
          <p:cNvPr id="8" name="Slide Number Placeholder 7">
            <a:extLst>
              <a:ext uri="{FF2B5EF4-FFF2-40B4-BE49-F238E27FC236}">
                <a16:creationId xmlns:a16="http://schemas.microsoft.com/office/drawing/2014/main" id="{D518D1FF-B499-48AE-A463-FCD1B03277A3}"/>
              </a:ext>
            </a:extLst>
          </p:cNvPr>
          <p:cNvSpPr>
            <a:spLocks noGrp="1"/>
          </p:cNvSpPr>
          <p:nvPr>
            <p:ph type="sldNum" sz="quarter" idx="1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12581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text and image (right small) - 2">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6479115" y="1113368"/>
            <a:ext cx="4944535" cy="5196417"/>
          </a:xfrm>
          <a:prstGeom prst="roundRect">
            <a:avLst>
              <a:gd name="adj" fmla="val 3147"/>
            </a:avLst>
          </a:prstGeom>
          <a:solidFill>
            <a:schemeClr val="accent6"/>
          </a:solidFill>
          <a:effectLst>
            <a:outerShdw blurRad="139700" dist="12700" dir="2700000" sx="101000" sy="101000" algn="ctr" rotWithShape="0">
              <a:prstClr val="black">
                <a:alpha val="41000"/>
              </a:prstClr>
            </a:outerShdw>
          </a:effectLst>
        </p:spPr>
        <p:txBody>
          <a:bodyPr tIns="2196000"/>
          <a:lstStyle>
            <a:lvl1pPr marL="0" indent="0" algn="ctr">
              <a:lnSpc>
                <a:spcPct val="100000"/>
              </a:lnSpc>
              <a:buFontTx/>
              <a:buNone/>
              <a:defRPr/>
            </a:lvl1pPr>
          </a:lstStyle>
          <a:p>
            <a:r>
              <a:rPr lang="en-US" noProof="0" dirty="0"/>
              <a:t>Drag picture to placeholder or click icon to add</a:t>
            </a:r>
          </a:p>
        </p:txBody>
      </p:sp>
      <p:sp>
        <p:nvSpPr>
          <p:cNvPr id="9" name="Text Placeholder 8"/>
          <p:cNvSpPr>
            <a:spLocks noGrp="1"/>
          </p:cNvSpPr>
          <p:nvPr>
            <p:ph type="body" sz="quarter" idx="13" hasCustomPrompt="1"/>
          </p:nvPr>
        </p:nvSpPr>
        <p:spPr>
          <a:xfrm>
            <a:off x="768351" y="1113368"/>
            <a:ext cx="4944533" cy="5196417"/>
          </a:xfrm>
          <a:prstGeom prst="rect">
            <a:avLst/>
          </a:prstGeom>
        </p:spPr>
        <p:txBody>
          <a:bodyPr/>
          <a:lstStyle>
            <a:lvl1pPr marL="380990" indent="-380990">
              <a:lnSpc>
                <a:spcPct val="100000"/>
              </a:lnSpc>
              <a:buFont typeface="Arial" panose="020B0604020202020204" pitchFamily="34" charset="0"/>
              <a:buChar char="•"/>
              <a:defRPr sz="2133" b="0" baseline="0"/>
            </a:lvl1pPr>
            <a:lvl2pPr marL="380990" indent="-380990">
              <a:lnSpc>
                <a:spcPct val="100000"/>
              </a:lnSpc>
              <a:buFont typeface="Arial" panose="020B0604020202020204" pitchFamily="34" charset="0"/>
              <a:buChar char="•"/>
              <a:defRPr sz="1733" b="0"/>
            </a:lvl2pPr>
            <a:lvl3pPr marL="596885" indent="-232828">
              <a:lnSpc>
                <a:spcPct val="100000"/>
              </a:lnSpc>
              <a:buFont typeface="Arial" panose="020B0604020202020204" pitchFamily="34" charset="0"/>
              <a:buChar char="−"/>
              <a:defRPr sz="1867" b="0"/>
            </a:lvl3pPr>
            <a:lvl4pPr marL="831830" indent="-234945">
              <a:lnSpc>
                <a:spcPct val="100000"/>
              </a:lnSpc>
              <a:tabLst/>
              <a:defRPr sz="1867" b="0"/>
            </a:lvl4pPr>
            <a:lvl5pPr marL="1079473" indent="-247644">
              <a:lnSpc>
                <a:spcPct val="100000"/>
              </a:lnSpc>
              <a:defRPr sz="1867" b="0"/>
            </a:lvl5pPr>
            <a:lvl6pPr marL="2285943"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a:p>
        </p:txBody>
      </p:sp>
      <p:sp>
        <p:nvSpPr>
          <p:cNvPr id="3" name="Titel 2">
            <a:extLst>
              <a:ext uri="{FF2B5EF4-FFF2-40B4-BE49-F238E27FC236}">
                <a16:creationId xmlns:a16="http://schemas.microsoft.com/office/drawing/2014/main" id="{F71526E6-52FE-4A12-AF1B-B37A25A00344}"/>
              </a:ext>
            </a:extLst>
          </p:cNvPr>
          <p:cNvSpPr>
            <a:spLocks noGrp="1"/>
          </p:cNvSpPr>
          <p:nvPr>
            <p:ph type="title"/>
          </p:nvPr>
        </p:nvSpPr>
        <p:spPr/>
        <p:txBody>
          <a:bodyPr/>
          <a:lstStyle/>
          <a:p>
            <a:r>
              <a:rPr lang="en-US"/>
              <a:t>Click to edit Master title style</a:t>
            </a:r>
          </a:p>
        </p:txBody>
      </p:sp>
      <p:sp>
        <p:nvSpPr>
          <p:cNvPr id="6" name="Date Placeholder 5">
            <a:extLst>
              <a:ext uri="{FF2B5EF4-FFF2-40B4-BE49-F238E27FC236}">
                <a16:creationId xmlns:a16="http://schemas.microsoft.com/office/drawing/2014/main" id="{D7DD8DB3-C531-4BAF-94DF-B0A78EC7175A}"/>
              </a:ext>
            </a:extLst>
          </p:cNvPr>
          <p:cNvSpPr>
            <a:spLocks noGrp="1"/>
          </p:cNvSpPr>
          <p:nvPr>
            <p:ph type="dt" sz="half" idx="15"/>
          </p:nvPr>
        </p:nvSpPr>
        <p:spPr/>
        <p:txBody>
          <a:bodyPr/>
          <a:lstStyle/>
          <a:p>
            <a:endParaRPr lang="en-US" dirty="0"/>
          </a:p>
        </p:txBody>
      </p:sp>
      <p:sp>
        <p:nvSpPr>
          <p:cNvPr id="7" name="Footer Placeholder 6">
            <a:extLst>
              <a:ext uri="{FF2B5EF4-FFF2-40B4-BE49-F238E27FC236}">
                <a16:creationId xmlns:a16="http://schemas.microsoft.com/office/drawing/2014/main" id="{8344BE83-BA14-49B6-A392-4BAD50F8603E}"/>
              </a:ext>
            </a:extLst>
          </p:cNvPr>
          <p:cNvSpPr>
            <a:spLocks noGrp="1"/>
          </p:cNvSpPr>
          <p:nvPr>
            <p:ph type="ftr" sz="quarter" idx="16"/>
          </p:nvPr>
        </p:nvSpPr>
        <p:spPr/>
        <p:txBody>
          <a:bodyPr/>
          <a:lstStyle/>
          <a:p>
            <a:endParaRPr lang="en-US" dirty="0"/>
          </a:p>
        </p:txBody>
      </p:sp>
      <p:sp>
        <p:nvSpPr>
          <p:cNvPr id="11" name="Slide Number Placeholder 10">
            <a:extLst>
              <a:ext uri="{FF2B5EF4-FFF2-40B4-BE49-F238E27FC236}">
                <a16:creationId xmlns:a16="http://schemas.microsoft.com/office/drawing/2014/main" id="{3F0C4FF9-2E18-439F-BB75-2227EBAD5880}"/>
              </a:ext>
            </a:extLst>
          </p:cNvPr>
          <p:cNvSpPr>
            <a:spLocks noGrp="1"/>
          </p:cNvSpPr>
          <p:nvPr>
            <p:ph type="sldNum" sz="quarter" idx="1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3825914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and image (wide)">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EBA7FD14-63CD-42B5-8123-E0D2D06AE6A3}"/>
              </a:ext>
            </a:extLst>
          </p:cNvPr>
          <p:cNvSpPr>
            <a:spLocks noGrp="1"/>
          </p:cNvSpPr>
          <p:nvPr>
            <p:ph type="title"/>
          </p:nvPr>
        </p:nvSpPr>
        <p:spPr/>
        <p:txBody>
          <a:bodyPr/>
          <a:lstStyle/>
          <a:p>
            <a:r>
              <a:rPr lang="en-US"/>
              <a:t>Click to edit Master title style</a:t>
            </a:r>
          </a:p>
        </p:txBody>
      </p:sp>
      <p:sp>
        <p:nvSpPr>
          <p:cNvPr id="4" name="Date Placeholder 3">
            <a:extLst>
              <a:ext uri="{FF2B5EF4-FFF2-40B4-BE49-F238E27FC236}">
                <a16:creationId xmlns:a16="http://schemas.microsoft.com/office/drawing/2014/main" id="{50D40CD0-E62A-40D6-A9A7-E90A7941CF89}"/>
              </a:ext>
            </a:extLst>
          </p:cNvPr>
          <p:cNvSpPr>
            <a:spLocks noGrp="1"/>
          </p:cNvSpPr>
          <p:nvPr>
            <p:ph type="dt" sz="half" idx="17"/>
          </p:nvPr>
        </p:nvSpPr>
        <p:spPr/>
        <p:txBody>
          <a:bodyPr/>
          <a:lstStyle/>
          <a:p>
            <a:endParaRPr lang="en-US" dirty="0"/>
          </a:p>
        </p:txBody>
      </p:sp>
      <p:sp>
        <p:nvSpPr>
          <p:cNvPr id="7" name="Footer Placeholder 6">
            <a:extLst>
              <a:ext uri="{FF2B5EF4-FFF2-40B4-BE49-F238E27FC236}">
                <a16:creationId xmlns:a16="http://schemas.microsoft.com/office/drawing/2014/main" id="{6871E6EE-F796-4FC9-A7D0-4C318002A703}"/>
              </a:ext>
            </a:extLst>
          </p:cNvPr>
          <p:cNvSpPr>
            <a:spLocks noGrp="1"/>
          </p:cNvSpPr>
          <p:nvPr>
            <p:ph type="ftr" sz="quarter" idx="18"/>
          </p:nvPr>
        </p:nvSpPr>
        <p:spPr/>
        <p:txBody>
          <a:bodyPr/>
          <a:lstStyle/>
          <a:p>
            <a:endParaRPr lang="en-US" dirty="0"/>
          </a:p>
        </p:txBody>
      </p:sp>
      <p:sp>
        <p:nvSpPr>
          <p:cNvPr id="8" name="Slide Number Placeholder 7">
            <a:extLst>
              <a:ext uri="{FF2B5EF4-FFF2-40B4-BE49-F238E27FC236}">
                <a16:creationId xmlns:a16="http://schemas.microsoft.com/office/drawing/2014/main" id="{8AA59B62-65E5-4805-9C65-6AB0D3219CEE}"/>
              </a:ext>
            </a:extLst>
          </p:cNvPr>
          <p:cNvSpPr>
            <a:spLocks noGrp="1"/>
          </p:cNvSpPr>
          <p:nvPr>
            <p:ph type="sldNum" sz="quarter" idx="19"/>
          </p:nvPr>
        </p:nvSpPr>
        <p:spPr/>
        <p:txBody>
          <a:bodyPr/>
          <a:lstStyle/>
          <a:p>
            <a:fld id="{82F89014-7F8D-47C1-8D79-17A715C9D2BB}" type="slidenum">
              <a:rPr lang="en-US" smtClean="0"/>
              <a:pPr/>
              <a:t>‹#›</a:t>
            </a:fld>
            <a:endParaRPr lang="en-US" dirty="0"/>
          </a:p>
        </p:txBody>
      </p:sp>
      <p:sp>
        <p:nvSpPr>
          <p:cNvPr id="5" name="Picture Placeholder 4">
            <a:extLst>
              <a:ext uri="{FF2B5EF4-FFF2-40B4-BE49-F238E27FC236}">
                <a16:creationId xmlns:a16="http://schemas.microsoft.com/office/drawing/2014/main" id="{41D87977-6410-4861-821B-247A28DFF45D}"/>
              </a:ext>
            </a:extLst>
          </p:cNvPr>
          <p:cNvSpPr>
            <a:spLocks noGrp="1"/>
          </p:cNvSpPr>
          <p:nvPr>
            <p:ph type="pic" sz="quarter" idx="20" hasCustomPrompt="1"/>
          </p:nvPr>
        </p:nvSpPr>
        <p:spPr>
          <a:xfrm>
            <a:off x="768351" y="1113368"/>
            <a:ext cx="10655300" cy="5196417"/>
          </a:xfrm>
          <a:solidFill>
            <a:schemeClr val="accent6"/>
          </a:solidFill>
        </p:spPr>
        <p:txBody>
          <a:bodyPr tIns="2088000"/>
          <a:lstStyle>
            <a:lvl1pPr marL="0" indent="0" algn="ctr">
              <a:buNone/>
              <a:defRPr/>
            </a:lvl1pPr>
          </a:lstStyle>
          <a:p>
            <a:pPr marL="0" marR="0" lvl="0" indent="0" algn="ctr" defTabSz="914377" rtl="0" eaLnBrk="1" fontAlgn="auto" latinLnBrk="0" hangingPunct="1">
              <a:lnSpc>
                <a:spcPct val="100000"/>
              </a:lnSpc>
              <a:spcBef>
                <a:spcPts val="0"/>
              </a:spcBef>
              <a:spcAft>
                <a:spcPts val="800"/>
              </a:spcAft>
              <a:buClr>
                <a:srgbClr val="FF6C00"/>
              </a:buClr>
              <a:buSzTx/>
              <a:buFont typeface="Arial" panose="020B0604020202020204" pitchFamily="34" charset="0"/>
              <a:buNone/>
              <a:tabLst>
                <a:tab pos="355591" algn="l"/>
              </a:tabLst>
              <a:defRPr/>
            </a:pPr>
            <a:r>
              <a:rPr lang="en-US" noProof="0" dirty="0"/>
              <a:t>Drag picture to placeholder or click icon to add</a:t>
            </a:r>
          </a:p>
        </p:txBody>
      </p:sp>
    </p:spTree>
    <p:extLst>
      <p:ext uri="{BB962C8B-B14F-4D97-AF65-F5344CB8AC3E}">
        <p14:creationId xmlns:p14="http://schemas.microsoft.com/office/powerpoint/2010/main" val="3858619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p:cSld name="slide with video background">
    <p:spTree>
      <p:nvGrpSpPr>
        <p:cNvPr id="1" name=""/>
        <p:cNvGrpSpPr/>
        <p:nvPr/>
      </p:nvGrpSpPr>
      <p:grpSpPr>
        <a:xfrm>
          <a:off x="0" y="0"/>
          <a:ext cx="0" cy="0"/>
          <a:chOff x="0" y="0"/>
          <a:chExt cx="0" cy="0"/>
        </a:xfrm>
      </p:grpSpPr>
      <p:sp>
        <p:nvSpPr>
          <p:cNvPr id="4" name="Media Placeholder 3">
            <a:extLst>
              <a:ext uri="{FF2B5EF4-FFF2-40B4-BE49-F238E27FC236}">
                <a16:creationId xmlns:a16="http://schemas.microsoft.com/office/drawing/2014/main" id="{61EF6098-F062-48C8-804B-4CB80BE90332}"/>
              </a:ext>
            </a:extLst>
          </p:cNvPr>
          <p:cNvSpPr>
            <a:spLocks noGrp="1"/>
          </p:cNvSpPr>
          <p:nvPr>
            <p:ph type="media" sz="quarter" idx="17" hasCustomPrompt="1"/>
          </p:nvPr>
        </p:nvSpPr>
        <p:spPr>
          <a:xfrm>
            <a:off x="0" y="0"/>
            <a:ext cx="12192000" cy="6858000"/>
          </a:xfrm>
          <a:solidFill>
            <a:srgbClr val="3E4043">
              <a:alpha val="14902"/>
            </a:srgbClr>
          </a:solidFill>
        </p:spPr>
        <p:txBody>
          <a:bodyPr/>
          <a:lstStyle>
            <a:lvl1pPr marL="0" indent="0" algn="ctr">
              <a:buNone/>
              <a:defRPr/>
            </a:lvl1pPr>
          </a:lstStyle>
          <a:p>
            <a:pPr marL="0" marR="0" lvl="0" indent="0" algn="l" defTabSz="914377" rtl="0" eaLnBrk="1" fontAlgn="auto" latinLnBrk="0" hangingPunct="1">
              <a:lnSpc>
                <a:spcPct val="100000"/>
              </a:lnSpc>
              <a:spcBef>
                <a:spcPts val="0"/>
              </a:spcBef>
              <a:spcAft>
                <a:spcPts val="800"/>
              </a:spcAft>
              <a:buClr>
                <a:srgbClr val="FF6C00"/>
              </a:buClr>
              <a:buSzTx/>
              <a:buFont typeface="Arial" panose="020B0604020202020204" pitchFamily="34" charset="0"/>
              <a:buNone/>
              <a:tabLst>
                <a:tab pos="355591" algn="l"/>
              </a:tabLst>
              <a:defRPr/>
            </a:pPr>
            <a:r>
              <a:rPr lang="en-US" noProof="0" dirty="0"/>
              <a:t>Drag movie to placeholder or click icon to add</a:t>
            </a:r>
          </a:p>
        </p:txBody>
      </p:sp>
      <p:sp>
        <p:nvSpPr>
          <p:cNvPr id="3" name="Title 2">
            <a:extLst>
              <a:ext uri="{FF2B5EF4-FFF2-40B4-BE49-F238E27FC236}">
                <a16:creationId xmlns:a16="http://schemas.microsoft.com/office/drawing/2014/main" id="{9DE8C169-6D44-4FAB-8862-F0E9E8469FD6}"/>
              </a:ext>
            </a:extLst>
          </p:cNvPr>
          <p:cNvSpPr>
            <a:spLocks noGrp="1"/>
          </p:cNvSpPr>
          <p:nvPr>
            <p:ph type="title"/>
          </p:nvPr>
        </p:nvSpPr>
        <p:spPr>
          <a:xfrm>
            <a:off x="768351" y="5636685"/>
            <a:ext cx="10655299" cy="673100"/>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633747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5" pos="5397">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and Table">
    <p:spTree>
      <p:nvGrpSpPr>
        <p:cNvPr id="1" name=""/>
        <p:cNvGrpSpPr/>
        <p:nvPr/>
      </p:nvGrpSpPr>
      <p:grpSpPr>
        <a:xfrm>
          <a:off x="0" y="0"/>
          <a:ext cx="0" cy="0"/>
          <a:chOff x="0" y="0"/>
          <a:chExt cx="0" cy="0"/>
        </a:xfrm>
      </p:grpSpPr>
      <p:sp>
        <p:nvSpPr>
          <p:cNvPr id="10" name="Table Placeholder 6"/>
          <p:cNvSpPr>
            <a:spLocks noGrp="1"/>
          </p:cNvSpPr>
          <p:nvPr>
            <p:ph type="tbl" sz="quarter" idx="16"/>
          </p:nvPr>
        </p:nvSpPr>
        <p:spPr>
          <a:xfrm>
            <a:off x="768348" y="1113366"/>
            <a:ext cx="10653859" cy="5196417"/>
          </a:xfrm>
          <a:prstGeom prst="rect">
            <a:avLst/>
          </a:prstGeom>
        </p:spPr>
        <p:txBody>
          <a:bodyPr/>
          <a:lstStyle>
            <a:lvl1pPr marL="0" indent="0">
              <a:lnSpc>
                <a:spcPct val="100000"/>
              </a:lnSpc>
              <a:buNone/>
              <a:defRPr/>
            </a:lvl1pPr>
          </a:lstStyle>
          <a:p>
            <a:r>
              <a:rPr lang="en-US" noProof="0" dirty="0"/>
              <a:t>Click icon to add table</a:t>
            </a:r>
          </a:p>
        </p:txBody>
      </p:sp>
      <p:sp>
        <p:nvSpPr>
          <p:cNvPr id="3" name="Titel 2">
            <a:extLst>
              <a:ext uri="{FF2B5EF4-FFF2-40B4-BE49-F238E27FC236}">
                <a16:creationId xmlns:a16="http://schemas.microsoft.com/office/drawing/2014/main" id="{EBA7FD14-63CD-42B5-8123-E0D2D06AE6A3}"/>
              </a:ext>
            </a:extLst>
          </p:cNvPr>
          <p:cNvSpPr>
            <a:spLocks noGrp="1"/>
          </p:cNvSpPr>
          <p:nvPr>
            <p:ph type="title"/>
          </p:nvPr>
        </p:nvSpPr>
        <p:spPr/>
        <p:txBody>
          <a:bodyPr/>
          <a:lstStyle/>
          <a:p>
            <a:r>
              <a:rPr lang="en-US"/>
              <a:t>Click to edit Master title style</a:t>
            </a:r>
          </a:p>
        </p:txBody>
      </p:sp>
      <p:sp>
        <p:nvSpPr>
          <p:cNvPr id="4" name="Date Placeholder 3">
            <a:extLst>
              <a:ext uri="{FF2B5EF4-FFF2-40B4-BE49-F238E27FC236}">
                <a16:creationId xmlns:a16="http://schemas.microsoft.com/office/drawing/2014/main" id="{50D40CD0-E62A-40D6-A9A7-E90A7941CF89}"/>
              </a:ext>
            </a:extLst>
          </p:cNvPr>
          <p:cNvSpPr>
            <a:spLocks noGrp="1"/>
          </p:cNvSpPr>
          <p:nvPr>
            <p:ph type="dt" sz="half" idx="17"/>
          </p:nvPr>
        </p:nvSpPr>
        <p:spPr/>
        <p:txBody>
          <a:bodyPr/>
          <a:lstStyle/>
          <a:p>
            <a:endParaRPr lang="en-US" dirty="0"/>
          </a:p>
        </p:txBody>
      </p:sp>
      <p:sp>
        <p:nvSpPr>
          <p:cNvPr id="7" name="Footer Placeholder 6">
            <a:extLst>
              <a:ext uri="{FF2B5EF4-FFF2-40B4-BE49-F238E27FC236}">
                <a16:creationId xmlns:a16="http://schemas.microsoft.com/office/drawing/2014/main" id="{6871E6EE-F796-4FC9-A7D0-4C318002A703}"/>
              </a:ext>
            </a:extLst>
          </p:cNvPr>
          <p:cNvSpPr>
            <a:spLocks noGrp="1"/>
          </p:cNvSpPr>
          <p:nvPr>
            <p:ph type="ftr" sz="quarter" idx="18"/>
          </p:nvPr>
        </p:nvSpPr>
        <p:spPr/>
        <p:txBody>
          <a:bodyPr/>
          <a:lstStyle/>
          <a:p>
            <a:endParaRPr lang="en-US" dirty="0"/>
          </a:p>
        </p:txBody>
      </p:sp>
      <p:sp>
        <p:nvSpPr>
          <p:cNvPr id="8" name="Slide Number Placeholder 7">
            <a:extLst>
              <a:ext uri="{FF2B5EF4-FFF2-40B4-BE49-F238E27FC236}">
                <a16:creationId xmlns:a16="http://schemas.microsoft.com/office/drawing/2014/main" id="{8AA59B62-65E5-4805-9C65-6AB0D3219CEE}"/>
              </a:ext>
            </a:extLst>
          </p:cNvPr>
          <p:cNvSpPr>
            <a:spLocks noGrp="1"/>
          </p:cNvSpPr>
          <p:nvPr>
            <p:ph type="sldNum" sz="quarter" idx="19"/>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363880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86045" y="3101091"/>
            <a:ext cx="3905956" cy="3756909"/>
          </a:xfrm>
          <a:prstGeom prst="rect">
            <a:avLst/>
          </a:prstGeom>
        </p:spPr>
      </p:pic>
      <p:sp>
        <p:nvSpPr>
          <p:cNvPr id="7" name="Title 1"/>
          <p:cNvSpPr>
            <a:spLocks noGrp="1"/>
          </p:cNvSpPr>
          <p:nvPr>
            <p:ph type="title" hasCustomPrompt="1"/>
          </p:nvPr>
        </p:nvSpPr>
        <p:spPr>
          <a:xfrm>
            <a:off x="768349" y="1113365"/>
            <a:ext cx="7987200" cy="4224000"/>
          </a:xfrm>
          <a:prstGeom prst="rect">
            <a:avLst/>
          </a:prstGeom>
        </p:spPr>
        <p:txBody>
          <a:bodyPr lIns="0" tIns="0" rIns="0">
            <a:normAutofit/>
          </a:bodyPr>
          <a:lstStyle>
            <a:lvl1pPr marL="235194" indent="-235194">
              <a:lnSpc>
                <a:spcPct val="100000"/>
              </a:lnSpc>
              <a:spcAft>
                <a:spcPts val="1600"/>
              </a:spcAft>
              <a:defRPr sz="4800" baseline="0">
                <a:solidFill>
                  <a:schemeClr val="accent2"/>
                </a:solidFill>
              </a:defRPr>
            </a:lvl1pPr>
          </a:lstStyle>
          <a:p>
            <a:r>
              <a:rPr lang="en-US"/>
              <a:t>“Quote”</a:t>
            </a:r>
          </a:p>
        </p:txBody>
      </p:sp>
      <p:sp>
        <p:nvSpPr>
          <p:cNvPr id="4" name="Date Placeholder 3">
            <a:extLst>
              <a:ext uri="{FF2B5EF4-FFF2-40B4-BE49-F238E27FC236}">
                <a16:creationId xmlns:a16="http://schemas.microsoft.com/office/drawing/2014/main" id="{B0A140A6-5D0E-4488-95CA-4733486F593B}"/>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8B200B3A-B3FB-4A32-A145-4E221A432DD0}"/>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97DC275C-83AD-4E74-9F99-2A21F1C78853}"/>
              </a:ext>
            </a:extLst>
          </p:cNvPr>
          <p:cNvSpPr>
            <a:spLocks noGrp="1"/>
          </p:cNvSpPr>
          <p:nvPr>
            <p:ph type="sldNum" sz="quarter" idx="12"/>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888864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29" Type="http://schemas.openxmlformats.org/officeDocument/2006/relationships/image" Target="../media/image2.png"/><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theme" Target="../theme/theme2.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slideLayout" Target="../slideLayouts/slideLayout39.xml"/><Relationship Id="rId30" Type="http://schemas.openxmlformats.org/officeDocument/2006/relationships/image" Target="../media/image3.svg"/></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2.xml"/><Relationship Id="rId18" Type="http://schemas.openxmlformats.org/officeDocument/2006/relationships/slideLayout" Target="../slideLayouts/slideLayout57.xml"/><Relationship Id="rId26" Type="http://schemas.openxmlformats.org/officeDocument/2006/relationships/slideLayout" Target="../slideLayouts/slideLayout65.xml"/><Relationship Id="rId39" Type="http://schemas.openxmlformats.org/officeDocument/2006/relationships/image" Target="../media/image3.svg"/><Relationship Id="rId21" Type="http://schemas.openxmlformats.org/officeDocument/2006/relationships/slideLayout" Target="../slideLayouts/slideLayout60.xml"/><Relationship Id="rId34" Type="http://schemas.openxmlformats.org/officeDocument/2006/relationships/slideLayout" Target="../slideLayouts/slideLayout73.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slideLayout" Target="../slideLayouts/slideLayout64.xml"/><Relationship Id="rId33" Type="http://schemas.openxmlformats.org/officeDocument/2006/relationships/slideLayout" Target="../slideLayouts/slideLayout72.xml"/><Relationship Id="rId38" Type="http://schemas.openxmlformats.org/officeDocument/2006/relationships/image" Target="../media/image2.png"/><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slideLayout" Target="../slideLayouts/slideLayout59.xml"/><Relationship Id="rId29" Type="http://schemas.openxmlformats.org/officeDocument/2006/relationships/slideLayout" Target="../slideLayouts/slideLayout68.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slideLayout" Target="../slideLayouts/slideLayout63.xml"/><Relationship Id="rId32" Type="http://schemas.openxmlformats.org/officeDocument/2006/relationships/slideLayout" Target="../slideLayouts/slideLayout71.xml"/><Relationship Id="rId37" Type="http://schemas.openxmlformats.org/officeDocument/2006/relationships/theme" Target="../theme/theme3.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slideLayout" Target="../slideLayouts/slideLayout62.xml"/><Relationship Id="rId28" Type="http://schemas.openxmlformats.org/officeDocument/2006/relationships/slideLayout" Target="../slideLayouts/slideLayout67.xml"/><Relationship Id="rId36" Type="http://schemas.openxmlformats.org/officeDocument/2006/relationships/slideLayout" Target="../slideLayouts/slideLayout75.xml"/><Relationship Id="rId10" Type="http://schemas.openxmlformats.org/officeDocument/2006/relationships/slideLayout" Target="../slideLayouts/slideLayout49.xml"/><Relationship Id="rId19" Type="http://schemas.openxmlformats.org/officeDocument/2006/relationships/slideLayout" Target="../slideLayouts/slideLayout58.xml"/><Relationship Id="rId31" Type="http://schemas.openxmlformats.org/officeDocument/2006/relationships/slideLayout" Target="../slideLayouts/slideLayout70.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slideLayout" Target="../slideLayouts/slideLayout61.xml"/><Relationship Id="rId27" Type="http://schemas.openxmlformats.org/officeDocument/2006/relationships/slideLayout" Target="../slideLayouts/slideLayout66.xml"/><Relationship Id="rId30" Type="http://schemas.openxmlformats.org/officeDocument/2006/relationships/slideLayout" Target="../slideLayouts/slideLayout69.xml"/><Relationship Id="rId35" Type="http://schemas.openxmlformats.org/officeDocument/2006/relationships/slideLayout" Target="../slideLayouts/slideLayout74.xml"/><Relationship Id="rId8" Type="http://schemas.openxmlformats.org/officeDocument/2006/relationships/slideLayout" Target="../slideLayouts/slideLayout47.xml"/><Relationship Id="rId3" Type="http://schemas.openxmlformats.org/officeDocument/2006/relationships/slideLayout" Target="../slideLayouts/slideLayout42.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88.xml"/><Relationship Id="rId18" Type="http://schemas.openxmlformats.org/officeDocument/2006/relationships/slideLayout" Target="../slideLayouts/slideLayout93.xml"/><Relationship Id="rId26" Type="http://schemas.openxmlformats.org/officeDocument/2006/relationships/slideLayout" Target="../slideLayouts/slideLayout101.xml"/><Relationship Id="rId39" Type="http://schemas.openxmlformats.org/officeDocument/2006/relationships/image" Target="../media/image2.png"/><Relationship Id="rId21" Type="http://schemas.openxmlformats.org/officeDocument/2006/relationships/slideLayout" Target="../slideLayouts/slideLayout96.xml"/><Relationship Id="rId34" Type="http://schemas.openxmlformats.org/officeDocument/2006/relationships/slideLayout" Target="../slideLayouts/slideLayout109.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5" Type="http://schemas.openxmlformats.org/officeDocument/2006/relationships/slideLayout" Target="../slideLayouts/slideLayout100.xml"/><Relationship Id="rId33" Type="http://schemas.openxmlformats.org/officeDocument/2006/relationships/slideLayout" Target="../slideLayouts/slideLayout108.xml"/><Relationship Id="rId38" Type="http://schemas.openxmlformats.org/officeDocument/2006/relationships/theme" Target="../theme/theme4.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slideLayout" Target="../slideLayouts/slideLayout95.xml"/><Relationship Id="rId29" Type="http://schemas.openxmlformats.org/officeDocument/2006/relationships/slideLayout" Target="../slideLayouts/slideLayout104.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24" Type="http://schemas.openxmlformats.org/officeDocument/2006/relationships/slideLayout" Target="../slideLayouts/slideLayout99.xml"/><Relationship Id="rId32" Type="http://schemas.openxmlformats.org/officeDocument/2006/relationships/slideLayout" Target="../slideLayouts/slideLayout107.xml"/><Relationship Id="rId37" Type="http://schemas.openxmlformats.org/officeDocument/2006/relationships/slideLayout" Target="../slideLayouts/slideLayout112.xml"/><Relationship Id="rId40" Type="http://schemas.openxmlformats.org/officeDocument/2006/relationships/image" Target="../media/image3.svg"/><Relationship Id="rId5" Type="http://schemas.openxmlformats.org/officeDocument/2006/relationships/slideLayout" Target="../slideLayouts/slideLayout80.xml"/><Relationship Id="rId15" Type="http://schemas.openxmlformats.org/officeDocument/2006/relationships/slideLayout" Target="../slideLayouts/slideLayout90.xml"/><Relationship Id="rId23" Type="http://schemas.openxmlformats.org/officeDocument/2006/relationships/slideLayout" Target="../slideLayouts/slideLayout98.xml"/><Relationship Id="rId28" Type="http://schemas.openxmlformats.org/officeDocument/2006/relationships/slideLayout" Target="../slideLayouts/slideLayout103.xml"/><Relationship Id="rId36" Type="http://schemas.openxmlformats.org/officeDocument/2006/relationships/slideLayout" Target="../slideLayouts/slideLayout111.xml"/><Relationship Id="rId10" Type="http://schemas.openxmlformats.org/officeDocument/2006/relationships/slideLayout" Target="../slideLayouts/slideLayout85.xml"/><Relationship Id="rId19" Type="http://schemas.openxmlformats.org/officeDocument/2006/relationships/slideLayout" Target="../slideLayouts/slideLayout94.xml"/><Relationship Id="rId31" Type="http://schemas.openxmlformats.org/officeDocument/2006/relationships/slideLayout" Target="../slideLayouts/slideLayout106.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slideLayout" Target="../slideLayouts/slideLayout97.xml"/><Relationship Id="rId27" Type="http://schemas.openxmlformats.org/officeDocument/2006/relationships/slideLayout" Target="../slideLayouts/slideLayout102.xml"/><Relationship Id="rId30" Type="http://schemas.openxmlformats.org/officeDocument/2006/relationships/slideLayout" Target="../slideLayouts/slideLayout105.xml"/><Relationship Id="rId35" Type="http://schemas.openxmlformats.org/officeDocument/2006/relationships/slideLayout" Target="../slideLayouts/slideLayout110.xml"/><Relationship Id="rId8" Type="http://schemas.openxmlformats.org/officeDocument/2006/relationships/slideLayout" Target="../slideLayouts/slideLayout83.xml"/><Relationship Id="rId3" Type="http://schemas.openxmlformats.org/officeDocument/2006/relationships/slideLayout" Target="../slideLayouts/slideLayout7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3" Type="http://schemas.openxmlformats.org/officeDocument/2006/relationships/slideLayout" Target="../slideLayouts/slideLayout115.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2" Type="http://schemas.openxmlformats.org/officeDocument/2006/relationships/slideLayout" Target="../slideLayouts/slideLayout114.xml"/><Relationship Id="rId16" Type="http://schemas.openxmlformats.org/officeDocument/2006/relationships/theme" Target="../theme/theme5.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5" Type="http://schemas.openxmlformats.org/officeDocument/2006/relationships/slideLayout" Target="../slideLayouts/slideLayout117.xml"/><Relationship Id="rId15" Type="http://schemas.openxmlformats.org/officeDocument/2006/relationships/slideLayout" Target="../slideLayouts/slideLayout127.xml"/><Relationship Id="rId10" Type="http://schemas.openxmlformats.org/officeDocument/2006/relationships/slideLayout" Target="../slideLayouts/slideLayout122.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130.xml"/><Relationship Id="rId7" Type="http://schemas.openxmlformats.org/officeDocument/2006/relationships/image" Target="../media/image15.emf"/><Relationship Id="rId2" Type="http://schemas.openxmlformats.org/officeDocument/2006/relationships/slideLayout" Target="../slideLayouts/slideLayout129.xml"/><Relationship Id="rId1" Type="http://schemas.openxmlformats.org/officeDocument/2006/relationships/slideLayout" Target="../slideLayouts/slideLayout128.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slideLayout" Target="../slideLayouts/slideLayout143.xml"/><Relationship Id="rId18" Type="http://schemas.openxmlformats.org/officeDocument/2006/relationships/image" Target="../media/image15.emf"/><Relationship Id="rId3" Type="http://schemas.openxmlformats.org/officeDocument/2006/relationships/slideLayout" Target="../slideLayouts/slideLayout133.xml"/><Relationship Id="rId7" Type="http://schemas.openxmlformats.org/officeDocument/2006/relationships/slideLayout" Target="../slideLayouts/slideLayout137.xml"/><Relationship Id="rId12" Type="http://schemas.openxmlformats.org/officeDocument/2006/relationships/slideLayout" Target="../slideLayouts/slideLayout142.xml"/><Relationship Id="rId17" Type="http://schemas.openxmlformats.org/officeDocument/2006/relationships/oleObject" Target="../embeddings/oleObject1.bin"/><Relationship Id="rId2" Type="http://schemas.openxmlformats.org/officeDocument/2006/relationships/slideLayout" Target="../slideLayouts/slideLayout132.xml"/><Relationship Id="rId16" Type="http://schemas.openxmlformats.org/officeDocument/2006/relationships/tags" Target="../tags/tag4.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slideLayout" Target="../slideLayouts/slideLayout141.xml"/><Relationship Id="rId5" Type="http://schemas.openxmlformats.org/officeDocument/2006/relationships/slideLayout" Target="../slideLayouts/slideLayout135.xml"/><Relationship Id="rId15" Type="http://schemas.openxmlformats.org/officeDocument/2006/relationships/theme" Target="../theme/theme7.xml"/><Relationship Id="rId10" Type="http://schemas.openxmlformats.org/officeDocument/2006/relationships/slideLayout" Target="../slideLayouts/slideLayout140.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slideLayout" Target="../slideLayouts/slideLayout14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9FC0408-0FFD-4D42-7C03-0259BD7E6C9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NL"/>
          </a:p>
        </p:txBody>
      </p:sp>
      <p:sp>
        <p:nvSpPr>
          <p:cNvPr id="3" name="Text Placeholder 2">
            <a:extLst>
              <a:ext uri="{FF2B5EF4-FFF2-40B4-BE49-F238E27FC236}">
                <a16:creationId xmlns:a16="http://schemas.microsoft.com/office/drawing/2014/main" id="{00DD225C-88C7-28AF-BEC2-A62F2419479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
        <p:nvSpPr>
          <p:cNvPr id="4" name="Date Placeholder 3">
            <a:extLst>
              <a:ext uri="{FF2B5EF4-FFF2-40B4-BE49-F238E27FC236}">
                <a16:creationId xmlns:a16="http://schemas.microsoft.com/office/drawing/2014/main" id="{5D08B21F-8A52-8C39-91A8-AE63EA86337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36B0891-7476-4D8C-837F-BB2F6F398C80}" type="datetimeFigureOut">
              <a:rPr lang="en-NL" smtClean="0"/>
              <a:t>10/23/2025</a:t>
            </a:fld>
            <a:endParaRPr lang="en-NL"/>
          </a:p>
        </p:txBody>
      </p:sp>
      <p:sp>
        <p:nvSpPr>
          <p:cNvPr id="5" name="Footer Placeholder 4">
            <a:extLst>
              <a:ext uri="{FF2B5EF4-FFF2-40B4-BE49-F238E27FC236}">
                <a16:creationId xmlns:a16="http://schemas.microsoft.com/office/drawing/2014/main" id="{CBC0F2C4-0C72-7499-42B3-755F734184A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NL"/>
          </a:p>
        </p:txBody>
      </p:sp>
      <p:sp>
        <p:nvSpPr>
          <p:cNvPr id="6" name="Slide Number Placeholder 5">
            <a:extLst>
              <a:ext uri="{FF2B5EF4-FFF2-40B4-BE49-F238E27FC236}">
                <a16:creationId xmlns:a16="http://schemas.microsoft.com/office/drawing/2014/main" id="{C6A6980B-3508-41C2-86F4-D0954DB4B39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4C5E35F-323C-4AC9-A193-D482FFFB2350}" type="slidenum">
              <a:rPr lang="en-NL" smtClean="0"/>
              <a:t>‹#›</a:t>
            </a:fld>
            <a:endParaRPr lang="en-NL"/>
          </a:p>
        </p:txBody>
      </p:sp>
    </p:spTree>
    <p:extLst>
      <p:ext uri="{BB962C8B-B14F-4D97-AF65-F5344CB8AC3E}">
        <p14:creationId xmlns:p14="http://schemas.microsoft.com/office/powerpoint/2010/main" val="357689808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768351" y="6615692"/>
            <a:ext cx="2745600" cy="192000"/>
          </a:xfrm>
          <a:prstGeom prst="rect">
            <a:avLst/>
          </a:prstGeom>
        </p:spPr>
        <p:txBody>
          <a:bodyPr vert="horz" lIns="0" tIns="0" rIns="0" bIns="0" rtlCol="0" anchor="t" anchorCtr="0">
            <a:noAutofit/>
          </a:bodyPr>
          <a:lstStyle>
            <a:lvl1pPr algn="l">
              <a:defRPr sz="1067">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4038600" y="6615692"/>
            <a:ext cx="4114800" cy="192000"/>
          </a:xfrm>
          <a:prstGeom prst="rect">
            <a:avLst/>
          </a:prstGeom>
        </p:spPr>
        <p:txBody>
          <a:bodyPr vert="horz" lIns="0" tIns="0" rIns="0" bIns="0" rtlCol="0" anchor="t" anchorCtr="0">
            <a:noAutofit/>
          </a:bodyPr>
          <a:lstStyle>
            <a:lvl1pPr algn="ctr">
              <a:defRPr sz="1067">
                <a:solidFill>
                  <a:schemeClr val="tx1">
                    <a:tint val="75000"/>
                  </a:schemeClr>
                </a:solidFill>
              </a:defRPr>
            </a:lvl1pPr>
          </a:lstStyle>
          <a:p>
            <a:endParaRPr lang="en-US" dirty="0"/>
          </a:p>
        </p:txBody>
      </p:sp>
      <p:pic>
        <p:nvPicPr>
          <p:cNvPr id="8" name="Picture 7">
            <a:extLst>
              <a:ext uri="{FF2B5EF4-FFF2-40B4-BE49-F238E27FC236}">
                <a16:creationId xmlns:a16="http://schemas.microsoft.com/office/drawing/2014/main" id="{B4928590-4084-6B40-8DED-B4F8C98BED1B}"/>
              </a:ext>
            </a:extLst>
          </p:cNvPr>
          <p:cNvPicPr>
            <a:picLocks noChangeAspect="1"/>
          </p:cNvPicPr>
          <p:nvPr userDrawn="1"/>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rcRect/>
          <a:stretch/>
        </p:blipFill>
        <p:spPr>
          <a:xfrm>
            <a:off x="11423650" y="264668"/>
            <a:ext cx="535785" cy="591211"/>
          </a:xfrm>
          <a:prstGeom prst="rect">
            <a:avLst/>
          </a:prstGeom>
        </p:spPr>
      </p:pic>
      <p:sp>
        <p:nvSpPr>
          <p:cNvPr id="9" name="Title Placeholder 1"/>
          <p:cNvSpPr>
            <a:spLocks noGrp="1"/>
          </p:cNvSpPr>
          <p:nvPr>
            <p:ph type="title"/>
          </p:nvPr>
        </p:nvSpPr>
        <p:spPr>
          <a:xfrm>
            <a:off x="768351" y="260351"/>
            <a:ext cx="10429267" cy="673100"/>
          </a:xfrm>
          <a:prstGeom prst="rect">
            <a:avLst/>
          </a:prstGeom>
        </p:spPr>
        <p:txBody>
          <a:bodyPr vert="horz" lIns="0" tIns="0" rIns="0" bIns="0" rtlCol="0" anchor="ctr" anchorCtr="0">
            <a:noAutofit/>
          </a:bodyPr>
          <a:lstStyle/>
          <a:p>
            <a:r>
              <a:rPr lang="en-US" noProof="0"/>
              <a:t>Click to edit Master title style</a:t>
            </a:r>
            <a:endParaRPr lang="en-US" noProof="0" dirty="0"/>
          </a:p>
        </p:txBody>
      </p:sp>
      <p:sp>
        <p:nvSpPr>
          <p:cNvPr id="11" name="Text Placeholder 2"/>
          <p:cNvSpPr>
            <a:spLocks noGrp="1"/>
          </p:cNvSpPr>
          <p:nvPr>
            <p:ph type="body" idx="1"/>
          </p:nvPr>
        </p:nvSpPr>
        <p:spPr>
          <a:xfrm>
            <a:off x="768351" y="1113366"/>
            <a:ext cx="10655300" cy="5196417"/>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Slide Number Placeholder 1">
            <a:extLst>
              <a:ext uri="{FF2B5EF4-FFF2-40B4-BE49-F238E27FC236}">
                <a16:creationId xmlns:a16="http://schemas.microsoft.com/office/drawing/2014/main" id="{965DEE88-71BA-4950-8D35-00B2B8E793EC}"/>
              </a:ext>
            </a:extLst>
          </p:cNvPr>
          <p:cNvSpPr>
            <a:spLocks noGrp="1"/>
          </p:cNvSpPr>
          <p:nvPr>
            <p:ph type="sldNum" sz="quarter" idx="4"/>
          </p:nvPr>
        </p:nvSpPr>
        <p:spPr>
          <a:xfrm>
            <a:off x="115570" y="6615692"/>
            <a:ext cx="518804" cy="192000"/>
          </a:xfrm>
          <a:prstGeom prst="rect">
            <a:avLst/>
          </a:prstGeom>
        </p:spPr>
        <p:txBody>
          <a:bodyPr vert="horz" lIns="0" tIns="0" rIns="0" bIns="0" rtlCol="0" anchor="t" anchorCtr="0">
            <a:noAutofit/>
          </a:bodyPr>
          <a:lstStyle>
            <a:lvl1pPr algn="ctr">
              <a:defRPr sz="1067">
                <a:solidFill>
                  <a:schemeClr val="tx1">
                    <a:tint val="75000"/>
                  </a:schemeClr>
                </a:solidFill>
              </a:defRPr>
            </a:lvl1p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526931591"/>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377" rtl="0" eaLnBrk="1" latinLnBrk="0" hangingPunct="1">
        <a:lnSpc>
          <a:spcPct val="100000"/>
        </a:lnSpc>
        <a:spcBef>
          <a:spcPct val="0"/>
        </a:spcBef>
        <a:buNone/>
        <a:defRPr sz="3200" kern="1200">
          <a:solidFill>
            <a:schemeClr val="tx1"/>
          </a:solidFill>
          <a:latin typeface="+mj-lt"/>
          <a:ea typeface="+mj-ea"/>
          <a:cs typeface="+mj-cs"/>
        </a:defRPr>
      </a:lvl1pPr>
    </p:titleStyle>
    <p:bodyStyle>
      <a:lvl1pPr marL="383990" indent="-383990" algn="l" defTabSz="914377" rtl="0" eaLnBrk="1" latinLnBrk="0" hangingPunct="1">
        <a:lnSpc>
          <a:spcPct val="100000"/>
        </a:lnSpc>
        <a:spcBef>
          <a:spcPts val="0"/>
        </a:spcBef>
        <a:spcAft>
          <a:spcPts val="800"/>
        </a:spcAft>
        <a:buClr>
          <a:srgbClr val="FF6C00"/>
        </a:buClr>
        <a:buFont typeface="Arial" panose="020B0604020202020204" pitchFamily="34" charset="0"/>
        <a:buChar char="•"/>
        <a:tabLst>
          <a:tab pos="355591" algn="l"/>
        </a:tabLst>
        <a:defRPr lang="nl-NL" sz="2400" kern="1200" dirty="0" smtClean="0">
          <a:solidFill>
            <a:schemeClr val="tx1"/>
          </a:solidFill>
          <a:latin typeface="+mn-lt"/>
          <a:ea typeface="+mn-ea"/>
          <a:cs typeface="+mn-cs"/>
        </a:defRPr>
      </a:lvl1pPr>
      <a:lvl2pPr marL="623984" indent="-239994" algn="l" defTabSz="914377" rtl="0" eaLnBrk="1" latinLnBrk="0" hangingPunct="1">
        <a:lnSpc>
          <a:spcPct val="100000"/>
        </a:lnSpc>
        <a:spcBef>
          <a:spcPts val="500"/>
        </a:spcBef>
        <a:spcAft>
          <a:spcPts val="800"/>
        </a:spcAft>
        <a:buClr>
          <a:srgbClr val="FF6C00"/>
        </a:buClr>
        <a:buFont typeface="Arial" panose="020B0604020202020204" pitchFamily="34" charset="0"/>
        <a:buChar char="−"/>
        <a:defRPr lang="nl-NL" sz="2133" kern="1200" dirty="0" smtClean="0">
          <a:solidFill>
            <a:schemeClr val="tx1"/>
          </a:solidFill>
          <a:latin typeface="+mn-lt"/>
          <a:ea typeface="+mn-ea"/>
          <a:cs typeface="+mn-cs"/>
        </a:defRPr>
      </a:lvl2pPr>
      <a:lvl3pPr marL="863978" indent="-239994" algn="l" defTabSz="914377" rtl="0" eaLnBrk="1" latinLnBrk="0" hangingPunct="1">
        <a:lnSpc>
          <a:spcPct val="100000"/>
        </a:lnSpc>
        <a:spcBef>
          <a:spcPts val="500"/>
        </a:spcBef>
        <a:spcAft>
          <a:spcPts val="800"/>
        </a:spcAft>
        <a:buClr>
          <a:srgbClr val="FF6C00"/>
        </a:buClr>
        <a:buFont typeface="Courier New" panose="02070309020205020404" pitchFamily="49" charset="0"/>
        <a:buChar char="o"/>
        <a:defRPr lang="nl-NL" sz="2133" kern="1200" dirty="0" smtClean="0">
          <a:solidFill>
            <a:schemeClr val="tx1"/>
          </a:solidFill>
          <a:latin typeface="+mn-lt"/>
          <a:ea typeface="+mn-ea"/>
          <a:cs typeface="+mn-cs"/>
        </a:defRPr>
      </a:lvl3pPr>
      <a:lvl4pPr marL="1103972" indent="-239994" algn="l" defTabSz="914377" rtl="0" eaLnBrk="1" latinLnBrk="0" hangingPunct="1">
        <a:lnSpc>
          <a:spcPct val="100000"/>
        </a:lnSpc>
        <a:spcBef>
          <a:spcPts val="500"/>
        </a:spcBef>
        <a:spcAft>
          <a:spcPts val="800"/>
        </a:spcAft>
        <a:buClr>
          <a:srgbClr val="FF6C00"/>
        </a:buClr>
        <a:buFont typeface="Courier New" panose="02070309020205020404" pitchFamily="49" charset="0"/>
        <a:buChar char="o"/>
        <a:defRPr lang="nl-NL" sz="2133" kern="1200" dirty="0" smtClean="0">
          <a:solidFill>
            <a:schemeClr val="tx1"/>
          </a:solidFill>
          <a:latin typeface="+mn-lt"/>
          <a:ea typeface="+mn-ea"/>
          <a:cs typeface="+mn-cs"/>
        </a:defRPr>
      </a:lvl4pPr>
      <a:lvl5pPr marL="1343966" indent="-239994" algn="l" defTabSz="914377" rtl="0" eaLnBrk="1" latinLnBrk="0" hangingPunct="1">
        <a:lnSpc>
          <a:spcPct val="100000"/>
        </a:lnSpc>
        <a:spcBef>
          <a:spcPts val="500"/>
        </a:spcBef>
        <a:spcAft>
          <a:spcPts val="800"/>
        </a:spcAft>
        <a:buClr>
          <a:srgbClr val="FF6C00"/>
        </a:buClr>
        <a:buFont typeface="Courier New" panose="02070309020205020404" pitchFamily="49" charset="0"/>
        <a:buChar char="o"/>
        <a:defRPr lang="de-DE" sz="2133" kern="1200" dirty="0">
          <a:solidFill>
            <a:schemeClr val="tx1"/>
          </a:solidFill>
          <a:latin typeface="+mn-lt"/>
          <a:ea typeface="+mn-ea"/>
          <a:cs typeface="+mn-cs"/>
        </a:defRPr>
      </a:lvl5pPr>
      <a:lvl6pPr marL="2412940" indent="-260344" algn="l" defTabSz="914377" rtl="0" eaLnBrk="1" latinLnBrk="0" hangingPunct="1">
        <a:lnSpc>
          <a:spcPct val="90000"/>
        </a:lnSpc>
        <a:spcBef>
          <a:spcPts val="500"/>
        </a:spcBef>
        <a:buClr>
          <a:srgbClr val="FF6C00"/>
        </a:buClr>
        <a:buFont typeface="Courier New" panose="02070309020205020404" pitchFamily="49" charset="0"/>
        <a:buChar char="o"/>
        <a:defRPr sz="1800" kern="1200">
          <a:solidFill>
            <a:schemeClr val="tx1"/>
          </a:solidFill>
          <a:latin typeface="+mn-lt"/>
          <a:ea typeface="+mn-ea"/>
          <a:cs typeface="+mn-cs"/>
        </a:defRPr>
      </a:lvl6pPr>
      <a:lvl7pPr marL="2749482" indent="-234945" algn="l" defTabSz="914377" rtl="0" eaLnBrk="1" latinLnBrk="0" hangingPunct="1">
        <a:lnSpc>
          <a:spcPct val="90000"/>
        </a:lnSpc>
        <a:spcBef>
          <a:spcPts val="500"/>
        </a:spcBef>
        <a:buClr>
          <a:srgbClr val="FF6C00"/>
        </a:buClr>
        <a:buFont typeface="Courier New" panose="02070309020205020404" pitchFamily="49" charset="0"/>
        <a:buChar char="o"/>
        <a:defRPr sz="1800" kern="1200">
          <a:solidFill>
            <a:schemeClr val="tx1"/>
          </a:solidFill>
          <a:latin typeface="+mn-lt"/>
          <a:ea typeface="+mn-ea"/>
          <a:cs typeface="+mn-cs"/>
        </a:defRPr>
      </a:lvl7pPr>
      <a:lvl8pPr marL="3111422" indent="-243411" algn="l" defTabSz="914377" rtl="0" eaLnBrk="1" latinLnBrk="0" hangingPunct="1">
        <a:lnSpc>
          <a:spcPct val="90000"/>
        </a:lnSpc>
        <a:spcBef>
          <a:spcPts val="500"/>
        </a:spcBef>
        <a:buClr>
          <a:srgbClr val="FF6C00"/>
        </a:buClr>
        <a:buFont typeface="Courier New" panose="02070309020205020404" pitchFamily="49" charset="0"/>
        <a:buChar char="o"/>
        <a:defRPr sz="1800" kern="1200">
          <a:solidFill>
            <a:schemeClr val="tx1"/>
          </a:solidFill>
          <a:latin typeface="+mn-lt"/>
          <a:ea typeface="+mn-ea"/>
          <a:cs typeface="+mn-cs"/>
        </a:defRPr>
      </a:lvl8pPr>
      <a:lvl9pPr marL="3464897" indent="-237061" algn="l" defTabSz="914377" rtl="0" eaLnBrk="1" latinLnBrk="0" hangingPunct="1">
        <a:lnSpc>
          <a:spcPct val="90000"/>
        </a:lnSpc>
        <a:spcBef>
          <a:spcPts val="500"/>
        </a:spcBef>
        <a:buClr>
          <a:srgbClr val="FF6C00"/>
        </a:buClr>
        <a:buFont typeface="Courier New" panose="02070309020205020404" pitchFamily="49" charset="0"/>
        <a:buChar char="o"/>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63">
          <p15:clr>
            <a:srgbClr val="F26B43"/>
          </p15:clr>
        </p15:guide>
        <p15:guide id="2" pos="2880">
          <p15:clr>
            <a:srgbClr val="F26B43"/>
          </p15:clr>
        </p15:guide>
        <p15:guide id="3" pos="2699">
          <p15:clr>
            <a:srgbClr val="F26B43"/>
          </p15:clr>
        </p15:guide>
        <p15:guide id="4" pos="3061">
          <p15:clr>
            <a:srgbClr val="F26B43"/>
          </p15:clr>
        </p15:guide>
        <p15:guide id="5" pos="5397">
          <p15:clr>
            <a:srgbClr val="F26B43"/>
          </p15:clr>
        </p15:guide>
        <p15:guide id="6" orient="horz" pos="526">
          <p15:clr>
            <a:srgbClr val="F26B43"/>
          </p15:clr>
        </p15:guide>
        <p15:guide id="9" orient="horz" pos="441">
          <p15:clr>
            <a:srgbClr val="F26B43"/>
          </p15:clr>
        </p15:guide>
        <p15:guide id="10" orient="horz" pos="123">
          <p15:clr>
            <a:srgbClr val="F26B43"/>
          </p15:clr>
        </p15:guide>
        <p15:guide id="11" orient="horz" pos="3003">
          <p15:clr>
            <a:srgbClr val="547EBF"/>
          </p15:clr>
        </p15:guide>
        <p15:guide id="12" pos="5647">
          <p15:clr>
            <a:srgbClr val="547EBF"/>
          </p15:clr>
        </p15:guide>
        <p15:guide id="13" orient="horz" pos="3185">
          <p15:clr>
            <a:srgbClr val="9FCC3B"/>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768351" y="6615692"/>
            <a:ext cx="2745600" cy="192000"/>
          </a:xfrm>
          <a:prstGeom prst="rect">
            <a:avLst/>
          </a:prstGeom>
        </p:spPr>
        <p:txBody>
          <a:bodyPr vert="horz" lIns="0" tIns="0" rIns="0" bIns="0" rtlCol="0" anchor="t" anchorCtr="0">
            <a:noAutofit/>
          </a:bodyPr>
          <a:lstStyle>
            <a:lvl1pPr algn="l">
              <a:defRPr sz="1067">
                <a:solidFill>
                  <a:schemeClr val="tx1">
                    <a:tint val="75000"/>
                  </a:schemeClr>
                </a:solidFill>
              </a:defRPr>
            </a:lvl1pPr>
          </a:lstStyle>
          <a:p>
            <a:endParaRPr lang="de-DE"/>
          </a:p>
        </p:txBody>
      </p:sp>
      <p:sp>
        <p:nvSpPr>
          <p:cNvPr id="5" name="Footer Placeholder 4"/>
          <p:cNvSpPr>
            <a:spLocks noGrp="1"/>
          </p:cNvSpPr>
          <p:nvPr>
            <p:ph type="ftr" sz="quarter" idx="3"/>
          </p:nvPr>
        </p:nvSpPr>
        <p:spPr>
          <a:xfrm>
            <a:off x="4038600" y="6615692"/>
            <a:ext cx="4114800" cy="192000"/>
          </a:xfrm>
          <a:prstGeom prst="rect">
            <a:avLst/>
          </a:prstGeom>
        </p:spPr>
        <p:txBody>
          <a:bodyPr vert="horz" lIns="0" tIns="0" rIns="0" bIns="0" rtlCol="0" anchor="t" anchorCtr="0">
            <a:noAutofit/>
          </a:bodyPr>
          <a:lstStyle>
            <a:lvl1pPr algn="ctr">
              <a:defRPr sz="1067">
                <a:solidFill>
                  <a:schemeClr val="tx1">
                    <a:tint val="75000"/>
                  </a:schemeClr>
                </a:solidFill>
              </a:defRPr>
            </a:lvl1pPr>
          </a:lstStyle>
          <a:p>
            <a:endParaRPr lang="de-DE"/>
          </a:p>
        </p:txBody>
      </p:sp>
      <p:pic>
        <p:nvPicPr>
          <p:cNvPr id="8" name="Picture 7">
            <a:extLst>
              <a:ext uri="{FF2B5EF4-FFF2-40B4-BE49-F238E27FC236}">
                <a16:creationId xmlns:a16="http://schemas.microsoft.com/office/drawing/2014/main" id="{B4928590-4084-6B40-8DED-B4F8C98BED1B}"/>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rcRect/>
          <a:stretch/>
        </p:blipFill>
        <p:spPr>
          <a:xfrm>
            <a:off x="11423650" y="264668"/>
            <a:ext cx="535785" cy="591211"/>
          </a:xfrm>
          <a:prstGeom prst="rect">
            <a:avLst/>
          </a:prstGeom>
        </p:spPr>
      </p:pic>
      <p:sp>
        <p:nvSpPr>
          <p:cNvPr id="9" name="Title Placeholder 1"/>
          <p:cNvSpPr>
            <a:spLocks noGrp="1"/>
          </p:cNvSpPr>
          <p:nvPr>
            <p:ph type="title"/>
          </p:nvPr>
        </p:nvSpPr>
        <p:spPr>
          <a:xfrm>
            <a:off x="768351" y="260351"/>
            <a:ext cx="10429267" cy="673100"/>
          </a:xfrm>
          <a:prstGeom prst="rect">
            <a:avLst/>
          </a:prstGeom>
        </p:spPr>
        <p:txBody>
          <a:bodyPr vert="horz" lIns="0" tIns="0" rIns="0" bIns="0" rtlCol="0" anchor="ctr" anchorCtr="0">
            <a:noAutofit/>
          </a:bodyPr>
          <a:lstStyle/>
          <a:p>
            <a:r>
              <a:rPr lang="en-US" noProof="0"/>
              <a:t>Click to edit Master title style</a:t>
            </a:r>
          </a:p>
        </p:txBody>
      </p:sp>
      <p:sp>
        <p:nvSpPr>
          <p:cNvPr id="11" name="Text Placeholder 2"/>
          <p:cNvSpPr>
            <a:spLocks noGrp="1"/>
          </p:cNvSpPr>
          <p:nvPr>
            <p:ph type="body" idx="1"/>
          </p:nvPr>
        </p:nvSpPr>
        <p:spPr>
          <a:xfrm>
            <a:off x="768351" y="1113366"/>
            <a:ext cx="10655300" cy="5196417"/>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Slide Number Placeholder 1">
            <a:extLst>
              <a:ext uri="{FF2B5EF4-FFF2-40B4-BE49-F238E27FC236}">
                <a16:creationId xmlns:a16="http://schemas.microsoft.com/office/drawing/2014/main" id="{965DEE88-71BA-4950-8D35-00B2B8E793EC}"/>
              </a:ext>
            </a:extLst>
          </p:cNvPr>
          <p:cNvSpPr>
            <a:spLocks noGrp="1"/>
          </p:cNvSpPr>
          <p:nvPr>
            <p:ph type="sldNum" sz="quarter" idx="4"/>
          </p:nvPr>
        </p:nvSpPr>
        <p:spPr>
          <a:xfrm>
            <a:off x="115570" y="6615692"/>
            <a:ext cx="518804" cy="192000"/>
          </a:xfrm>
          <a:prstGeom prst="rect">
            <a:avLst/>
          </a:prstGeom>
        </p:spPr>
        <p:txBody>
          <a:bodyPr vert="horz" lIns="0" tIns="0" rIns="0" bIns="0" rtlCol="0" anchor="t" anchorCtr="0">
            <a:noAutofit/>
          </a:bodyPr>
          <a:lstStyle>
            <a:lvl1pPr algn="ctr">
              <a:defRPr sz="1067">
                <a:solidFill>
                  <a:schemeClr val="tx1">
                    <a:tint val="75000"/>
                  </a:schemeClr>
                </a:solidFill>
              </a:defRPr>
            </a:lvl1pPr>
          </a:lstStyle>
          <a:p>
            <a:fld id="{82F89014-7F8D-47C1-8D79-17A715C9D2BB}" type="slidenum">
              <a:rPr lang="nl-NL" smtClean="0"/>
              <a:pPr/>
              <a:t>‹#›</a:t>
            </a:fld>
            <a:endParaRPr lang="nl-NL"/>
          </a:p>
        </p:txBody>
      </p:sp>
    </p:spTree>
    <p:extLst>
      <p:ext uri="{BB962C8B-B14F-4D97-AF65-F5344CB8AC3E}">
        <p14:creationId xmlns:p14="http://schemas.microsoft.com/office/powerpoint/2010/main" val="3167598498"/>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3" r:id="rId24"/>
    <p:sldLayoutId id="2147483714" r:id="rId25"/>
    <p:sldLayoutId id="2147483715" r:id="rId26"/>
    <p:sldLayoutId id="2147483716" r:id="rId27"/>
    <p:sldLayoutId id="2147483717" r:id="rId28"/>
    <p:sldLayoutId id="2147483718" r:id="rId29"/>
    <p:sldLayoutId id="2147483719" r:id="rId30"/>
    <p:sldLayoutId id="2147483720" r:id="rId31"/>
    <p:sldLayoutId id="2147483721" r:id="rId32"/>
    <p:sldLayoutId id="2147483722" r:id="rId33"/>
    <p:sldLayoutId id="2147483725" r:id="rId34"/>
    <p:sldLayoutId id="2147483726" r:id="rId35"/>
    <p:sldLayoutId id="2147483765" r:id="rId3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377" rtl="0" eaLnBrk="1" latinLnBrk="0" hangingPunct="1">
        <a:lnSpc>
          <a:spcPct val="100000"/>
        </a:lnSpc>
        <a:spcBef>
          <a:spcPct val="0"/>
        </a:spcBef>
        <a:buNone/>
        <a:defRPr sz="3200" kern="1200">
          <a:solidFill>
            <a:schemeClr val="tx1"/>
          </a:solidFill>
          <a:latin typeface="+mj-lt"/>
          <a:ea typeface="+mj-ea"/>
          <a:cs typeface="+mj-cs"/>
        </a:defRPr>
      </a:lvl1pPr>
    </p:titleStyle>
    <p:bodyStyle>
      <a:lvl1pPr marL="383990" indent="-383990" algn="l" defTabSz="914377" rtl="0" eaLnBrk="1" latinLnBrk="0" hangingPunct="1">
        <a:lnSpc>
          <a:spcPct val="100000"/>
        </a:lnSpc>
        <a:spcBef>
          <a:spcPts val="0"/>
        </a:spcBef>
        <a:spcAft>
          <a:spcPts val="800"/>
        </a:spcAft>
        <a:buClr>
          <a:srgbClr val="FF6C00"/>
        </a:buClr>
        <a:buFont typeface="Arial" panose="020B0604020202020204" pitchFamily="34" charset="0"/>
        <a:buChar char="•"/>
        <a:tabLst>
          <a:tab pos="355591" algn="l"/>
        </a:tabLst>
        <a:defRPr lang="nl-NL" sz="2400" kern="1200" dirty="0" smtClean="0">
          <a:solidFill>
            <a:schemeClr val="tx1"/>
          </a:solidFill>
          <a:latin typeface="+mn-lt"/>
          <a:ea typeface="+mn-ea"/>
          <a:cs typeface="+mn-cs"/>
        </a:defRPr>
      </a:lvl1pPr>
      <a:lvl2pPr marL="623984" indent="-239994" algn="l" defTabSz="914377" rtl="0" eaLnBrk="1" latinLnBrk="0" hangingPunct="1">
        <a:lnSpc>
          <a:spcPct val="100000"/>
        </a:lnSpc>
        <a:spcBef>
          <a:spcPts val="500"/>
        </a:spcBef>
        <a:spcAft>
          <a:spcPts val="800"/>
        </a:spcAft>
        <a:buClr>
          <a:srgbClr val="FF6C00"/>
        </a:buClr>
        <a:buFont typeface="Arial" panose="020B0604020202020204" pitchFamily="34" charset="0"/>
        <a:buChar char="−"/>
        <a:defRPr lang="nl-NL" sz="2133" kern="1200" dirty="0" smtClean="0">
          <a:solidFill>
            <a:schemeClr val="tx1"/>
          </a:solidFill>
          <a:latin typeface="+mn-lt"/>
          <a:ea typeface="+mn-ea"/>
          <a:cs typeface="+mn-cs"/>
        </a:defRPr>
      </a:lvl2pPr>
      <a:lvl3pPr marL="863978" indent="-239994" algn="l" defTabSz="914377" rtl="0" eaLnBrk="1" latinLnBrk="0" hangingPunct="1">
        <a:lnSpc>
          <a:spcPct val="100000"/>
        </a:lnSpc>
        <a:spcBef>
          <a:spcPts val="500"/>
        </a:spcBef>
        <a:spcAft>
          <a:spcPts val="800"/>
        </a:spcAft>
        <a:buClr>
          <a:srgbClr val="FF6C00"/>
        </a:buClr>
        <a:buFont typeface="Courier New" panose="02070309020205020404" pitchFamily="49" charset="0"/>
        <a:buChar char="o"/>
        <a:defRPr lang="nl-NL" sz="2133" kern="1200" dirty="0" smtClean="0">
          <a:solidFill>
            <a:schemeClr val="tx1"/>
          </a:solidFill>
          <a:latin typeface="+mn-lt"/>
          <a:ea typeface="+mn-ea"/>
          <a:cs typeface="+mn-cs"/>
        </a:defRPr>
      </a:lvl3pPr>
      <a:lvl4pPr marL="1103972" indent="-239994" algn="l" defTabSz="914377" rtl="0" eaLnBrk="1" latinLnBrk="0" hangingPunct="1">
        <a:lnSpc>
          <a:spcPct val="100000"/>
        </a:lnSpc>
        <a:spcBef>
          <a:spcPts val="500"/>
        </a:spcBef>
        <a:spcAft>
          <a:spcPts val="800"/>
        </a:spcAft>
        <a:buClr>
          <a:srgbClr val="FF6C00"/>
        </a:buClr>
        <a:buFont typeface="Courier New" panose="02070309020205020404" pitchFamily="49" charset="0"/>
        <a:buChar char="o"/>
        <a:defRPr lang="nl-NL" sz="2133" kern="1200" dirty="0" smtClean="0">
          <a:solidFill>
            <a:schemeClr val="tx1"/>
          </a:solidFill>
          <a:latin typeface="+mn-lt"/>
          <a:ea typeface="+mn-ea"/>
          <a:cs typeface="+mn-cs"/>
        </a:defRPr>
      </a:lvl4pPr>
      <a:lvl5pPr marL="1343966" indent="-239994" algn="l" defTabSz="914377" rtl="0" eaLnBrk="1" latinLnBrk="0" hangingPunct="1">
        <a:lnSpc>
          <a:spcPct val="100000"/>
        </a:lnSpc>
        <a:spcBef>
          <a:spcPts val="500"/>
        </a:spcBef>
        <a:spcAft>
          <a:spcPts val="800"/>
        </a:spcAft>
        <a:buClr>
          <a:srgbClr val="FF6C00"/>
        </a:buClr>
        <a:buFont typeface="Courier New" panose="02070309020205020404" pitchFamily="49" charset="0"/>
        <a:buChar char="o"/>
        <a:defRPr lang="de-DE" sz="2133" kern="1200" dirty="0">
          <a:solidFill>
            <a:schemeClr val="tx1"/>
          </a:solidFill>
          <a:latin typeface="+mn-lt"/>
          <a:ea typeface="+mn-ea"/>
          <a:cs typeface="+mn-cs"/>
        </a:defRPr>
      </a:lvl5pPr>
      <a:lvl6pPr marL="2412940" indent="-260344" algn="l" defTabSz="914377" rtl="0" eaLnBrk="1" latinLnBrk="0" hangingPunct="1">
        <a:lnSpc>
          <a:spcPct val="90000"/>
        </a:lnSpc>
        <a:spcBef>
          <a:spcPts val="500"/>
        </a:spcBef>
        <a:buClr>
          <a:srgbClr val="FF6C00"/>
        </a:buClr>
        <a:buFont typeface="Courier New" panose="02070309020205020404" pitchFamily="49" charset="0"/>
        <a:buChar char="o"/>
        <a:defRPr sz="1800" kern="1200">
          <a:solidFill>
            <a:schemeClr val="tx1"/>
          </a:solidFill>
          <a:latin typeface="+mn-lt"/>
          <a:ea typeface="+mn-ea"/>
          <a:cs typeface="+mn-cs"/>
        </a:defRPr>
      </a:lvl6pPr>
      <a:lvl7pPr marL="2749482" indent="-234945" algn="l" defTabSz="914377" rtl="0" eaLnBrk="1" latinLnBrk="0" hangingPunct="1">
        <a:lnSpc>
          <a:spcPct val="90000"/>
        </a:lnSpc>
        <a:spcBef>
          <a:spcPts val="500"/>
        </a:spcBef>
        <a:buClr>
          <a:srgbClr val="FF6C00"/>
        </a:buClr>
        <a:buFont typeface="Courier New" panose="02070309020205020404" pitchFamily="49" charset="0"/>
        <a:buChar char="o"/>
        <a:defRPr sz="1800" kern="1200">
          <a:solidFill>
            <a:schemeClr val="tx1"/>
          </a:solidFill>
          <a:latin typeface="+mn-lt"/>
          <a:ea typeface="+mn-ea"/>
          <a:cs typeface="+mn-cs"/>
        </a:defRPr>
      </a:lvl7pPr>
      <a:lvl8pPr marL="3111422" indent="-243411" algn="l" defTabSz="914377" rtl="0" eaLnBrk="1" latinLnBrk="0" hangingPunct="1">
        <a:lnSpc>
          <a:spcPct val="90000"/>
        </a:lnSpc>
        <a:spcBef>
          <a:spcPts val="500"/>
        </a:spcBef>
        <a:buClr>
          <a:srgbClr val="FF6C00"/>
        </a:buClr>
        <a:buFont typeface="Courier New" panose="02070309020205020404" pitchFamily="49" charset="0"/>
        <a:buChar char="o"/>
        <a:defRPr sz="1800" kern="1200">
          <a:solidFill>
            <a:schemeClr val="tx1"/>
          </a:solidFill>
          <a:latin typeface="+mn-lt"/>
          <a:ea typeface="+mn-ea"/>
          <a:cs typeface="+mn-cs"/>
        </a:defRPr>
      </a:lvl8pPr>
      <a:lvl9pPr marL="3464897" indent="-237061" algn="l" defTabSz="914377" rtl="0" eaLnBrk="1" latinLnBrk="0" hangingPunct="1">
        <a:lnSpc>
          <a:spcPct val="90000"/>
        </a:lnSpc>
        <a:spcBef>
          <a:spcPts val="500"/>
        </a:spcBef>
        <a:buClr>
          <a:srgbClr val="FF6C00"/>
        </a:buClr>
        <a:buFont typeface="Courier New" panose="02070309020205020404" pitchFamily="49" charset="0"/>
        <a:buChar char="o"/>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63">
          <p15:clr>
            <a:srgbClr val="F26B43"/>
          </p15:clr>
        </p15:guide>
        <p15:guide id="2" pos="2880">
          <p15:clr>
            <a:srgbClr val="F26B43"/>
          </p15:clr>
        </p15:guide>
        <p15:guide id="3" pos="2699">
          <p15:clr>
            <a:srgbClr val="F26B43"/>
          </p15:clr>
        </p15:guide>
        <p15:guide id="4" pos="3061">
          <p15:clr>
            <a:srgbClr val="F26B43"/>
          </p15:clr>
        </p15:guide>
        <p15:guide id="5" pos="5397">
          <p15:clr>
            <a:srgbClr val="F26B43"/>
          </p15:clr>
        </p15:guide>
        <p15:guide id="6" orient="horz" pos="526">
          <p15:clr>
            <a:srgbClr val="F26B43"/>
          </p15:clr>
        </p15:guide>
        <p15:guide id="9" orient="horz" pos="441">
          <p15:clr>
            <a:srgbClr val="F26B43"/>
          </p15:clr>
        </p15:guide>
        <p15:guide id="10" orient="horz" pos="123">
          <p15:clr>
            <a:srgbClr val="F26B43"/>
          </p15:clr>
        </p15:guide>
        <p15:guide id="11" orient="horz" pos="3003">
          <p15:clr>
            <a:srgbClr val="547EBF"/>
          </p15:clr>
        </p15:guide>
        <p15:guide id="12" pos="5647">
          <p15:clr>
            <a:srgbClr val="547EBF"/>
          </p15:clr>
        </p15:guide>
        <p15:guide id="13" orient="horz" pos="3185">
          <p15:clr>
            <a:srgbClr val="9FCC3B"/>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768351" y="6615692"/>
            <a:ext cx="2745600" cy="192000"/>
          </a:xfrm>
          <a:prstGeom prst="rect">
            <a:avLst/>
          </a:prstGeom>
        </p:spPr>
        <p:txBody>
          <a:bodyPr vert="horz" lIns="0" tIns="0" rIns="0" bIns="0" rtlCol="0" anchor="t" anchorCtr="0">
            <a:noAutofit/>
          </a:bodyPr>
          <a:lstStyle>
            <a:lvl1pPr algn="l">
              <a:defRPr sz="1067">
                <a:solidFill>
                  <a:schemeClr val="tx1">
                    <a:tint val="75000"/>
                  </a:schemeClr>
                </a:solidFill>
              </a:defRPr>
            </a:lvl1pPr>
          </a:lstStyle>
          <a:p>
            <a:endParaRPr lang="de-DE"/>
          </a:p>
        </p:txBody>
      </p:sp>
      <p:sp>
        <p:nvSpPr>
          <p:cNvPr id="5" name="Footer Placeholder 4"/>
          <p:cNvSpPr>
            <a:spLocks noGrp="1"/>
          </p:cNvSpPr>
          <p:nvPr>
            <p:ph type="ftr" sz="quarter" idx="3"/>
          </p:nvPr>
        </p:nvSpPr>
        <p:spPr>
          <a:xfrm>
            <a:off x="4038600" y="6615692"/>
            <a:ext cx="4114800" cy="192000"/>
          </a:xfrm>
          <a:prstGeom prst="rect">
            <a:avLst/>
          </a:prstGeom>
        </p:spPr>
        <p:txBody>
          <a:bodyPr vert="horz" lIns="0" tIns="0" rIns="0" bIns="0" rtlCol="0" anchor="t" anchorCtr="0">
            <a:noAutofit/>
          </a:bodyPr>
          <a:lstStyle>
            <a:lvl1pPr algn="ctr">
              <a:defRPr sz="1067">
                <a:solidFill>
                  <a:schemeClr val="tx1">
                    <a:tint val="75000"/>
                  </a:schemeClr>
                </a:solidFill>
              </a:defRPr>
            </a:lvl1pPr>
          </a:lstStyle>
          <a:p>
            <a:endParaRPr lang="de-DE"/>
          </a:p>
        </p:txBody>
      </p:sp>
      <p:pic>
        <p:nvPicPr>
          <p:cNvPr id="8" name="Picture 7">
            <a:extLst>
              <a:ext uri="{FF2B5EF4-FFF2-40B4-BE49-F238E27FC236}">
                <a16:creationId xmlns:a16="http://schemas.microsoft.com/office/drawing/2014/main" id="{B4928590-4084-6B40-8DED-B4F8C98BED1B}"/>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rcRect/>
          <a:stretch/>
        </p:blipFill>
        <p:spPr>
          <a:xfrm>
            <a:off x="11423650" y="264668"/>
            <a:ext cx="535785" cy="591211"/>
          </a:xfrm>
          <a:prstGeom prst="rect">
            <a:avLst/>
          </a:prstGeom>
        </p:spPr>
      </p:pic>
      <p:sp>
        <p:nvSpPr>
          <p:cNvPr id="9" name="Title Placeholder 1"/>
          <p:cNvSpPr>
            <a:spLocks noGrp="1"/>
          </p:cNvSpPr>
          <p:nvPr>
            <p:ph type="title"/>
          </p:nvPr>
        </p:nvSpPr>
        <p:spPr>
          <a:xfrm>
            <a:off x="768351" y="260351"/>
            <a:ext cx="10429267" cy="673100"/>
          </a:xfrm>
          <a:prstGeom prst="rect">
            <a:avLst/>
          </a:prstGeom>
        </p:spPr>
        <p:txBody>
          <a:bodyPr vert="horz" lIns="0" tIns="0" rIns="0" bIns="0" rtlCol="0" anchor="ctr" anchorCtr="0">
            <a:noAutofit/>
          </a:bodyPr>
          <a:lstStyle/>
          <a:p>
            <a:r>
              <a:rPr lang="en-US" noProof="0"/>
              <a:t>Click to edit Master title style</a:t>
            </a:r>
          </a:p>
        </p:txBody>
      </p:sp>
      <p:sp>
        <p:nvSpPr>
          <p:cNvPr id="11" name="Text Placeholder 2"/>
          <p:cNvSpPr>
            <a:spLocks noGrp="1"/>
          </p:cNvSpPr>
          <p:nvPr>
            <p:ph type="body" idx="1"/>
          </p:nvPr>
        </p:nvSpPr>
        <p:spPr>
          <a:xfrm>
            <a:off x="768351" y="1113366"/>
            <a:ext cx="10655300" cy="5196417"/>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Slide Number Placeholder 1">
            <a:extLst>
              <a:ext uri="{FF2B5EF4-FFF2-40B4-BE49-F238E27FC236}">
                <a16:creationId xmlns:a16="http://schemas.microsoft.com/office/drawing/2014/main" id="{965DEE88-71BA-4950-8D35-00B2B8E793EC}"/>
              </a:ext>
            </a:extLst>
          </p:cNvPr>
          <p:cNvSpPr>
            <a:spLocks noGrp="1"/>
          </p:cNvSpPr>
          <p:nvPr>
            <p:ph type="sldNum" sz="quarter" idx="4"/>
          </p:nvPr>
        </p:nvSpPr>
        <p:spPr>
          <a:xfrm>
            <a:off x="115570" y="6615692"/>
            <a:ext cx="518804" cy="192000"/>
          </a:xfrm>
          <a:prstGeom prst="rect">
            <a:avLst/>
          </a:prstGeom>
        </p:spPr>
        <p:txBody>
          <a:bodyPr vert="horz" lIns="0" tIns="0" rIns="0" bIns="0" rtlCol="0" anchor="t" anchorCtr="0">
            <a:noAutofit/>
          </a:bodyPr>
          <a:lstStyle>
            <a:lvl1pPr algn="ctr">
              <a:defRPr sz="1067">
                <a:solidFill>
                  <a:schemeClr val="tx1">
                    <a:tint val="75000"/>
                  </a:schemeClr>
                </a:solidFill>
              </a:defRPr>
            </a:lvl1pPr>
          </a:lstStyle>
          <a:p>
            <a:fld id="{82F89014-7F8D-47C1-8D79-17A715C9D2BB}" type="slidenum">
              <a:rPr lang="nl-NL" smtClean="0"/>
              <a:pPr/>
              <a:t>‹#›</a:t>
            </a:fld>
            <a:endParaRPr lang="nl-NL"/>
          </a:p>
        </p:txBody>
      </p:sp>
    </p:spTree>
    <p:extLst>
      <p:ext uri="{BB962C8B-B14F-4D97-AF65-F5344CB8AC3E}">
        <p14:creationId xmlns:p14="http://schemas.microsoft.com/office/powerpoint/2010/main" val="3235806381"/>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43" r:id="rId16"/>
    <p:sldLayoutId id="2147483744" r:id="rId17"/>
    <p:sldLayoutId id="2147483745" r:id="rId18"/>
    <p:sldLayoutId id="2147483746" r:id="rId19"/>
    <p:sldLayoutId id="2147483747" r:id="rId20"/>
    <p:sldLayoutId id="2147483748" r:id="rId21"/>
    <p:sldLayoutId id="2147483749" r:id="rId22"/>
    <p:sldLayoutId id="2147483750" r:id="rId23"/>
    <p:sldLayoutId id="2147483751" r:id="rId24"/>
    <p:sldLayoutId id="2147483752" r:id="rId25"/>
    <p:sldLayoutId id="2147483753" r:id="rId26"/>
    <p:sldLayoutId id="2147483754" r:id="rId27"/>
    <p:sldLayoutId id="2147483755" r:id="rId28"/>
    <p:sldLayoutId id="2147483756" r:id="rId29"/>
    <p:sldLayoutId id="2147483757" r:id="rId30"/>
    <p:sldLayoutId id="2147483758" r:id="rId31"/>
    <p:sldLayoutId id="2147483759" r:id="rId32"/>
    <p:sldLayoutId id="2147483760" r:id="rId33"/>
    <p:sldLayoutId id="2147483761" r:id="rId34"/>
    <p:sldLayoutId id="2147483762" r:id="rId35"/>
    <p:sldLayoutId id="2147483763" r:id="rId36"/>
    <p:sldLayoutId id="2147483764" r:id="rId3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377" rtl="0" eaLnBrk="1" latinLnBrk="0" hangingPunct="1">
        <a:lnSpc>
          <a:spcPct val="100000"/>
        </a:lnSpc>
        <a:spcBef>
          <a:spcPct val="0"/>
        </a:spcBef>
        <a:buNone/>
        <a:defRPr sz="3200" kern="1200">
          <a:solidFill>
            <a:schemeClr val="tx1"/>
          </a:solidFill>
          <a:latin typeface="+mj-lt"/>
          <a:ea typeface="+mj-ea"/>
          <a:cs typeface="+mj-cs"/>
        </a:defRPr>
      </a:lvl1pPr>
    </p:titleStyle>
    <p:bodyStyle>
      <a:lvl1pPr marL="383990" indent="-383990" algn="l" defTabSz="914377" rtl="0" eaLnBrk="1" latinLnBrk="0" hangingPunct="1">
        <a:lnSpc>
          <a:spcPct val="100000"/>
        </a:lnSpc>
        <a:spcBef>
          <a:spcPts val="0"/>
        </a:spcBef>
        <a:spcAft>
          <a:spcPts val="800"/>
        </a:spcAft>
        <a:buClr>
          <a:srgbClr val="FF6C00"/>
        </a:buClr>
        <a:buFont typeface="Arial" panose="020B0604020202020204" pitchFamily="34" charset="0"/>
        <a:buChar char="•"/>
        <a:tabLst>
          <a:tab pos="355591" algn="l"/>
        </a:tabLst>
        <a:defRPr lang="nl-NL" sz="2400" kern="1200" dirty="0" smtClean="0">
          <a:solidFill>
            <a:schemeClr val="tx1"/>
          </a:solidFill>
          <a:latin typeface="+mn-lt"/>
          <a:ea typeface="+mn-ea"/>
          <a:cs typeface="+mn-cs"/>
        </a:defRPr>
      </a:lvl1pPr>
      <a:lvl2pPr marL="623984" indent="-239994" algn="l" defTabSz="914377" rtl="0" eaLnBrk="1" latinLnBrk="0" hangingPunct="1">
        <a:lnSpc>
          <a:spcPct val="100000"/>
        </a:lnSpc>
        <a:spcBef>
          <a:spcPts val="500"/>
        </a:spcBef>
        <a:spcAft>
          <a:spcPts val="800"/>
        </a:spcAft>
        <a:buClr>
          <a:srgbClr val="FF6C00"/>
        </a:buClr>
        <a:buFont typeface="Arial" panose="020B0604020202020204" pitchFamily="34" charset="0"/>
        <a:buChar char="−"/>
        <a:defRPr lang="nl-NL" sz="2133" kern="1200" dirty="0" smtClean="0">
          <a:solidFill>
            <a:schemeClr val="tx1"/>
          </a:solidFill>
          <a:latin typeface="+mn-lt"/>
          <a:ea typeface="+mn-ea"/>
          <a:cs typeface="+mn-cs"/>
        </a:defRPr>
      </a:lvl2pPr>
      <a:lvl3pPr marL="863978" indent="-239994" algn="l" defTabSz="914377" rtl="0" eaLnBrk="1" latinLnBrk="0" hangingPunct="1">
        <a:lnSpc>
          <a:spcPct val="100000"/>
        </a:lnSpc>
        <a:spcBef>
          <a:spcPts val="500"/>
        </a:spcBef>
        <a:spcAft>
          <a:spcPts val="800"/>
        </a:spcAft>
        <a:buClr>
          <a:srgbClr val="FF6C00"/>
        </a:buClr>
        <a:buFont typeface="Courier New" panose="02070309020205020404" pitchFamily="49" charset="0"/>
        <a:buChar char="o"/>
        <a:defRPr lang="nl-NL" sz="2133" kern="1200" dirty="0" smtClean="0">
          <a:solidFill>
            <a:schemeClr val="tx1"/>
          </a:solidFill>
          <a:latin typeface="+mn-lt"/>
          <a:ea typeface="+mn-ea"/>
          <a:cs typeface="+mn-cs"/>
        </a:defRPr>
      </a:lvl3pPr>
      <a:lvl4pPr marL="1103972" indent="-239994" algn="l" defTabSz="914377" rtl="0" eaLnBrk="1" latinLnBrk="0" hangingPunct="1">
        <a:lnSpc>
          <a:spcPct val="100000"/>
        </a:lnSpc>
        <a:spcBef>
          <a:spcPts val="500"/>
        </a:spcBef>
        <a:spcAft>
          <a:spcPts val="800"/>
        </a:spcAft>
        <a:buClr>
          <a:srgbClr val="FF6C00"/>
        </a:buClr>
        <a:buFont typeface="Courier New" panose="02070309020205020404" pitchFamily="49" charset="0"/>
        <a:buChar char="o"/>
        <a:defRPr lang="nl-NL" sz="2133" kern="1200" dirty="0" smtClean="0">
          <a:solidFill>
            <a:schemeClr val="tx1"/>
          </a:solidFill>
          <a:latin typeface="+mn-lt"/>
          <a:ea typeface="+mn-ea"/>
          <a:cs typeface="+mn-cs"/>
        </a:defRPr>
      </a:lvl4pPr>
      <a:lvl5pPr marL="1343966" indent="-239994" algn="l" defTabSz="914377" rtl="0" eaLnBrk="1" latinLnBrk="0" hangingPunct="1">
        <a:lnSpc>
          <a:spcPct val="100000"/>
        </a:lnSpc>
        <a:spcBef>
          <a:spcPts val="500"/>
        </a:spcBef>
        <a:spcAft>
          <a:spcPts val="800"/>
        </a:spcAft>
        <a:buClr>
          <a:srgbClr val="FF6C00"/>
        </a:buClr>
        <a:buFont typeface="Courier New" panose="02070309020205020404" pitchFamily="49" charset="0"/>
        <a:buChar char="o"/>
        <a:defRPr lang="de-DE" sz="2133" kern="1200" dirty="0">
          <a:solidFill>
            <a:schemeClr val="tx1"/>
          </a:solidFill>
          <a:latin typeface="+mn-lt"/>
          <a:ea typeface="+mn-ea"/>
          <a:cs typeface="+mn-cs"/>
        </a:defRPr>
      </a:lvl5pPr>
      <a:lvl6pPr marL="2412940" indent="-260344" algn="l" defTabSz="914377" rtl="0" eaLnBrk="1" latinLnBrk="0" hangingPunct="1">
        <a:lnSpc>
          <a:spcPct val="90000"/>
        </a:lnSpc>
        <a:spcBef>
          <a:spcPts val="500"/>
        </a:spcBef>
        <a:buClr>
          <a:srgbClr val="FF6C00"/>
        </a:buClr>
        <a:buFont typeface="Courier New" panose="02070309020205020404" pitchFamily="49" charset="0"/>
        <a:buChar char="o"/>
        <a:defRPr sz="1800" kern="1200">
          <a:solidFill>
            <a:schemeClr val="tx1"/>
          </a:solidFill>
          <a:latin typeface="+mn-lt"/>
          <a:ea typeface="+mn-ea"/>
          <a:cs typeface="+mn-cs"/>
        </a:defRPr>
      </a:lvl6pPr>
      <a:lvl7pPr marL="2749482" indent="-234945" algn="l" defTabSz="914377" rtl="0" eaLnBrk="1" latinLnBrk="0" hangingPunct="1">
        <a:lnSpc>
          <a:spcPct val="90000"/>
        </a:lnSpc>
        <a:spcBef>
          <a:spcPts val="500"/>
        </a:spcBef>
        <a:buClr>
          <a:srgbClr val="FF6C00"/>
        </a:buClr>
        <a:buFont typeface="Courier New" panose="02070309020205020404" pitchFamily="49" charset="0"/>
        <a:buChar char="o"/>
        <a:defRPr sz="1800" kern="1200">
          <a:solidFill>
            <a:schemeClr val="tx1"/>
          </a:solidFill>
          <a:latin typeface="+mn-lt"/>
          <a:ea typeface="+mn-ea"/>
          <a:cs typeface="+mn-cs"/>
        </a:defRPr>
      </a:lvl7pPr>
      <a:lvl8pPr marL="3111422" indent="-243411" algn="l" defTabSz="914377" rtl="0" eaLnBrk="1" latinLnBrk="0" hangingPunct="1">
        <a:lnSpc>
          <a:spcPct val="90000"/>
        </a:lnSpc>
        <a:spcBef>
          <a:spcPts val="500"/>
        </a:spcBef>
        <a:buClr>
          <a:srgbClr val="FF6C00"/>
        </a:buClr>
        <a:buFont typeface="Courier New" panose="02070309020205020404" pitchFamily="49" charset="0"/>
        <a:buChar char="o"/>
        <a:defRPr sz="1800" kern="1200">
          <a:solidFill>
            <a:schemeClr val="tx1"/>
          </a:solidFill>
          <a:latin typeface="+mn-lt"/>
          <a:ea typeface="+mn-ea"/>
          <a:cs typeface="+mn-cs"/>
        </a:defRPr>
      </a:lvl8pPr>
      <a:lvl9pPr marL="3464897" indent="-237061" algn="l" defTabSz="914377" rtl="0" eaLnBrk="1" latinLnBrk="0" hangingPunct="1">
        <a:lnSpc>
          <a:spcPct val="90000"/>
        </a:lnSpc>
        <a:spcBef>
          <a:spcPts val="500"/>
        </a:spcBef>
        <a:buClr>
          <a:srgbClr val="FF6C00"/>
        </a:buClr>
        <a:buFont typeface="Courier New" panose="02070309020205020404" pitchFamily="49" charset="0"/>
        <a:buChar char="o"/>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63">
          <p15:clr>
            <a:srgbClr val="F26B43"/>
          </p15:clr>
        </p15:guide>
        <p15:guide id="2" pos="2880">
          <p15:clr>
            <a:srgbClr val="F26B43"/>
          </p15:clr>
        </p15:guide>
        <p15:guide id="3" pos="2699">
          <p15:clr>
            <a:srgbClr val="F26B43"/>
          </p15:clr>
        </p15:guide>
        <p15:guide id="4" pos="3061">
          <p15:clr>
            <a:srgbClr val="F26B43"/>
          </p15:clr>
        </p15:guide>
        <p15:guide id="5" pos="5397">
          <p15:clr>
            <a:srgbClr val="F26B43"/>
          </p15:clr>
        </p15:guide>
        <p15:guide id="6" orient="horz" pos="526">
          <p15:clr>
            <a:srgbClr val="F26B43"/>
          </p15:clr>
        </p15:guide>
        <p15:guide id="9" orient="horz" pos="441">
          <p15:clr>
            <a:srgbClr val="F26B43"/>
          </p15:clr>
        </p15:guide>
        <p15:guide id="10" orient="horz" pos="123">
          <p15:clr>
            <a:srgbClr val="F26B43"/>
          </p15:clr>
        </p15:guide>
        <p15:guide id="11" orient="horz" pos="3003">
          <p15:clr>
            <a:srgbClr val="547EBF"/>
          </p15:clr>
        </p15:guide>
        <p15:guide id="12" pos="5647">
          <p15:clr>
            <a:srgbClr val="547EBF"/>
          </p15:clr>
        </p15:guide>
        <p15:guide id="13" orient="horz" pos="3185">
          <p15:clr>
            <a:srgbClr val="9FCC3B"/>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6D14BDE-CF2C-4F4F-BA5E-ABFDD7316E23}" type="datetimeFigureOut">
              <a:rPr lang="en-GB" smtClean="0"/>
              <a:t>23/10/2025</a:t>
            </a:fld>
            <a:endParaRPr lang="en-GB" dirty="0"/>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791FC90-5776-4435-B661-DD37C52ACFA9}" type="slidenum">
              <a:rPr lang="en-GB" smtClean="0"/>
              <a:t>‹#›</a:t>
            </a:fld>
            <a:endParaRPr lang="en-GB" dirty="0"/>
          </a:p>
        </p:txBody>
      </p:sp>
    </p:spTree>
    <p:extLst>
      <p:ext uri="{BB962C8B-B14F-4D97-AF65-F5344CB8AC3E}">
        <p14:creationId xmlns:p14="http://schemas.microsoft.com/office/powerpoint/2010/main" val="156602605"/>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 id="2147483774" r:id="rId8"/>
    <p:sldLayoutId id="2147483775" r:id="rId9"/>
    <p:sldLayoutId id="2147483776" r:id="rId10"/>
    <p:sldLayoutId id="2147483777" r:id="rId11"/>
    <p:sldLayoutId id="2147483778" r:id="rId12"/>
    <p:sldLayoutId id="2147483779" r:id="rId13"/>
    <p:sldLayoutId id="2147483780" r:id="rId14"/>
    <p:sldLayoutId id="2147483782" r:id="rId15"/>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D6581E0-7591-A492-E27C-951D4D282640}"/>
              </a:ext>
            </a:extLst>
          </p:cNvPr>
          <p:cNvGraphicFramePr>
            <a:graphicFrameLocks noChangeAspect="1"/>
          </p:cNvGraphicFramePr>
          <p:nvPr userDrawn="1">
            <p:custDataLst>
              <p:tags r:id="rId5"/>
            </p:custDataLst>
          </p:nvPr>
        </p:nvGraphicFramePr>
        <p:xfrm>
          <a:off x="2119" y="2120"/>
          <a:ext cx="2117" cy="2117"/>
        </p:xfrm>
        <a:graphic>
          <a:graphicData uri="http://schemas.openxmlformats.org/presentationml/2006/ole">
            <mc:AlternateContent xmlns:mc="http://schemas.openxmlformats.org/markup-compatibility/2006">
              <mc:Choice xmlns:v="urn:schemas-microsoft-com:vml" Requires="v">
                <p:oleObj name="think-cell Slide" r:id="rId6" imgW="346" imgH="346" progId="TCLayout.ActiveDocument.1">
                  <p:embed/>
                </p:oleObj>
              </mc:Choice>
              <mc:Fallback>
                <p:oleObj name="think-cell Slide" r:id="rId6" imgW="346" imgH="346" progId="TCLayout.ActiveDocument.1">
                  <p:embed/>
                  <p:pic>
                    <p:nvPicPr>
                      <p:cNvPr id="8" name="think-cell data - do not delete" hidden="1">
                        <a:extLst>
                          <a:ext uri="{FF2B5EF4-FFF2-40B4-BE49-F238E27FC236}">
                            <a16:creationId xmlns:a16="http://schemas.microsoft.com/office/drawing/2014/main" id="{0D6581E0-7591-A492-E27C-951D4D282640}"/>
                          </a:ext>
                        </a:extLst>
                      </p:cNvPr>
                      <p:cNvPicPr/>
                      <p:nvPr/>
                    </p:nvPicPr>
                    <p:blipFill>
                      <a:blip r:embed="rId7"/>
                      <a:stretch>
                        <a:fillRect/>
                      </a:stretch>
                    </p:blipFill>
                    <p:spPr>
                      <a:xfrm>
                        <a:off x="2119" y="2120"/>
                        <a:ext cx="2117" cy="211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38A3D4E-8104-24E5-8CEE-B6F84371F1D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178E140-47F8-7053-CF38-CEE08E699A06}"/>
              </a:ext>
            </a:extLst>
          </p:cNvPr>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0074364-B130-A299-705B-E6271320C281}"/>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EDA35C8-B697-4F6D-9E0C-D5E8F8499D32}" type="datetimeFigureOut">
              <a:rPr lang="en-US" smtClean="0"/>
              <a:t>10/23/2025</a:t>
            </a:fld>
            <a:endParaRPr lang="en-US" dirty="0"/>
          </a:p>
        </p:txBody>
      </p:sp>
      <p:sp>
        <p:nvSpPr>
          <p:cNvPr id="5" name="Footer Placeholder 4">
            <a:extLst>
              <a:ext uri="{FF2B5EF4-FFF2-40B4-BE49-F238E27FC236}">
                <a16:creationId xmlns:a16="http://schemas.microsoft.com/office/drawing/2014/main" id="{23CC77E4-DBA4-DE01-D8FB-6CA610CD5CE3}"/>
              </a:ext>
            </a:extLst>
          </p:cNvPr>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08DD0C1-C81D-7FAD-FE72-906A7392D6C9}"/>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F1ED8E1-B91E-4818-A9B4-3E6527FA3D2E}" type="slidenum">
              <a:rPr lang="en-US" smtClean="0"/>
              <a:t>‹#›</a:t>
            </a:fld>
            <a:endParaRPr lang="en-US" dirty="0"/>
          </a:p>
        </p:txBody>
      </p:sp>
    </p:spTree>
    <p:extLst>
      <p:ext uri="{BB962C8B-B14F-4D97-AF65-F5344CB8AC3E}">
        <p14:creationId xmlns:p14="http://schemas.microsoft.com/office/powerpoint/2010/main" val="3007592950"/>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Lst>
  <p:txStyles>
    <p:titleStyle>
      <a:lvl1pPr algn="l" defTabSz="914126"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33" indent="-228533" algn="l" defTabSz="914126"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594" indent="-228533" algn="l" defTabSz="914126"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657" indent="-228533" algn="l" defTabSz="91412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720" indent="-228533" algn="l" defTabSz="91412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783" indent="-228533" algn="l" defTabSz="91412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846" indent="-228533" algn="l" defTabSz="91412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910" indent="-228533" algn="l" defTabSz="91412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972" indent="-228533" algn="l" defTabSz="91412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034" indent="-228533" algn="l" defTabSz="91412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26" rtl="0" eaLnBrk="1" latinLnBrk="0" hangingPunct="1">
        <a:defRPr sz="1800" kern="1200">
          <a:solidFill>
            <a:schemeClr val="tx1"/>
          </a:solidFill>
          <a:latin typeface="+mn-lt"/>
          <a:ea typeface="+mn-ea"/>
          <a:cs typeface="+mn-cs"/>
        </a:defRPr>
      </a:lvl1pPr>
      <a:lvl2pPr marL="457063" algn="l" defTabSz="914126" rtl="0" eaLnBrk="1" latinLnBrk="0" hangingPunct="1">
        <a:defRPr sz="1800" kern="1200">
          <a:solidFill>
            <a:schemeClr val="tx1"/>
          </a:solidFill>
          <a:latin typeface="+mn-lt"/>
          <a:ea typeface="+mn-ea"/>
          <a:cs typeface="+mn-cs"/>
        </a:defRPr>
      </a:lvl2pPr>
      <a:lvl3pPr marL="914126" algn="l" defTabSz="914126" rtl="0" eaLnBrk="1" latinLnBrk="0" hangingPunct="1">
        <a:defRPr sz="1800" kern="1200">
          <a:solidFill>
            <a:schemeClr val="tx1"/>
          </a:solidFill>
          <a:latin typeface="+mn-lt"/>
          <a:ea typeface="+mn-ea"/>
          <a:cs typeface="+mn-cs"/>
        </a:defRPr>
      </a:lvl3pPr>
      <a:lvl4pPr marL="1371190" algn="l" defTabSz="914126" rtl="0" eaLnBrk="1" latinLnBrk="0" hangingPunct="1">
        <a:defRPr sz="1800" kern="1200">
          <a:solidFill>
            <a:schemeClr val="tx1"/>
          </a:solidFill>
          <a:latin typeface="+mn-lt"/>
          <a:ea typeface="+mn-ea"/>
          <a:cs typeface="+mn-cs"/>
        </a:defRPr>
      </a:lvl4pPr>
      <a:lvl5pPr marL="1828252" algn="l" defTabSz="914126" rtl="0" eaLnBrk="1" latinLnBrk="0" hangingPunct="1">
        <a:defRPr sz="1800" kern="1200">
          <a:solidFill>
            <a:schemeClr val="tx1"/>
          </a:solidFill>
          <a:latin typeface="+mn-lt"/>
          <a:ea typeface="+mn-ea"/>
          <a:cs typeface="+mn-cs"/>
        </a:defRPr>
      </a:lvl5pPr>
      <a:lvl6pPr marL="2285314" algn="l" defTabSz="914126" rtl="0" eaLnBrk="1" latinLnBrk="0" hangingPunct="1">
        <a:defRPr sz="1800" kern="1200">
          <a:solidFill>
            <a:schemeClr val="tx1"/>
          </a:solidFill>
          <a:latin typeface="+mn-lt"/>
          <a:ea typeface="+mn-ea"/>
          <a:cs typeface="+mn-cs"/>
        </a:defRPr>
      </a:lvl6pPr>
      <a:lvl7pPr marL="2742377" algn="l" defTabSz="914126" rtl="0" eaLnBrk="1" latinLnBrk="0" hangingPunct="1">
        <a:defRPr sz="1800" kern="1200">
          <a:solidFill>
            <a:schemeClr val="tx1"/>
          </a:solidFill>
          <a:latin typeface="+mn-lt"/>
          <a:ea typeface="+mn-ea"/>
          <a:cs typeface="+mn-cs"/>
        </a:defRPr>
      </a:lvl7pPr>
      <a:lvl8pPr marL="3199440" algn="l" defTabSz="914126" rtl="0" eaLnBrk="1" latinLnBrk="0" hangingPunct="1">
        <a:defRPr sz="1800" kern="1200">
          <a:solidFill>
            <a:schemeClr val="tx1"/>
          </a:solidFill>
          <a:latin typeface="+mn-lt"/>
          <a:ea typeface="+mn-ea"/>
          <a:cs typeface="+mn-cs"/>
        </a:defRPr>
      </a:lvl8pPr>
      <a:lvl9pPr marL="3656503" algn="l" defTabSz="914126"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D6581E0-7591-A492-E27C-951D4D282640}"/>
              </a:ext>
            </a:extLst>
          </p:cNvPr>
          <p:cNvGraphicFramePr>
            <a:graphicFrameLocks noChangeAspect="1"/>
          </p:cNvGraphicFramePr>
          <p:nvPr userDrawn="1">
            <p:custDataLst>
              <p:tags r:id="rId16"/>
            </p:custDataLst>
            <p:extLst>
              <p:ext uri="{D42A27DB-BD31-4B8C-83A1-F6EECF244321}">
                <p14:modId xmlns:p14="http://schemas.microsoft.com/office/powerpoint/2010/main" val="1380745232"/>
              </p:ext>
            </p:extLst>
          </p:nvPr>
        </p:nvGraphicFramePr>
        <p:xfrm>
          <a:off x="2119" y="2120"/>
          <a:ext cx="2117" cy="2117"/>
        </p:xfrm>
        <a:graphic>
          <a:graphicData uri="http://schemas.openxmlformats.org/presentationml/2006/ole">
            <mc:AlternateContent xmlns:mc="http://schemas.openxmlformats.org/markup-compatibility/2006">
              <mc:Choice xmlns:v="urn:schemas-microsoft-com:vml" Requires="v">
                <p:oleObj name="think-cell Slide" r:id="rId17" imgW="346" imgH="346" progId="TCLayout.ActiveDocument.1">
                  <p:embed/>
                </p:oleObj>
              </mc:Choice>
              <mc:Fallback>
                <p:oleObj name="think-cell Slide" r:id="rId17" imgW="346" imgH="346" progId="TCLayout.ActiveDocument.1">
                  <p:embed/>
                  <p:pic>
                    <p:nvPicPr>
                      <p:cNvPr id="8" name="think-cell data - do not delete" hidden="1">
                        <a:extLst>
                          <a:ext uri="{FF2B5EF4-FFF2-40B4-BE49-F238E27FC236}">
                            <a16:creationId xmlns:a16="http://schemas.microsoft.com/office/drawing/2014/main" id="{0D6581E0-7591-A492-E27C-951D4D282640}"/>
                          </a:ext>
                        </a:extLst>
                      </p:cNvPr>
                      <p:cNvPicPr/>
                      <p:nvPr/>
                    </p:nvPicPr>
                    <p:blipFill>
                      <a:blip r:embed="rId18"/>
                      <a:stretch>
                        <a:fillRect/>
                      </a:stretch>
                    </p:blipFill>
                    <p:spPr>
                      <a:xfrm>
                        <a:off x="2119" y="2120"/>
                        <a:ext cx="2117" cy="211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38A3D4E-8104-24E5-8CEE-B6F84371F1D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178E140-47F8-7053-CF38-CEE08E699A06}"/>
              </a:ext>
            </a:extLst>
          </p:cNvPr>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0074364-B130-A299-705B-E6271320C281}"/>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EDA35C8-B697-4F6D-9E0C-D5E8F8499D32}" type="datetimeFigureOut">
              <a:rPr lang="en-US" smtClean="0"/>
              <a:t>10/23/2025</a:t>
            </a:fld>
            <a:endParaRPr lang="en-US" dirty="0"/>
          </a:p>
        </p:txBody>
      </p:sp>
      <p:sp>
        <p:nvSpPr>
          <p:cNvPr id="5" name="Footer Placeholder 4">
            <a:extLst>
              <a:ext uri="{FF2B5EF4-FFF2-40B4-BE49-F238E27FC236}">
                <a16:creationId xmlns:a16="http://schemas.microsoft.com/office/drawing/2014/main" id="{23CC77E4-DBA4-DE01-D8FB-6CA610CD5CE3}"/>
              </a:ext>
            </a:extLst>
          </p:cNvPr>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08DD0C1-C81D-7FAD-FE72-906A7392D6C9}"/>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F1ED8E1-B91E-4818-A9B4-3E6527FA3D2E}" type="slidenum">
              <a:rPr lang="en-US" smtClean="0"/>
              <a:t>‹#›</a:t>
            </a:fld>
            <a:endParaRPr lang="en-US" dirty="0"/>
          </a:p>
        </p:txBody>
      </p:sp>
    </p:spTree>
    <p:extLst>
      <p:ext uri="{BB962C8B-B14F-4D97-AF65-F5344CB8AC3E}">
        <p14:creationId xmlns:p14="http://schemas.microsoft.com/office/powerpoint/2010/main" val="727583422"/>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 id="2147483800" r:id="rId12"/>
    <p:sldLayoutId id="2147483801" r:id="rId13"/>
    <p:sldLayoutId id="2147483802" r:id="rId14"/>
  </p:sldLayoutIdLst>
  <p:txStyles>
    <p:titleStyle>
      <a:lvl1pPr algn="l" defTabSz="914126"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33" indent="-228533" algn="l" defTabSz="914126"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594" indent="-228533" algn="l" defTabSz="914126"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657" indent="-228533" algn="l" defTabSz="91412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720" indent="-228533" algn="l" defTabSz="91412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783" indent="-228533" algn="l" defTabSz="91412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846" indent="-228533" algn="l" defTabSz="91412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910" indent="-228533" algn="l" defTabSz="91412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972" indent="-228533" algn="l" defTabSz="91412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034" indent="-228533" algn="l" defTabSz="91412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26" rtl="0" eaLnBrk="1" latinLnBrk="0" hangingPunct="1">
        <a:defRPr sz="1800" kern="1200">
          <a:solidFill>
            <a:schemeClr val="tx1"/>
          </a:solidFill>
          <a:latin typeface="+mn-lt"/>
          <a:ea typeface="+mn-ea"/>
          <a:cs typeface="+mn-cs"/>
        </a:defRPr>
      </a:lvl1pPr>
      <a:lvl2pPr marL="457063" algn="l" defTabSz="914126" rtl="0" eaLnBrk="1" latinLnBrk="0" hangingPunct="1">
        <a:defRPr sz="1800" kern="1200">
          <a:solidFill>
            <a:schemeClr val="tx1"/>
          </a:solidFill>
          <a:latin typeface="+mn-lt"/>
          <a:ea typeface="+mn-ea"/>
          <a:cs typeface="+mn-cs"/>
        </a:defRPr>
      </a:lvl2pPr>
      <a:lvl3pPr marL="914126" algn="l" defTabSz="914126" rtl="0" eaLnBrk="1" latinLnBrk="0" hangingPunct="1">
        <a:defRPr sz="1800" kern="1200">
          <a:solidFill>
            <a:schemeClr val="tx1"/>
          </a:solidFill>
          <a:latin typeface="+mn-lt"/>
          <a:ea typeface="+mn-ea"/>
          <a:cs typeface="+mn-cs"/>
        </a:defRPr>
      </a:lvl3pPr>
      <a:lvl4pPr marL="1371190" algn="l" defTabSz="914126" rtl="0" eaLnBrk="1" latinLnBrk="0" hangingPunct="1">
        <a:defRPr sz="1800" kern="1200">
          <a:solidFill>
            <a:schemeClr val="tx1"/>
          </a:solidFill>
          <a:latin typeface="+mn-lt"/>
          <a:ea typeface="+mn-ea"/>
          <a:cs typeface="+mn-cs"/>
        </a:defRPr>
      </a:lvl4pPr>
      <a:lvl5pPr marL="1828252" algn="l" defTabSz="914126" rtl="0" eaLnBrk="1" latinLnBrk="0" hangingPunct="1">
        <a:defRPr sz="1800" kern="1200">
          <a:solidFill>
            <a:schemeClr val="tx1"/>
          </a:solidFill>
          <a:latin typeface="+mn-lt"/>
          <a:ea typeface="+mn-ea"/>
          <a:cs typeface="+mn-cs"/>
        </a:defRPr>
      </a:lvl5pPr>
      <a:lvl6pPr marL="2285314" algn="l" defTabSz="914126" rtl="0" eaLnBrk="1" latinLnBrk="0" hangingPunct="1">
        <a:defRPr sz="1800" kern="1200">
          <a:solidFill>
            <a:schemeClr val="tx1"/>
          </a:solidFill>
          <a:latin typeface="+mn-lt"/>
          <a:ea typeface="+mn-ea"/>
          <a:cs typeface="+mn-cs"/>
        </a:defRPr>
      </a:lvl6pPr>
      <a:lvl7pPr marL="2742377" algn="l" defTabSz="914126" rtl="0" eaLnBrk="1" latinLnBrk="0" hangingPunct="1">
        <a:defRPr sz="1800" kern="1200">
          <a:solidFill>
            <a:schemeClr val="tx1"/>
          </a:solidFill>
          <a:latin typeface="+mn-lt"/>
          <a:ea typeface="+mn-ea"/>
          <a:cs typeface="+mn-cs"/>
        </a:defRPr>
      </a:lvl7pPr>
      <a:lvl8pPr marL="3199440" algn="l" defTabSz="914126" rtl="0" eaLnBrk="1" latinLnBrk="0" hangingPunct="1">
        <a:defRPr sz="1800" kern="1200">
          <a:solidFill>
            <a:schemeClr val="tx1"/>
          </a:solidFill>
          <a:latin typeface="+mn-lt"/>
          <a:ea typeface="+mn-ea"/>
          <a:cs typeface="+mn-cs"/>
        </a:defRPr>
      </a:lvl8pPr>
      <a:lvl9pPr marL="3656503" algn="l" defTabSz="914126"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conference2025.dntb.gov.ua/en/" TargetMode="External"/><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0.xml"/><Relationship Id="rId1" Type="http://schemas.openxmlformats.org/officeDocument/2006/relationships/slideLayout" Target="../slideLayouts/slideLayout110.xml"/></Relationships>
</file>

<file path=ppt/slides/_rels/slide11.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11.xml"/><Relationship Id="rId1" Type="http://schemas.openxmlformats.org/officeDocument/2006/relationships/slideLayout" Target="../slideLayouts/slideLayout124.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52.xml"/><Relationship Id="rId1" Type="http://schemas.openxmlformats.org/officeDocument/2006/relationships/tags" Target="../tags/tag6.xml"/><Relationship Id="rId4" Type="http://schemas.openxmlformats.org/officeDocument/2006/relationships/image" Target="../media/image31.tmp"/></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2.xml"/></Relationships>
</file>

<file path=ppt/slides/_rels/slide14.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4.xml"/><Relationship Id="rId1" Type="http://schemas.openxmlformats.org/officeDocument/2006/relationships/slideLayout" Target="../slideLayouts/slideLayout12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2.xml"/></Relationships>
</file>

<file path=ppt/slides/_rels/slide16.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6.xml"/><Relationship Id="rId1" Type="http://schemas.openxmlformats.org/officeDocument/2006/relationships/slideLayout" Target="../slideLayouts/slideLayout52.xml"/></Relationships>
</file>

<file path=ppt/slides/_rels/slide17.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2.svg"/><Relationship Id="rId3" Type="http://schemas.openxmlformats.org/officeDocument/2006/relationships/hyperlink" Target="https://researcheracademy.elsevier.com/" TargetMode="External"/><Relationship Id="rId7" Type="http://schemas.openxmlformats.org/officeDocument/2006/relationships/image" Target="../media/image36.svg"/><Relationship Id="rId12" Type="http://schemas.openxmlformats.org/officeDocument/2006/relationships/image" Target="../media/image41.png"/><Relationship Id="rId2" Type="http://schemas.openxmlformats.org/officeDocument/2006/relationships/notesSlide" Target="../notesSlides/notesSlide17.xml"/><Relationship Id="rId1" Type="http://schemas.openxmlformats.org/officeDocument/2006/relationships/slideLayout" Target="../slideLayouts/slideLayout52.xml"/><Relationship Id="rId6" Type="http://schemas.openxmlformats.org/officeDocument/2006/relationships/image" Target="../media/image35.png"/><Relationship Id="rId11" Type="http://schemas.openxmlformats.org/officeDocument/2006/relationships/image" Target="../media/image40.svg"/><Relationship Id="rId5" Type="http://schemas.openxmlformats.org/officeDocument/2006/relationships/image" Target="../media/image34.svg"/><Relationship Id="rId15" Type="http://schemas.openxmlformats.org/officeDocument/2006/relationships/image" Target="../media/image44.svg"/><Relationship Id="rId10" Type="http://schemas.openxmlformats.org/officeDocument/2006/relationships/image" Target="../media/image39.png"/><Relationship Id="rId4" Type="http://schemas.openxmlformats.org/officeDocument/2006/relationships/image" Target="../media/image33.png"/><Relationship Id="rId9" Type="http://schemas.openxmlformats.org/officeDocument/2006/relationships/image" Target="../media/image38.svg"/><Relationship Id="rId14" Type="http://schemas.openxmlformats.org/officeDocument/2006/relationships/image" Target="../media/image43.png"/></Relationships>
</file>

<file path=ppt/slides/_rels/slide1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8.xml"/><Relationship Id="rId1" Type="http://schemas.openxmlformats.org/officeDocument/2006/relationships/slideLayout" Target="../slideLayouts/slideLayout75.xml"/></Relationships>
</file>

<file path=ppt/slides/_rels/slide19.xml.rels><?xml version="1.0" encoding="UTF-8" standalone="yes"?>
<Relationships xmlns="http://schemas.openxmlformats.org/package/2006/relationships"><Relationship Id="rId3" Type="http://schemas.openxmlformats.org/officeDocument/2006/relationships/image" Target="../media/image46.tmp"/><Relationship Id="rId2" Type="http://schemas.openxmlformats.org/officeDocument/2006/relationships/notesSlide" Target="../notesSlides/notesSlide19.xml"/><Relationship Id="rId1" Type="http://schemas.openxmlformats.org/officeDocument/2006/relationships/slideLayout" Target="../slideLayouts/slideLayout52.xml"/><Relationship Id="rId4" Type="http://schemas.openxmlformats.org/officeDocument/2006/relationships/image" Target="../media/image47.tmp"/></Relationships>
</file>

<file path=ppt/slides/_rels/slide2.xml.rels><?xml version="1.0" encoding="UTF-8" standalone="yes"?>
<Relationships xmlns="http://schemas.openxmlformats.org/package/2006/relationships"><Relationship Id="rId3" Type="http://schemas.openxmlformats.org/officeDocument/2006/relationships/image" Target="../media/image18.tmp"/><Relationship Id="rId2" Type="http://schemas.openxmlformats.org/officeDocument/2006/relationships/notesSlide" Target="../notesSlides/notesSlide2.xml"/><Relationship Id="rId1" Type="http://schemas.openxmlformats.org/officeDocument/2006/relationships/slideLayout" Target="../slideLayouts/slideLayout26.xml"/><Relationship Id="rId5" Type="http://schemas.microsoft.com/office/2007/relationships/hdphoto" Target="../media/hdphoto1.wdp"/><Relationship Id="rId4" Type="http://schemas.openxmlformats.org/officeDocument/2006/relationships/image" Target="../media/image19.png"/></Relationships>
</file>

<file path=ppt/slides/_rels/slide20.xml.rels><?xml version="1.0" encoding="UTF-8" standalone="yes"?>
<Relationships xmlns="http://schemas.openxmlformats.org/package/2006/relationships"><Relationship Id="rId3" Type="http://schemas.openxmlformats.org/officeDocument/2006/relationships/hyperlink" Target="https://apastyle.apa.org/" TargetMode="External"/><Relationship Id="rId2" Type="http://schemas.openxmlformats.org/officeDocument/2006/relationships/hyperlink" Target="https://www.chicagomanualofstyle.org/home.html" TargetMode="External"/><Relationship Id="rId1" Type="http://schemas.openxmlformats.org/officeDocument/2006/relationships/slideLayout" Target="../slideLayouts/slideLayout53.xml"/><Relationship Id="rId4" Type="http://schemas.openxmlformats.org/officeDocument/2006/relationships/image" Target="../media/image48.png"/></Relationships>
</file>

<file path=ppt/slides/_rels/slide21.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53.xml"/></Relationships>
</file>

<file path=ppt/slides/_rels/slide22.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20.xml"/><Relationship Id="rId1" Type="http://schemas.openxmlformats.org/officeDocument/2006/relationships/slideLayout" Target="../slideLayouts/slideLayout124.xml"/></Relationships>
</file>

<file path=ppt/slides/_rels/slide2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1.xml"/><Relationship Id="rId1" Type="http://schemas.openxmlformats.org/officeDocument/2006/relationships/slideLayout" Target="../slideLayouts/slideLayout52.xml"/></Relationships>
</file>

<file path=ppt/slides/_rels/slide2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hyperlink" Target="https://www.elsevier.com/researcher/author/policies-and-guidelines/credit-author-statement" TargetMode="External"/><Relationship Id="rId1" Type="http://schemas.openxmlformats.org/officeDocument/2006/relationships/slideLayout" Target="../slideLayouts/slideLayout52.xml"/><Relationship Id="rId4" Type="http://schemas.openxmlformats.org/officeDocument/2006/relationships/image" Target="../media/image53.tmp"/></Relationships>
</file>

<file path=ppt/slides/_rels/slide25.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52.xml"/></Relationships>
</file>

<file path=ppt/slides/_rels/slide26.xml.rels><?xml version="1.0" encoding="UTF-8" standalone="yes"?>
<Relationships xmlns="http://schemas.openxmlformats.org/package/2006/relationships"><Relationship Id="rId2" Type="http://schemas.openxmlformats.org/officeDocument/2006/relationships/image" Target="../media/image55.tmp"/><Relationship Id="rId1" Type="http://schemas.openxmlformats.org/officeDocument/2006/relationships/slideLayout" Target="../slideLayouts/slideLayout52.xml"/></Relationships>
</file>

<file path=ppt/slides/_rels/slide2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2.xml"/><Relationship Id="rId1" Type="http://schemas.openxmlformats.org/officeDocument/2006/relationships/slideLayout" Target="../slideLayouts/slideLayout124.xml"/><Relationship Id="rId4" Type="http://schemas.openxmlformats.org/officeDocument/2006/relationships/image" Target="../media/image57.jpe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3.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53.xml"/><Relationship Id="rId1" Type="http://schemas.openxmlformats.org/officeDocument/2006/relationships/tags" Target="../tags/tag7.xml"/><Relationship Id="rId4" Type="http://schemas.openxmlformats.org/officeDocument/2006/relationships/image" Target="../media/image58.png"/></Relationships>
</file>

<file path=ppt/slides/_rels/slide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3.xml"/><Relationship Id="rId1" Type="http://schemas.openxmlformats.org/officeDocument/2006/relationships/slideLayout" Target="../slideLayouts/slideLayout21.xml"/></Relationships>
</file>

<file path=ppt/slides/_rels/slide3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5.xml"/><Relationship Id="rId1" Type="http://schemas.openxmlformats.org/officeDocument/2006/relationships/slideLayout" Target="../slideLayouts/slideLayout124.xml"/><Relationship Id="rId4" Type="http://schemas.openxmlformats.org/officeDocument/2006/relationships/image" Target="../media/image59.jp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5.xml"/><Relationship Id="rId1" Type="http://schemas.openxmlformats.org/officeDocument/2006/relationships/tags" Target="../tags/tag8.xml"/></Relationships>
</file>

<file path=ppt/slides/_rels/slide32.xml.rels><?xml version="1.0" encoding="UTF-8" standalone="yes"?>
<Relationships xmlns="http://schemas.openxmlformats.org/package/2006/relationships"><Relationship Id="rId3" Type="http://schemas.openxmlformats.org/officeDocument/2006/relationships/hyperlink" Target="https://researcheracademy.elsevier.com/publication-process/ethics/plagiarism-avoid" TargetMode="External"/><Relationship Id="rId2" Type="http://schemas.openxmlformats.org/officeDocument/2006/relationships/notesSlide" Target="../notesSlides/notesSlide27.xml"/><Relationship Id="rId1" Type="http://schemas.openxmlformats.org/officeDocument/2006/relationships/slideLayout" Target="../slideLayouts/slideLayout127.xml"/><Relationship Id="rId5" Type="http://schemas.openxmlformats.org/officeDocument/2006/relationships/hyperlink" Target="https://apastyle.apa.org/instructional-aids/avoiding-plagiarism.pdf" TargetMode="External"/><Relationship Id="rId4" Type="http://schemas.openxmlformats.org/officeDocument/2006/relationships/hyperlink" Target="https://www.elsevier.com/connect/7-ways-to-avoid-academic-plagiarism"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60.tmp"/><Relationship Id="rId2" Type="http://schemas.openxmlformats.org/officeDocument/2006/relationships/notesSlide" Target="../notesSlides/notesSlide28.xml"/><Relationship Id="rId1" Type="http://schemas.openxmlformats.org/officeDocument/2006/relationships/slideLayout" Target="../slideLayouts/slideLayout127.xml"/><Relationship Id="rId5" Type="http://schemas.microsoft.com/office/2007/relationships/hdphoto" Target="../media/hdphoto1.wdp"/><Relationship Id="rId4" Type="http://schemas.openxmlformats.org/officeDocument/2006/relationships/image" Target="../media/image19.png"/></Relationships>
</file>

<file path=ppt/slides/_rels/slide3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9.xml"/><Relationship Id="rId1" Type="http://schemas.openxmlformats.org/officeDocument/2006/relationships/slideLayout" Target="../slideLayouts/slideLayout142.xml"/></Relationships>
</file>

<file path=ppt/slides/_rels/slide3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0.xml"/><Relationship Id="rId1" Type="http://schemas.openxmlformats.org/officeDocument/2006/relationships/slideLayout" Target="../slideLayouts/slideLayout128.xml"/></Relationships>
</file>

<file path=ppt/slides/_rels/slide3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1.xml"/><Relationship Id="rId1" Type="http://schemas.openxmlformats.org/officeDocument/2006/relationships/slideLayout" Target="../slideLayouts/slideLayout128.xml"/><Relationship Id="rId4" Type="http://schemas.openxmlformats.org/officeDocument/2006/relationships/hyperlink" Target="https://www.elsevier.com/about/policies-and-standards/responsible-ai-principlesElsevier"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2.xml"/><Relationship Id="rId1" Type="http://schemas.openxmlformats.org/officeDocument/2006/relationships/slideLayout" Target="../slideLayouts/slideLayout124.xml"/><Relationship Id="rId4" Type="http://schemas.openxmlformats.org/officeDocument/2006/relationships/image" Target="../media/image64.jpg"/></Relationships>
</file>

<file path=ppt/slides/_rels/slide3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3.xml"/><Relationship Id="rId1" Type="http://schemas.openxmlformats.org/officeDocument/2006/relationships/slideLayout" Target="../slideLayouts/slideLayout119.xml"/></Relationships>
</file>

<file path=ppt/slides/_rels/slide3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4.xml"/><Relationship Id="rId1" Type="http://schemas.openxmlformats.org/officeDocument/2006/relationships/slideLayout" Target="../slideLayouts/slideLayout46.xml"/></Relationships>
</file>

<file path=ppt/slides/_rels/slide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124.xml"/><Relationship Id="rId4" Type="http://schemas.openxmlformats.org/officeDocument/2006/relationships/image" Target="../media/image22.jpeg"/></Relationships>
</file>

<file path=ppt/slides/_rels/slide4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5.xml"/><Relationship Id="rId1" Type="http://schemas.openxmlformats.org/officeDocument/2006/relationships/slideLayout" Target="../slideLayouts/slideLayout119.xml"/><Relationship Id="rId4" Type="http://schemas.openxmlformats.org/officeDocument/2006/relationships/image" Target="../media/image56.png"/></Relationships>
</file>

<file path=ppt/slides/_rels/slide4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6.xml"/><Relationship Id="rId1" Type="http://schemas.openxmlformats.org/officeDocument/2006/relationships/slideLayout" Target="../slideLayouts/slideLayout126.xml"/><Relationship Id="rId5" Type="http://schemas.openxmlformats.org/officeDocument/2006/relationships/image" Target="../media/image67.png"/><Relationship Id="rId4" Type="http://schemas.openxmlformats.org/officeDocument/2006/relationships/image" Target="../media/image66.png"/></Relationships>
</file>

<file path=ppt/slides/_rels/slide42.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37.xml"/><Relationship Id="rId1" Type="http://schemas.openxmlformats.org/officeDocument/2006/relationships/slideLayout" Target="../slideLayouts/slideLayout114.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6.xml"/></Relationships>
</file>

<file path=ppt/slides/_rels/slide45.xml.rels><?xml version="1.0" encoding="UTF-8" standalone="yes"?>
<Relationships xmlns="http://schemas.openxmlformats.org/package/2006/relationships"><Relationship Id="rId3" Type="http://schemas.openxmlformats.org/officeDocument/2006/relationships/image" Target="../media/image69.tmp"/><Relationship Id="rId2" Type="http://schemas.openxmlformats.org/officeDocument/2006/relationships/notesSlide" Target="../notesSlides/notesSlide40.xml"/><Relationship Id="rId1" Type="http://schemas.openxmlformats.org/officeDocument/2006/relationships/slideLayout" Target="../slideLayouts/slideLayout6.xml"/><Relationship Id="rId4" Type="http://schemas.openxmlformats.org/officeDocument/2006/relationships/hyperlink" Target="https://www.elsevier.com/hubs/central-and-eastern-europe-customer-hub/ukraine"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70.tmp"/><Relationship Id="rId2" Type="http://schemas.openxmlformats.org/officeDocument/2006/relationships/notesSlide" Target="../notesSlides/notesSlide41.xml"/><Relationship Id="rId1" Type="http://schemas.openxmlformats.org/officeDocument/2006/relationships/slideLayout" Target="../slideLayouts/slideLayout6.xml"/><Relationship Id="rId6" Type="http://schemas.openxmlformats.org/officeDocument/2006/relationships/hyperlink" Target="https://researcheracademy.elsevier.com/writing-research/fundamentals-manuscript-preparation" TargetMode="External"/><Relationship Id="rId5" Type="http://schemas.openxmlformats.org/officeDocument/2006/relationships/hyperlink" Target="https://researcheracademy.elsevier.com/publication-process/finding-right-journal" TargetMode="External"/><Relationship Id="rId4" Type="http://schemas.openxmlformats.org/officeDocument/2006/relationships/hyperlink" Target="https://researcheracademy.elsevier.com/writing-research/writing-skills" TargetMode="External"/></Relationships>
</file>

<file path=ppt/slides/_rels/slide47.xml.rels><?xml version="1.0" encoding="UTF-8" standalone="yes"?>
<Relationships xmlns="http://schemas.openxmlformats.org/package/2006/relationships"><Relationship Id="rId3" Type="http://schemas.openxmlformats.org/officeDocument/2006/relationships/hyperlink" Target="https://researcheracademy.elsevier.com/navigating-peer-review/going-peer-review" TargetMode="External"/><Relationship Id="rId2" Type="http://schemas.openxmlformats.org/officeDocument/2006/relationships/notesSlide" Target="../notesSlides/notesSlide42.xml"/><Relationship Id="rId1" Type="http://schemas.openxmlformats.org/officeDocument/2006/relationships/slideLayout" Target="../slideLayouts/slideLayout74.xml"/><Relationship Id="rId5" Type="http://schemas.openxmlformats.org/officeDocument/2006/relationships/image" Target="../media/image72.png"/><Relationship Id="rId4" Type="http://schemas.openxmlformats.org/officeDocument/2006/relationships/image" Target="../media/image71.png"/></Relationships>
</file>

<file path=ppt/slides/_rels/slide48.xml.rels><?xml version="1.0" encoding="UTF-8" standalone="yes"?>
<Relationships xmlns="http://schemas.openxmlformats.org/package/2006/relationships"><Relationship Id="rId3" Type="http://schemas.openxmlformats.org/officeDocument/2006/relationships/hyperlink" Target="https://reviewerhub.elsevier.com/Reviewer/volunteer/journal" TargetMode="External"/><Relationship Id="rId2" Type="http://schemas.openxmlformats.org/officeDocument/2006/relationships/notesSlide" Target="../notesSlides/notesSlide43.xml"/><Relationship Id="rId1" Type="http://schemas.openxmlformats.org/officeDocument/2006/relationships/slideLayout" Target="../slideLayouts/slideLayout74.xml"/><Relationship Id="rId4" Type="http://schemas.openxmlformats.org/officeDocument/2006/relationships/image" Target="../media/image73.tmp"/></Relationships>
</file>

<file path=ppt/slides/_rels/slide49.xml.rels><?xml version="1.0" encoding="UTF-8" standalone="yes"?>
<Relationships xmlns="http://schemas.openxmlformats.org/package/2006/relationships"><Relationship Id="rId3" Type="http://schemas.openxmlformats.org/officeDocument/2006/relationships/image" Target="../media/image74.tmp"/><Relationship Id="rId2" Type="http://schemas.openxmlformats.org/officeDocument/2006/relationships/notesSlide" Target="../notesSlides/notesSlide44.xml"/><Relationship Id="rId1" Type="http://schemas.openxmlformats.org/officeDocument/2006/relationships/slideLayout" Target="../slideLayouts/slideLayout4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9.xml"/></Relationships>
</file>

<file path=ppt/slides/_rels/slide6.xml.rels><?xml version="1.0" encoding="UTF-8" standalone="yes"?>
<Relationships xmlns="http://schemas.openxmlformats.org/package/2006/relationships"><Relationship Id="rId3" Type="http://schemas.openxmlformats.org/officeDocument/2006/relationships/hyperlink" Target="https://www.elsevier.com/about/policies-and-standards/pricing/gpoa-journals-list" TargetMode="External"/><Relationship Id="rId2" Type="http://schemas.openxmlformats.org/officeDocument/2006/relationships/notesSlide" Target="../notesSlides/notesSlide6.xml"/><Relationship Id="rId1" Type="http://schemas.openxmlformats.org/officeDocument/2006/relationships/slideLayout" Target="../slideLayouts/slideLayout109.xml"/></Relationships>
</file>

<file path=ppt/slides/_rels/slide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7.xml"/><Relationship Id="rId1" Type="http://schemas.openxmlformats.org/officeDocument/2006/relationships/slideLayout" Target="../slideLayouts/slideLayout109.xml"/></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8.xml"/><Relationship Id="rId1" Type="http://schemas.openxmlformats.org/officeDocument/2006/relationships/slideLayout" Target="../slideLayouts/slideLayout109.xml"/></Relationships>
</file>

<file path=ppt/slides/_rels/slide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9.xml"/><Relationship Id="rId1" Type="http://schemas.openxmlformats.org/officeDocument/2006/relationships/slideLayout" Target="../slideLayouts/slideLayout109.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6FD8347-4804-47F1-98FB-1E11456E58E5}"/>
              </a:ext>
            </a:extLst>
          </p:cNvPr>
          <p:cNvSpPr>
            <a:spLocks noGrp="1"/>
          </p:cNvSpPr>
          <p:nvPr>
            <p:ph type="body" sz="quarter" idx="14"/>
          </p:nvPr>
        </p:nvSpPr>
        <p:spPr>
          <a:xfrm>
            <a:off x="768351" y="4442428"/>
            <a:ext cx="6816945" cy="653335"/>
          </a:xfrm>
        </p:spPr>
        <p:txBody>
          <a:bodyPr>
            <a:normAutofit/>
          </a:bodyPr>
          <a:lstStyle/>
          <a:p>
            <a:r>
              <a:rPr lang="en-GB" sz="1600" dirty="0">
                <a:solidFill>
                  <a:schemeClr val="accent2"/>
                </a:solidFill>
                <a:latin typeface="Georgia" panose="02040502050405020303" pitchFamily="18" charset="0"/>
              </a:rPr>
              <a:t>Kyiv, Ukraine – Hanover, Germany (online)</a:t>
            </a:r>
          </a:p>
          <a:p>
            <a:r>
              <a:rPr lang="en-GB" sz="1600" dirty="0">
                <a:solidFill>
                  <a:schemeClr val="accent2"/>
                </a:solidFill>
                <a:latin typeface="Georgia" panose="02040502050405020303" pitchFamily="18" charset="0"/>
              </a:rPr>
              <a:t>Thursday 23</a:t>
            </a:r>
            <a:r>
              <a:rPr lang="en-GB" sz="1600" baseline="30000" dirty="0">
                <a:solidFill>
                  <a:schemeClr val="accent2"/>
                </a:solidFill>
                <a:latin typeface="Georgia" panose="02040502050405020303" pitchFamily="18" charset="0"/>
              </a:rPr>
              <a:t>rd</a:t>
            </a:r>
            <a:r>
              <a:rPr lang="en-GB" sz="1600" dirty="0">
                <a:solidFill>
                  <a:schemeClr val="accent2"/>
                </a:solidFill>
                <a:latin typeface="Georgia" panose="02040502050405020303" pitchFamily="18" charset="0"/>
              </a:rPr>
              <a:t> October 2025</a:t>
            </a:r>
          </a:p>
        </p:txBody>
      </p:sp>
      <p:sp>
        <p:nvSpPr>
          <p:cNvPr id="2" name="Title 1">
            <a:extLst>
              <a:ext uri="{FF2B5EF4-FFF2-40B4-BE49-F238E27FC236}">
                <a16:creationId xmlns:a16="http://schemas.microsoft.com/office/drawing/2014/main" id="{A546164F-14D7-4C97-AFFF-0E08E038243D}"/>
              </a:ext>
            </a:extLst>
          </p:cNvPr>
          <p:cNvSpPr>
            <a:spLocks noGrp="1"/>
          </p:cNvSpPr>
          <p:nvPr>
            <p:ph type="ctrTitle"/>
          </p:nvPr>
        </p:nvSpPr>
        <p:spPr>
          <a:xfrm>
            <a:off x="768352" y="495628"/>
            <a:ext cx="6816945" cy="2933372"/>
          </a:xfrm>
        </p:spPr>
        <p:txBody>
          <a:bodyPr>
            <a:noAutofit/>
          </a:bodyPr>
          <a:lstStyle/>
          <a:p>
            <a:r>
              <a:rPr lang="en-GB" sz="4400" dirty="0">
                <a:latin typeface="Georgia" panose="02040502050405020303" pitchFamily="18" charset="0"/>
                <a:cs typeface="Arial" panose="020B0604020202020204" pitchFamily="34" charset="0"/>
              </a:rPr>
              <a:t>Submitting to a Gold Open Access Journal at Elsevier: </a:t>
            </a:r>
            <a:br>
              <a:rPr lang="en-GB" sz="2400" dirty="0">
                <a:latin typeface="Georgia" panose="02040502050405020303" pitchFamily="18" charset="0"/>
                <a:cs typeface="Arial" panose="020B0604020202020204" pitchFamily="34" charset="0"/>
              </a:rPr>
            </a:br>
            <a:r>
              <a:rPr lang="en-GB" sz="2400" dirty="0">
                <a:latin typeface="Georgia" panose="02040502050405020303" pitchFamily="18" charset="0"/>
                <a:cs typeface="Arial" panose="020B0604020202020204" pitchFamily="34" charset="0"/>
              </a:rPr>
              <a:t>A Workshop for Early-Career Researchers</a:t>
            </a:r>
            <a:endParaRPr lang="en-US" sz="2400" dirty="0">
              <a:latin typeface="Georgia" panose="02040502050405020303" pitchFamily="18" charset="0"/>
              <a:cs typeface="Arial" panose="020B0604020202020204" pitchFamily="34" charset="0"/>
            </a:endParaRPr>
          </a:p>
        </p:txBody>
      </p:sp>
      <p:sp>
        <p:nvSpPr>
          <p:cNvPr id="9" name="Text Placeholder 8">
            <a:extLst>
              <a:ext uri="{FF2B5EF4-FFF2-40B4-BE49-F238E27FC236}">
                <a16:creationId xmlns:a16="http://schemas.microsoft.com/office/drawing/2014/main" id="{1A9378B2-982B-4C37-BEC6-9E2229210620}"/>
              </a:ext>
            </a:extLst>
          </p:cNvPr>
          <p:cNvSpPr>
            <a:spLocks noGrp="1"/>
          </p:cNvSpPr>
          <p:nvPr>
            <p:ph type="body" sz="quarter" idx="16"/>
          </p:nvPr>
        </p:nvSpPr>
        <p:spPr>
          <a:xfrm>
            <a:off x="768350" y="3291859"/>
            <a:ext cx="6816945" cy="1150569"/>
          </a:xfrm>
        </p:spPr>
        <p:txBody>
          <a:bodyPr>
            <a:normAutofit fontScale="85000" lnSpcReduction="10000"/>
          </a:bodyPr>
          <a:lstStyle/>
          <a:p>
            <a:r>
              <a:rPr lang="en-GB" sz="2600" b="1" dirty="0">
                <a:latin typeface="Georgia" panose="02040502050405020303" pitchFamily="18" charset="0"/>
                <a:cs typeface="Arial" panose="020B0604020202020204" pitchFamily="34" charset="0"/>
              </a:rPr>
              <a:t>ІV International Conference</a:t>
            </a:r>
            <a:endParaRPr lang="en-GB" sz="2600" dirty="0">
              <a:latin typeface="Georgia" panose="02040502050405020303" pitchFamily="18" charset="0"/>
              <a:cs typeface="Arial" panose="020B0604020202020204" pitchFamily="34" charset="0"/>
            </a:endParaRPr>
          </a:p>
          <a:p>
            <a:r>
              <a:rPr lang="en-GB" sz="2600" b="1" dirty="0">
                <a:latin typeface="Georgia" panose="02040502050405020303" pitchFamily="18" charset="0"/>
                <a:cs typeface="Arial" panose="020B0604020202020204" pitchFamily="34" charset="0"/>
              </a:rPr>
              <a:t>Open Science and Innovation in Ukraine 2025</a:t>
            </a:r>
          </a:p>
          <a:p>
            <a:r>
              <a:rPr lang="en-NL" sz="1600" dirty="0">
                <a:latin typeface="Arial" panose="020B0604020202020204" pitchFamily="34" charset="0"/>
                <a:cs typeface="Arial" panose="020B0604020202020204" pitchFamily="34" charset="0"/>
                <a:hlinkClick r:id="rId3"/>
              </a:rPr>
              <a:t>https://conference2025.dntb.gov.ua/en/</a:t>
            </a:r>
            <a:endParaRPr lang="en-GB" sz="1600" dirty="0">
              <a:latin typeface="Arial" panose="020B0604020202020204" pitchFamily="34" charset="0"/>
              <a:cs typeface="Arial" panose="020B0604020202020204" pitchFamily="34" charset="0"/>
            </a:endParaRPr>
          </a:p>
          <a:p>
            <a:endParaRPr lang="en-NL" sz="1600" dirty="0">
              <a:latin typeface="Arial" panose="020B0604020202020204" pitchFamily="34" charset="0"/>
              <a:cs typeface="Arial" panose="020B0604020202020204" pitchFamily="34" charset="0"/>
            </a:endParaRPr>
          </a:p>
        </p:txBody>
      </p:sp>
      <p:sp>
        <p:nvSpPr>
          <p:cNvPr id="3" name="Text Placeholder 2">
            <a:extLst>
              <a:ext uri="{FF2B5EF4-FFF2-40B4-BE49-F238E27FC236}">
                <a16:creationId xmlns:a16="http://schemas.microsoft.com/office/drawing/2014/main" id="{8D43E2E1-D8D0-428F-9CE1-98FD10199A0F}"/>
              </a:ext>
            </a:extLst>
          </p:cNvPr>
          <p:cNvSpPr>
            <a:spLocks noGrp="1" noChangeAspect="1"/>
          </p:cNvSpPr>
          <p:nvPr>
            <p:ph type="body" sz="quarter" idx="13"/>
          </p:nvPr>
        </p:nvSpPr>
        <p:spPr>
          <a:xfrm>
            <a:off x="10690443" y="291164"/>
            <a:ext cx="1122179" cy="1238266"/>
          </a:xfrm>
        </p:spPr>
        <p:txBody>
          <a:bodyPr/>
          <a:lstStyle/>
          <a:p>
            <a:endParaRPr lang="en-US" dirty="0"/>
          </a:p>
        </p:txBody>
      </p:sp>
      <p:sp>
        <p:nvSpPr>
          <p:cNvPr id="6" name="Rectangle 5">
            <a:extLst>
              <a:ext uri="{FF2B5EF4-FFF2-40B4-BE49-F238E27FC236}">
                <a16:creationId xmlns:a16="http://schemas.microsoft.com/office/drawing/2014/main" id="{5751F519-FAC0-76A2-340D-317DD020E4B6}"/>
              </a:ext>
            </a:extLst>
          </p:cNvPr>
          <p:cNvSpPr/>
          <p:nvPr/>
        </p:nvSpPr>
        <p:spPr>
          <a:xfrm>
            <a:off x="9452344" y="166493"/>
            <a:ext cx="1238099" cy="136293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LID4096"/>
          </a:p>
        </p:txBody>
      </p:sp>
      <p:sp>
        <p:nvSpPr>
          <p:cNvPr id="5" name="TextBox 4">
            <a:extLst>
              <a:ext uri="{FF2B5EF4-FFF2-40B4-BE49-F238E27FC236}">
                <a16:creationId xmlns:a16="http://schemas.microsoft.com/office/drawing/2014/main" id="{DA373444-EBC8-E4D0-E387-251E659CC7BA}"/>
              </a:ext>
            </a:extLst>
          </p:cNvPr>
          <p:cNvSpPr txBox="1"/>
          <p:nvPr/>
        </p:nvSpPr>
        <p:spPr>
          <a:xfrm>
            <a:off x="768351" y="5592931"/>
            <a:ext cx="5589919" cy="769441"/>
          </a:xfrm>
          <a:prstGeom prst="rect">
            <a:avLst/>
          </a:prstGeom>
          <a:noFill/>
        </p:spPr>
        <p:txBody>
          <a:bodyPr wrap="square">
            <a:spAutoFit/>
          </a:bodyPr>
          <a:lstStyle/>
          <a:p>
            <a:r>
              <a:rPr lang="en-US" sz="1100" b="1" dirty="0">
                <a:solidFill>
                  <a:schemeClr val="tx1">
                    <a:lumMod val="50000"/>
                    <a:lumOff val="50000"/>
                  </a:schemeClr>
                </a:solidFill>
                <a:latin typeface="Georgia" panose="02040502050405020303" pitchFamily="18" charset="0"/>
                <a:cs typeface="Arial" panose="020B0604020202020204" pitchFamily="34" charset="0"/>
              </a:rPr>
              <a:t>Dr. Lucy Bennison-Chapman</a:t>
            </a:r>
          </a:p>
          <a:p>
            <a:r>
              <a:rPr lang="en-US" sz="1100" dirty="0">
                <a:solidFill>
                  <a:schemeClr val="tx1">
                    <a:lumMod val="50000"/>
                    <a:lumOff val="50000"/>
                  </a:schemeClr>
                </a:solidFill>
                <a:latin typeface="Georgia" panose="02040502050405020303" pitchFamily="18" charset="0"/>
                <a:cs typeface="Arial" panose="020B0604020202020204" pitchFamily="34" charset="0"/>
              </a:rPr>
              <a:t>PhD Archaeology </a:t>
            </a:r>
          </a:p>
          <a:p>
            <a:endParaRPr lang="en-US" sz="1100" b="1" dirty="0">
              <a:solidFill>
                <a:schemeClr val="tx1">
                  <a:lumMod val="50000"/>
                  <a:lumOff val="50000"/>
                </a:schemeClr>
              </a:solidFill>
              <a:latin typeface="Georgia" panose="02040502050405020303" pitchFamily="18" charset="0"/>
              <a:cs typeface="Arial" panose="020B0604020202020204" pitchFamily="34" charset="0"/>
            </a:endParaRPr>
          </a:p>
          <a:p>
            <a:r>
              <a:rPr lang="en-US" sz="1100" b="1" dirty="0">
                <a:solidFill>
                  <a:schemeClr val="tx1">
                    <a:lumMod val="50000"/>
                    <a:lumOff val="50000"/>
                  </a:schemeClr>
                </a:solidFill>
                <a:latin typeface="Georgia" panose="02040502050405020303" pitchFamily="18" charset="0"/>
                <a:cs typeface="Arial" panose="020B0604020202020204" pitchFamily="34" charset="0"/>
              </a:rPr>
              <a:t>Scientific Editor, </a:t>
            </a:r>
            <a:r>
              <a:rPr lang="en-US" sz="1100" b="1" i="1" dirty="0">
                <a:solidFill>
                  <a:schemeClr val="tx1">
                    <a:lumMod val="50000"/>
                    <a:lumOff val="50000"/>
                  </a:schemeClr>
                </a:solidFill>
                <a:latin typeface="Georgia" panose="02040502050405020303" pitchFamily="18" charset="0"/>
                <a:cs typeface="Arial" panose="020B0604020202020204" pitchFamily="34" charset="0"/>
              </a:rPr>
              <a:t>Social Sciences and Humanities Open</a:t>
            </a:r>
            <a:r>
              <a:rPr lang="en-US" sz="1100" b="1" dirty="0">
                <a:solidFill>
                  <a:schemeClr val="tx1">
                    <a:lumMod val="50000"/>
                    <a:lumOff val="50000"/>
                  </a:schemeClr>
                </a:solidFill>
                <a:latin typeface="Georgia" panose="02040502050405020303" pitchFamily="18" charset="0"/>
                <a:cs typeface="Arial" panose="020B0604020202020204" pitchFamily="34" charset="0"/>
              </a:rPr>
              <a:t> journal, Elsevier</a:t>
            </a:r>
          </a:p>
        </p:txBody>
      </p:sp>
    </p:spTree>
    <p:extLst>
      <p:ext uri="{BB962C8B-B14F-4D97-AF65-F5344CB8AC3E}">
        <p14:creationId xmlns:p14="http://schemas.microsoft.com/office/powerpoint/2010/main" val="706171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486DBD-D26C-5A2B-FD4D-8613438C014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61BF400-9F14-F551-6F1E-0838E8BB7360}"/>
              </a:ext>
            </a:extLst>
          </p:cNvPr>
          <p:cNvSpPr>
            <a:spLocks noGrp="1"/>
          </p:cNvSpPr>
          <p:nvPr>
            <p:ph type="title"/>
          </p:nvPr>
        </p:nvSpPr>
        <p:spPr/>
        <p:txBody>
          <a:bodyPr/>
          <a:lstStyle/>
          <a:p>
            <a:r>
              <a:rPr lang="en-GB" b="1" dirty="0">
                <a:solidFill>
                  <a:srgbClr val="007398"/>
                </a:solidFill>
                <a:latin typeface="Arial Bold"/>
                <a:cs typeface="Arial Bold"/>
              </a:rPr>
              <a:t>Metrics: Impact Factor &amp; CiteScore</a:t>
            </a:r>
            <a:endParaRPr lang="en-GB" dirty="0"/>
          </a:p>
        </p:txBody>
      </p:sp>
      <p:sp>
        <p:nvSpPr>
          <p:cNvPr id="3" name="Content Placeholder 2">
            <a:extLst>
              <a:ext uri="{FF2B5EF4-FFF2-40B4-BE49-F238E27FC236}">
                <a16:creationId xmlns:a16="http://schemas.microsoft.com/office/drawing/2014/main" id="{75315C2F-48F9-8B09-0125-7D77C2F34FE9}"/>
              </a:ext>
            </a:extLst>
          </p:cNvPr>
          <p:cNvSpPr>
            <a:spLocks noGrp="1"/>
          </p:cNvSpPr>
          <p:nvPr>
            <p:ph idx="1"/>
          </p:nvPr>
        </p:nvSpPr>
        <p:spPr>
          <a:xfrm>
            <a:off x="655334" y="1246716"/>
            <a:ext cx="7529855" cy="5196417"/>
          </a:xfrm>
        </p:spPr>
        <p:txBody>
          <a:bodyPr/>
          <a:lstStyle/>
          <a:p>
            <a:pPr marL="457189" indent="-457189" algn="just">
              <a:buClr>
                <a:schemeClr val="tx2"/>
              </a:buClr>
              <a:buSzPct val="130000"/>
              <a:buFont typeface="Wingdings" panose="05000000000000000000" pitchFamily="2" charset="2"/>
              <a:buChar char="§"/>
            </a:pPr>
            <a:r>
              <a:rPr lang="en-GB" sz="1600" dirty="0">
                <a:solidFill>
                  <a:srgbClr val="53565A"/>
                </a:solidFill>
                <a:latin typeface="+mj-lt"/>
              </a:rPr>
              <a:t>It indicates how many times the more recent manuscripts in a journal are cited on average in a given year </a:t>
            </a:r>
          </a:p>
          <a:p>
            <a:pPr marL="457189" indent="-457189" algn="just">
              <a:buClr>
                <a:schemeClr val="tx2"/>
              </a:buClr>
              <a:buSzPct val="130000"/>
              <a:buFont typeface="Wingdings" panose="05000000000000000000" pitchFamily="2" charset="2"/>
              <a:buChar char="§"/>
            </a:pPr>
            <a:endParaRPr lang="en-GB" sz="1600" dirty="0">
              <a:solidFill>
                <a:srgbClr val="53565A"/>
              </a:solidFill>
              <a:latin typeface="+mj-lt"/>
            </a:endParaRPr>
          </a:p>
          <a:p>
            <a:pPr marL="457189" indent="-457189" algn="just">
              <a:buClr>
                <a:schemeClr val="tx2"/>
              </a:buClr>
              <a:buSzPct val="130000"/>
              <a:buFont typeface="Wingdings" panose="05000000000000000000" pitchFamily="2" charset="2"/>
              <a:buChar char="§"/>
            </a:pPr>
            <a:r>
              <a:rPr lang="en-GB" sz="1600" dirty="0">
                <a:solidFill>
                  <a:srgbClr val="53565A"/>
                </a:solidFill>
                <a:latin typeface="+mj-lt"/>
              </a:rPr>
              <a:t>Indicator of where it sits in research landscape in terms of impact and subject matter (journals with high numbers of citations are considered to have a high impact within their research field)</a:t>
            </a:r>
          </a:p>
          <a:p>
            <a:pPr marL="457189" indent="-457189" algn="just">
              <a:buClr>
                <a:schemeClr val="tx2"/>
              </a:buClr>
              <a:buSzPct val="130000"/>
              <a:buFont typeface="Wingdings" panose="05000000000000000000" pitchFamily="2" charset="2"/>
              <a:buChar char="§"/>
            </a:pPr>
            <a:endParaRPr lang="en-GB" sz="1600" dirty="0">
              <a:solidFill>
                <a:srgbClr val="53565A"/>
              </a:solidFill>
              <a:latin typeface="+mj-lt"/>
            </a:endParaRPr>
          </a:p>
          <a:p>
            <a:pPr marL="457189" indent="-457189" algn="just">
              <a:buClr>
                <a:schemeClr val="tx2"/>
              </a:buClr>
              <a:buSzPct val="130000"/>
              <a:buFont typeface="Wingdings" panose="05000000000000000000" pitchFamily="2" charset="2"/>
              <a:buChar char="§"/>
            </a:pPr>
            <a:r>
              <a:rPr lang="en-GB" sz="1600" dirty="0">
                <a:solidFill>
                  <a:srgbClr val="53565A"/>
                </a:solidFill>
                <a:latin typeface="+mj-lt"/>
              </a:rPr>
              <a:t>It is influenced by Editorial policies of journals and turnover of research</a:t>
            </a:r>
          </a:p>
          <a:p>
            <a:pPr marL="457189" indent="-457189" algn="just">
              <a:buClr>
                <a:schemeClr val="tx2"/>
              </a:buClr>
              <a:buSzPct val="130000"/>
              <a:buFont typeface="Wingdings" panose="05000000000000000000" pitchFamily="2" charset="2"/>
              <a:buChar char="§"/>
            </a:pPr>
            <a:endParaRPr lang="en-GB" sz="1600" dirty="0">
              <a:solidFill>
                <a:srgbClr val="53565A"/>
              </a:solidFill>
              <a:latin typeface="+mj-lt"/>
            </a:endParaRPr>
          </a:p>
          <a:p>
            <a:pPr marL="457189" indent="-457189" algn="just">
              <a:buClr>
                <a:schemeClr val="tx2"/>
              </a:buClr>
              <a:buSzPct val="130000"/>
              <a:buFont typeface="Wingdings" panose="05000000000000000000" pitchFamily="2" charset="2"/>
              <a:buChar char="§"/>
            </a:pPr>
            <a:r>
              <a:rPr lang="en-GB" sz="1600" dirty="0">
                <a:solidFill>
                  <a:srgbClr val="53565A"/>
                </a:solidFill>
                <a:latin typeface="+mj-lt"/>
              </a:rPr>
              <a:t>The impact factor can give you a general guidance, but it should NOT be the sole reason to choose a journal</a:t>
            </a:r>
          </a:p>
          <a:p>
            <a:pPr marL="457189" indent="-457189" algn="just">
              <a:buClr>
                <a:schemeClr val="tx2"/>
              </a:buClr>
              <a:buSzPct val="130000"/>
              <a:buFont typeface="Wingdings" panose="05000000000000000000" pitchFamily="2" charset="2"/>
              <a:buChar char="§"/>
            </a:pPr>
            <a:endParaRPr lang="en-GB" sz="1600" dirty="0">
              <a:solidFill>
                <a:srgbClr val="53565A"/>
              </a:solidFill>
              <a:latin typeface="+mj-lt"/>
            </a:endParaRPr>
          </a:p>
          <a:p>
            <a:pPr marL="457189" indent="-457189" algn="just">
              <a:buClr>
                <a:schemeClr val="tx2"/>
              </a:buClr>
              <a:buSzPct val="130000"/>
              <a:buFont typeface="Wingdings" panose="05000000000000000000" pitchFamily="2" charset="2"/>
              <a:buChar char="§"/>
            </a:pPr>
            <a:r>
              <a:rPr lang="en-GB" sz="1600" dirty="0">
                <a:solidFill>
                  <a:srgbClr val="53565A"/>
                </a:solidFill>
                <a:latin typeface="+mj-lt"/>
              </a:rPr>
              <a:t>Also consider which other databases journal is </a:t>
            </a:r>
            <a:r>
              <a:rPr lang="en-GB" sz="1600" b="1" dirty="0">
                <a:solidFill>
                  <a:srgbClr val="53565A"/>
                </a:solidFill>
                <a:latin typeface="+mj-lt"/>
              </a:rPr>
              <a:t>indexed</a:t>
            </a:r>
            <a:r>
              <a:rPr lang="en-GB" sz="1600" dirty="0">
                <a:solidFill>
                  <a:srgbClr val="53565A"/>
                </a:solidFill>
                <a:latin typeface="+mj-lt"/>
              </a:rPr>
              <a:t> in</a:t>
            </a:r>
          </a:p>
          <a:p>
            <a:pPr marL="457189" indent="-457189" algn="just">
              <a:buClr>
                <a:schemeClr val="tx2"/>
              </a:buClr>
              <a:buSzPct val="130000"/>
              <a:buFont typeface="Wingdings" panose="05000000000000000000" pitchFamily="2" charset="2"/>
              <a:buChar char="§"/>
            </a:pPr>
            <a:endParaRPr lang="en-GB" sz="1600" dirty="0">
              <a:solidFill>
                <a:srgbClr val="53565A"/>
              </a:solidFill>
              <a:latin typeface="+mj-lt"/>
            </a:endParaRPr>
          </a:p>
          <a:p>
            <a:pPr marL="457189" indent="-457189" algn="just">
              <a:buClr>
                <a:schemeClr val="tx2"/>
              </a:buClr>
              <a:buSzPct val="130000"/>
              <a:buFont typeface="Wingdings" panose="05000000000000000000" pitchFamily="2" charset="2"/>
              <a:buChar char="§"/>
            </a:pPr>
            <a:r>
              <a:rPr lang="en-GB" sz="1600" b="1" dirty="0">
                <a:solidFill>
                  <a:srgbClr val="53565A"/>
                </a:solidFill>
                <a:latin typeface="+mj-lt"/>
              </a:rPr>
              <a:t>All such information is found on journal homepages </a:t>
            </a:r>
          </a:p>
          <a:p>
            <a:pPr marL="457189" indent="-457189" algn="just">
              <a:buClr>
                <a:schemeClr val="tx2"/>
              </a:buClr>
              <a:buSzPct val="130000"/>
              <a:buFont typeface="Wingdings" panose="05000000000000000000" pitchFamily="2" charset="2"/>
              <a:buChar char="§"/>
            </a:pPr>
            <a:endParaRPr lang="en-GB" sz="1600" dirty="0">
              <a:solidFill>
                <a:srgbClr val="53565A"/>
              </a:solidFill>
              <a:latin typeface="+mj-lt"/>
            </a:endParaRPr>
          </a:p>
          <a:p>
            <a:pPr algn="just"/>
            <a:endParaRPr lang="en-GB" sz="1600" dirty="0">
              <a:latin typeface="+mj-lt"/>
            </a:endParaRPr>
          </a:p>
        </p:txBody>
      </p:sp>
      <p:pic>
        <p:nvPicPr>
          <p:cNvPr id="4" name="Picture 3">
            <a:extLst>
              <a:ext uri="{FF2B5EF4-FFF2-40B4-BE49-F238E27FC236}">
                <a16:creationId xmlns:a16="http://schemas.microsoft.com/office/drawing/2014/main" id="{6D2BCDFC-3A2B-BDCA-6E39-0889E2944E3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85189" y="2851189"/>
            <a:ext cx="4006811" cy="4006811"/>
          </a:xfrm>
          <a:prstGeom prst="rect">
            <a:avLst/>
          </a:prstGeom>
        </p:spPr>
      </p:pic>
    </p:spTree>
    <p:extLst>
      <p:ext uri="{BB962C8B-B14F-4D97-AF65-F5344CB8AC3E}">
        <p14:creationId xmlns:p14="http://schemas.microsoft.com/office/powerpoint/2010/main" val="658640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5" name="Title 6"/>
          <p:cNvSpPr txBox="1">
            <a:spLocks/>
          </p:cNvSpPr>
          <p:nvPr/>
        </p:nvSpPr>
        <p:spPr>
          <a:xfrm>
            <a:off x="1981201" y="705204"/>
            <a:ext cx="8238319" cy="418645"/>
          </a:xfrm>
          <a:prstGeom prst="rect">
            <a:avLst/>
          </a:prstGeom>
        </p:spPr>
        <p:txBody>
          <a:bodyPr vert="horz" lIns="91440" tIns="45720" rIns="91440" bIns="45720" rtlCol="0" anchor="ctr">
            <a:noAutofit/>
          </a:bodyPr>
          <a:lstStyle>
            <a:lvl1pPr algn="l" defTabSz="457200" rtl="0" eaLnBrk="1" latinLnBrk="0" hangingPunct="1">
              <a:spcBef>
                <a:spcPct val="0"/>
              </a:spcBef>
              <a:buNone/>
              <a:defRPr sz="2400" b="0" i="0" kern="1200">
                <a:solidFill>
                  <a:schemeClr val="accent1"/>
                </a:solidFill>
                <a:latin typeface="Arial Bold"/>
                <a:ea typeface="+mj-ea"/>
                <a:cs typeface="Arial Bold"/>
              </a:defRPr>
            </a:lvl1pPr>
          </a:lstStyle>
          <a:p>
            <a:pPr defTabSz="457189">
              <a:defRPr/>
            </a:pPr>
            <a:endParaRPr lang="en-US" dirty="0">
              <a:solidFill>
                <a:srgbClr val="007398"/>
              </a:solidFill>
            </a:endParaRPr>
          </a:p>
        </p:txBody>
      </p:sp>
      <p:sp>
        <p:nvSpPr>
          <p:cNvPr id="7" name="Text Placeholder 1"/>
          <p:cNvSpPr txBox="1">
            <a:spLocks/>
          </p:cNvSpPr>
          <p:nvPr/>
        </p:nvSpPr>
        <p:spPr>
          <a:xfrm>
            <a:off x="331844" y="250396"/>
            <a:ext cx="7825747" cy="1108293"/>
          </a:xfrm>
          <a:prstGeom prst="rect">
            <a:avLst/>
          </a:prstGeom>
        </p:spPr>
        <p:txBody>
          <a:bodyPr anchor="ctr">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609585">
              <a:buNone/>
            </a:pPr>
            <a:r>
              <a:rPr lang="en-US" sz="4400" dirty="0">
                <a:solidFill>
                  <a:schemeClr val="accent2"/>
                </a:solidFill>
                <a:latin typeface="Georgia" panose="02040502050405020303" pitchFamily="18" charset="0"/>
              </a:rPr>
              <a:t>2. Before you begin to write</a:t>
            </a:r>
            <a:endParaRPr lang="en-US" sz="4400" b="1" dirty="0">
              <a:solidFill>
                <a:schemeClr val="accent2"/>
              </a:solidFill>
              <a:latin typeface="Georgia" panose="02040502050405020303" pitchFamily="18" charset="0"/>
            </a:endParaRPr>
          </a:p>
        </p:txBody>
      </p:sp>
      <p:sp>
        <p:nvSpPr>
          <p:cNvPr id="4" name="Text Placeholder 3">
            <a:extLst>
              <a:ext uri="{FF2B5EF4-FFF2-40B4-BE49-F238E27FC236}">
                <a16:creationId xmlns:a16="http://schemas.microsoft.com/office/drawing/2014/main" id="{D40B7775-EA5A-8EE3-C896-7561C86ACD9C}"/>
              </a:ext>
            </a:extLst>
          </p:cNvPr>
          <p:cNvSpPr>
            <a:spLocks noGrp="1" noChangeAspect="1"/>
          </p:cNvSpPr>
          <p:nvPr>
            <p:ph type="body" sz="quarter" idx="13"/>
          </p:nvPr>
        </p:nvSpPr>
        <p:spPr>
          <a:xfrm>
            <a:off x="11255789" y="298404"/>
            <a:ext cx="720578" cy="813600"/>
          </a:xfrm>
        </p:spPr>
        <p:txBody>
          <a:bodyPr/>
          <a:lstStyle/>
          <a:p>
            <a:endParaRPr lang="LID4096" dirty="0"/>
          </a:p>
        </p:txBody>
      </p:sp>
      <p:pic>
        <p:nvPicPr>
          <p:cNvPr id="3" name="Picture Placeholder 28" descr="A picture containing text, person, standing, store&#10;&#10;Description automatically generated">
            <a:extLst>
              <a:ext uri="{FF2B5EF4-FFF2-40B4-BE49-F238E27FC236}">
                <a16:creationId xmlns:a16="http://schemas.microsoft.com/office/drawing/2014/main" id="{1DF538FF-B415-6158-E0F9-778D96BB5F22}"/>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20" b="20"/>
          <a:stretch/>
        </p:blipFill>
        <p:spPr>
          <a:xfrm>
            <a:off x="481969" y="3007604"/>
            <a:ext cx="6400000" cy="3600000"/>
          </a:xfrm>
          <a:prstGeom prst="rect">
            <a:avLst/>
          </a:prstGeom>
        </p:spPr>
      </p:pic>
    </p:spTree>
    <p:extLst>
      <p:ext uri="{BB962C8B-B14F-4D97-AF65-F5344CB8AC3E}">
        <p14:creationId xmlns:p14="http://schemas.microsoft.com/office/powerpoint/2010/main" val="34351811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F0C87A2B-93CF-5629-DB20-8ECC6B2E03E1}"/>
              </a:ext>
            </a:extLst>
          </p:cNvPr>
          <p:cNvSpPr>
            <a:spLocks noGrp="1"/>
          </p:cNvSpPr>
          <p:nvPr>
            <p:ph type="body" sz="quarter" idx="23"/>
          </p:nvPr>
        </p:nvSpPr>
        <p:spPr>
          <a:xfrm>
            <a:off x="374972" y="933451"/>
            <a:ext cx="6026457" cy="5198400"/>
          </a:xfrm>
        </p:spPr>
        <p:txBody>
          <a:bodyPr>
            <a:noAutofit/>
          </a:bodyPr>
          <a:lstStyle/>
          <a:p>
            <a:r>
              <a:rPr lang="en-GB" sz="1600" dirty="0">
                <a:latin typeface="+mj-lt"/>
              </a:rPr>
              <a:t>1. Download and </a:t>
            </a:r>
            <a:r>
              <a:rPr lang="en-GB" sz="1600" b="1" dirty="0">
                <a:latin typeface="+mj-lt"/>
              </a:rPr>
              <a:t>close read </a:t>
            </a:r>
            <a:r>
              <a:rPr lang="en-GB" sz="1600" dirty="0">
                <a:latin typeface="+mj-lt"/>
              </a:rPr>
              <a:t>of Guide for Authors</a:t>
            </a:r>
          </a:p>
          <a:p>
            <a:pPr marL="861462" lvl="1" indent="-380990">
              <a:buFont typeface="Arial" panose="020B0604020202020204" pitchFamily="34" charset="0"/>
              <a:buChar char="•"/>
            </a:pPr>
            <a:r>
              <a:rPr lang="en-GB" sz="1600" dirty="0">
                <a:latin typeface="+mj-lt"/>
              </a:rPr>
              <a:t> Note important and specific elements</a:t>
            </a:r>
          </a:p>
          <a:p>
            <a:pPr lvl="1" indent="0">
              <a:buNone/>
            </a:pPr>
            <a:endParaRPr lang="en-GB" sz="1600" dirty="0">
              <a:latin typeface="+mj-lt"/>
            </a:endParaRPr>
          </a:p>
          <a:p>
            <a:r>
              <a:rPr lang="en-GB" sz="1600" dirty="0">
                <a:latin typeface="+mj-lt"/>
              </a:rPr>
              <a:t>2. Decide on </a:t>
            </a:r>
            <a:r>
              <a:rPr lang="en-GB" sz="1600" b="1" dirty="0">
                <a:latin typeface="+mj-lt"/>
              </a:rPr>
              <a:t>article type</a:t>
            </a:r>
            <a:r>
              <a:rPr lang="en-GB" sz="1600" dirty="0">
                <a:latin typeface="+mj-lt"/>
              </a:rPr>
              <a:t>, article focus and style for your research</a:t>
            </a:r>
          </a:p>
          <a:p>
            <a:endParaRPr lang="en-GB" sz="1600" dirty="0">
              <a:latin typeface="+mj-lt"/>
            </a:endParaRPr>
          </a:p>
          <a:p>
            <a:r>
              <a:rPr lang="en-GB" sz="1600" dirty="0">
                <a:latin typeface="+mj-lt"/>
              </a:rPr>
              <a:t>3. Any </a:t>
            </a:r>
            <a:r>
              <a:rPr lang="en-GB" sz="1600" b="1" dirty="0">
                <a:latin typeface="+mj-lt"/>
              </a:rPr>
              <a:t>ethical restrictions</a:t>
            </a:r>
            <a:r>
              <a:rPr lang="en-GB" sz="1600" dirty="0">
                <a:latin typeface="+mj-lt"/>
              </a:rPr>
              <a:t>/considerations needed to consider?</a:t>
            </a:r>
          </a:p>
          <a:p>
            <a:endParaRPr lang="en-GB" sz="1600" dirty="0">
              <a:latin typeface="+mj-lt"/>
            </a:endParaRPr>
          </a:p>
          <a:p>
            <a:r>
              <a:rPr lang="en-GB" sz="1600" dirty="0">
                <a:latin typeface="+mj-lt"/>
              </a:rPr>
              <a:t>4. Decide on the </a:t>
            </a:r>
            <a:r>
              <a:rPr lang="en-GB" sz="1600" b="1" dirty="0">
                <a:latin typeface="+mj-lt"/>
              </a:rPr>
              <a:t>list of Authors</a:t>
            </a:r>
            <a:r>
              <a:rPr lang="en-GB" sz="1600" dirty="0">
                <a:latin typeface="+mj-lt"/>
              </a:rPr>
              <a:t> &amp; </a:t>
            </a:r>
            <a:r>
              <a:rPr lang="en-GB" sz="1600" b="1" dirty="0">
                <a:latin typeface="+mj-lt"/>
              </a:rPr>
              <a:t>order</a:t>
            </a:r>
            <a:r>
              <a:rPr lang="en-GB" sz="1600" dirty="0">
                <a:latin typeface="+mj-lt"/>
              </a:rPr>
              <a:t> of Authorship </a:t>
            </a:r>
            <a:r>
              <a:rPr lang="en-US" sz="1600" kern="100" dirty="0">
                <a:latin typeface="+mj-lt"/>
                <a:ea typeface="Aptos" panose="020B0004020202020204" pitchFamily="34" charset="0"/>
                <a:cs typeface="Arial" panose="020B0604020202020204" pitchFamily="34" charset="0"/>
              </a:rPr>
              <a:t>– </a:t>
            </a:r>
            <a:r>
              <a:rPr lang="en-US" sz="1600" b="1" u="sng" kern="100" dirty="0">
                <a:latin typeface="+mj-lt"/>
                <a:ea typeface="Aptos" panose="020B0004020202020204" pitchFamily="34" charset="0"/>
                <a:cs typeface="Arial" panose="020B0604020202020204" pitchFamily="34" charset="0"/>
              </a:rPr>
              <a:t>before</a:t>
            </a:r>
            <a:r>
              <a:rPr lang="en-US" sz="1600" kern="100" dirty="0">
                <a:latin typeface="+mj-lt"/>
                <a:ea typeface="Aptos" panose="020B0004020202020204" pitchFamily="34" charset="0"/>
                <a:cs typeface="Arial" panose="020B0604020202020204" pitchFamily="34" charset="0"/>
              </a:rPr>
              <a:t> writing</a:t>
            </a:r>
            <a:endParaRPr lang="en-GB" sz="1600" dirty="0">
              <a:latin typeface="+mj-lt"/>
            </a:endParaRPr>
          </a:p>
          <a:p>
            <a:pPr marL="990575" lvl="1" indent="-380990">
              <a:lnSpc>
                <a:spcPct val="115000"/>
              </a:lnSpc>
              <a:buFont typeface="Courier New" panose="02070309020205020404" pitchFamily="49" charset="0"/>
              <a:buChar char="o"/>
            </a:pPr>
            <a:r>
              <a:rPr lang="en-US" sz="1600" kern="100" dirty="0">
                <a:latin typeface="+mj-lt"/>
                <a:ea typeface="Aptos" panose="020B0004020202020204" pitchFamily="34" charset="0"/>
                <a:cs typeface="Arial" panose="020B0604020202020204" pitchFamily="34" charset="0"/>
              </a:rPr>
              <a:t>Who to be the </a:t>
            </a:r>
            <a:r>
              <a:rPr lang="en-US" sz="1600" i="1" kern="100" dirty="0">
                <a:latin typeface="+mj-lt"/>
                <a:ea typeface="Aptos" panose="020B0004020202020204" pitchFamily="34" charset="0"/>
                <a:cs typeface="Arial" panose="020B0604020202020204" pitchFamily="34" charset="0"/>
              </a:rPr>
              <a:t>first </a:t>
            </a:r>
            <a:r>
              <a:rPr lang="en-US" sz="1600" kern="100" dirty="0">
                <a:latin typeface="+mj-lt"/>
                <a:ea typeface="Aptos" panose="020B0004020202020204" pitchFamily="34" charset="0"/>
                <a:cs typeface="Arial" panose="020B0604020202020204" pitchFamily="34" charset="0"/>
              </a:rPr>
              <a:t>(lead)</a:t>
            </a:r>
            <a:r>
              <a:rPr lang="en-US" sz="1600" i="1" kern="100" dirty="0">
                <a:latin typeface="+mj-lt"/>
                <a:ea typeface="Aptos" panose="020B0004020202020204" pitchFamily="34" charset="0"/>
                <a:cs typeface="Arial" panose="020B0604020202020204" pitchFamily="34" charset="0"/>
              </a:rPr>
              <a:t> </a:t>
            </a:r>
            <a:r>
              <a:rPr lang="en-US" sz="1600" kern="100" dirty="0">
                <a:latin typeface="+mj-lt"/>
                <a:ea typeface="Aptos" panose="020B0004020202020204" pitchFamily="34" charset="0"/>
                <a:cs typeface="Arial" panose="020B0604020202020204" pitchFamily="34" charset="0"/>
              </a:rPr>
              <a:t>and </a:t>
            </a:r>
            <a:r>
              <a:rPr lang="en-US" sz="1600" i="1" kern="100" dirty="0">
                <a:latin typeface="+mj-lt"/>
                <a:ea typeface="Aptos" panose="020B0004020202020204" pitchFamily="34" charset="0"/>
                <a:cs typeface="Arial" panose="020B0604020202020204" pitchFamily="34" charset="0"/>
              </a:rPr>
              <a:t>corresponding </a:t>
            </a:r>
            <a:r>
              <a:rPr lang="en-US" sz="1600" kern="100" dirty="0">
                <a:latin typeface="+mj-lt"/>
                <a:ea typeface="Aptos" panose="020B0004020202020204" pitchFamily="34" charset="0"/>
                <a:cs typeface="Arial" panose="020B0604020202020204" pitchFamily="34" charset="0"/>
              </a:rPr>
              <a:t>Author</a:t>
            </a:r>
          </a:p>
          <a:p>
            <a:pPr marL="1523962" lvl="2" indent="-304792">
              <a:lnSpc>
                <a:spcPct val="115000"/>
              </a:lnSpc>
              <a:buFont typeface="Wingdings" panose="05000000000000000000" pitchFamily="2" charset="2"/>
              <a:buChar char=""/>
            </a:pPr>
            <a:r>
              <a:rPr lang="en-US" sz="1600" kern="100" dirty="0">
                <a:latin typeface="+mj-lt"/>
                <a:ea typeface="Aptos" panose="020B0004020202020204" pitchFamily="34" charset="0"/>
                <a:cs typeface="Arial" panose="020B0604020202020204" pitchFamily="34" charset="0"/>
              </a:rPr>
              <a:t> Authors cannot be added after submission</a:t>
            </a:r>
          </a:p>
          <a:p>
            <a:pPr marL="1523962" lvl="2" indent="-304792">
              <a:lnSpc>
                <a:spcPct val="115000"/>
              </a:lnSpc>
              <a:spcAft>
                <a:spcPts val="1067"/>
              </a:spcAft>
              <a:buFont typeface="Wingdings" panose="05000000000000000000" pitchFamily="2" charset="2"/>
              <a:buChar char=""/>
            </a:pPr>
            <a:r>
              <a:rPr lang="en-US" sz="1600" kern="100" dirty="0">
                <a:latin typeface="+mj-lt"/>
                <a:ea typeface="Aptos" panose="020B0004020202020204" pitchFamily="34" charset="0"/>
                <a:cs typeface="Arial" panose="020B0604020202020204" pitchFamily="34" charset="0"/>
              </a:rPr>
              <a:t>Order of Authorship cannot be changed during submission without good reason and clear evidence  </a:t>
            </a:r>
          </a:p>
          <a:p>
            <a:pPr marL="732348">
              <a:lnSpc>
                <a:spcPct val="115000"/>
              </a:lnSpc>
              <a:spcAft>
                <a:spcPts val="1067"/>
              </a:spcAft>
            </a:pPr>
            <a:r>
              <a:rPr lang="en-US" sz="1600" kern="100" dirty="0">
                <a:solidFill>
                  <a:schemeClr val="bg1"/>
                </a:solidFill>
                <a:latin typeface="+mj-lt"/>
                <a:ea typeface="Aptos" panose="020B0004020202020204" pitchFamily="34" charset="0"/>
                <a:cs typeface="Arial" panose="020B0604020202020204" pitchFamily="34" charset="0"/>
              </a:rPr>
              <a:t>Taking time to consider these things </a:t>
            </a:r>
            <a:r>
              <a:rPr lang="en-US" sz="1600" b="1" kern="100" dirty="0">
                <a:solidFill>
                  <a:schemeClr val="bg1"/>
                </a:solidFill>
                <a:latin typeface="+mj-lt"/>
                <a:ea typeface="Aptos" panose="020B0004020202020204" pitchFamily="34" charset="0"/>
                <a:cs typeface="Arial" panose="020B0604020202020204" pitchFamily="34" charset="0"/>
              </a:rPr>
              <a:t>before </a:t>
            </a:r>
            <a:r>
              <a:rPr lang="en-US" sz="1600" kern="100" dirty="0">
                <a:solidFill>
                  <a:schemeClr val="bg1"/>
                </a:solidFill>
                <a:latin typeface="+mj-lt"/>
                <a:ea typeface="Aptos" panose="020B0004020202020204" pitchFamily="34" charset="0"/>
                <a:cs typeface="Arial" panose="020B0604020202020204" pitchFamily="34" charset="0"/>
              </a:rPr>
              <a:t>writhing will save time and minimize the risk of desk rejection </a:t>
            </a:r>
          </a:p>
          <a:p>
            <a:pPr marL="732348">
              <a:lnSpc>
                <a:spcPct val="115000"/>
              </a:lnSpc>
              <a:spcAft>
                <a:spcPts val="1067"/>
              </a:spcAft>
            </a:pPr>
            <a:endParaRPr lang="en-US" sz="1600" kern="100" dirty="0">
              <a:solidFill>
                <a:srgbClr val="00B050"/>
              </a:solidFill>
              <a:latin typeface="+mj-lt"/>
              <a:ea typeface="Aptos" panose="020B0004020202020204" pitchFamily="34" charset="0"/>
              <a:cs typeface="Arial" panose="020B0604020202020204" pitchFamily="34" charset="0"/>
            </a:endParaRPr>
          </a:p>
          <a:p>
            <a:pPr marL="732348">
              <a:lnSpc>
                <a:spcPct val="115000"/>
              </a:lnSpc>
              <a:spcAft>
                <a:spcPts val="1067"/>
              </a:spcAft>
            </a:pPr>
            <a:endParaRPr lang="en-US" sz="1600" kern="100" dirty="0">
              <a:solidFill>
                <a:srgbClr val="00B050"/>
              </a:solidFill>
              <a:latin typeface="+mj-lt"/>
              <a:ea typeface="Aptos" panose="020B0004020202020204" pitchFamily="34" charset="0"/>
              <a:cs typeface="Arial" panose="020B0604020202020204" pitchFamily="34" charset="0"/>
            </a:endParaRPr>
          </a:p>
          <a:p>
            <a:pPr marL="861462" lvl="1" indent="-380990">
              <a:buFont typeface="Arial" panose="020B0604020202020204" pitchFamily="34" charset="0"/>
              <a:buChar char="•"/>
            </a:pPr>
            <a:endParaRPr lang="en-GB" sz="1600" dirty="0">
              <a:latin typeface="+mj-lt"/>
            </a:endParaRPr>
          </a:p>
          <a:p>
            <a:endParaRPr lang="LID4096" sz="1600" dirty="0">
              <a:latin typeface="+mj-lt"/>
            </a:endParaRPr>
          </a:p>
        </p:txBody>
      </p:sp>
      <p:sp>
        <p:nvSpPr>
          <p:cNvPr id="4" name="Title 3">
            <a:extLst>
              <a:ext uri="{FF2B5EF4-FFF2-40B4-BE49-F238E27FC236}">
                <a16:creationId xmlns:a16="http://schemas.microsoft.com/office/drawing/2014/main" id="{64A2FD7E-619F-FD36-5B27-ACF73BFB381A}"/>
              </a:ext>
            </a:extLst>
          </p:cNvPr>
          <p:cNvSpPr>
            <a:spLocks noGrp="1"/>
          </p:cNvSpPr>
          <p:nvPr>
            <p:ph type="title"/>
          </p:nvPr>
        </p:nvSpPr>
        <p:spPr>
          <a:xfrm>
            <a:off x="374972" y="137002"/>
            <a:ext cx="10429267" cy="673100"/>
          </a:xfrm>
        </p:spPr>
        <p:txBody>
          <a:bodyPr/>
          <a:lstStyle/>
          <a:p>
            <a:r>
              <a:rPr lang="en-GB" dirty="0">
                <a:solidFill>
                  <a:schemeClr val="accent1"/>
                </a:solidFill>
                <a:latin typeface="Georgia" panose="02040502050405020303" pitchFamily="18" charset="0"/>
              </a:rPr>
              <a:t>Before starting to write </a:t>
            </a:r>
            <a:endParaRPr lang="LID4096" dirty="0">
              <a:solidFill>
                <a:schemeClr val="accent1"/>
              </a:solidFill>
              <a:latin typeface="Georgia" panose="02040502050405020303" pitchFamily="18" charset="0"/>
            </a:endParaRPr>
          </a:p>
        </p:txBody>
      </p:sp>
      <p:sp>
        <p:nvSpPr>
          <p:cNvPr id="3" name="Slide Number Placeholder 2">
            <a:extLst>
              <a:ext uri="{FF2B5EF4-FFF2-40B4-BE49-F238E27FC236}">
                <a16:creationId xmlns:a16="http://schemas.microsoft.com/office/drawing/2014/main" id="{42BBA906-CDCD-9F5C-63DA-D870FBE4B11D}"/>
              </a:ext>
            </a:extLst>
          </p:cNvPr>
          <p:cNvSpPr>
            <a:spLocks noGrp="1"/>
          </p:cNvSpPr>
          <p:nvPr>
            <p:ph type="sldNum" sz="quarter" idx="27"/>
          </p:nvPr>
        </p:nvSpPr>
        <p:spPr/>
        <p:txBody>
          <a:bodyPr/>
          <a:lstStyle/>
          <a:p>
            <a:pPr defTabSz="1219170"/>
            <a:fld id="{82F89014-7F8D-47C1-8D79-17A715C9D2BB}" type="slidenum">
              <a:rPr lang="en-US">
                <a:solidFill>
                  <a:srgbClr val="53565A">
                    <a:tint val="75000"/>
                  </a:srgbClr>
                </a:solidFill>
                <a:latin typeface="Arial" panose="020B0604020202020204"/>
              </a:rPr>
              <a:pPr defTabSz="1219170"/>
              <a:t>12</a:t>
            </a:fld>
            <a:endParaRPr lang="en-US" dirty="0">
              <a:solidFill>
                <a:srgbClr val="53565A">
                  <a:tint val="75000"/>
                </a:srgbClr>
              </a:solidFill>
              <a:latin typeface="Arial" panose="020B0604020202020204"/>
            </a:endParaRPr>
          </a:p>
        </p:txBody>
      </p:sp>
      <p:sp>
        <p:nvSpPr>
          <p:cNvPr id="5" name="TextBox 4">
            <a:extLst>
              <a:ext uri="{FF2B5EF4-FFF2-40B4-BE49-F238E27FC236}">
                <a16:creationId xmlns:a16="http://schemas.microsoft.com/office/drawing/2014/main" id="{F895B032-EC03-CEAB-59CC-AF47C9599DB1}"/>
              </a:ext>
            </a:extLst>
          </p:cNvPr>
          <p:cNvSpPr txBox="1"/>
          <p:nvPr/>
        </p:nvSpPr>
        <p:spPr>
          <a:xfrm>
            <a:off x="4438651" y="6056505"/>
            <a:ext cx="7536781" cy="634533"/>
          </a:xfrm>
          <a:prstGeom prst="rect">
            <a:avLst/>
          </a:prstGeom>
          <a:noFill/>
        </p:spPr>
        <p:txBody>
          <a:bodyPr wrap="square">
            <a:spAutoFit/>
          </a:bodyPr>
          <a:lstStyle/>
          <a:p>
            <a:pPr marL="732348" algn="r">
              <a:lnSpc>
                <a:spcPct val="115000"/>
              </a:lnSpc>
            </a:pPr>
            <a:r>
              <a:rPr lang="en-US" sz="1600" kern="100" dirty="0">
                <a:solidFill>
                  <a:schemeClr val="accent1"/>
                </a:solidFill>
                <a:latin typeface="+mj-lt"/>
                <a:ea typeface="Aptos" panose="020B0004020202020204" pitchFamily="34" charset="0"/>
                <a:cs typeface="Arial" panose="020B0604020202020204" pitchFamily="34" charset="0"/>
              </a:rPr>
              <a:t>Taking time to consider these things </a:t>
            </a:r>
            <a:r>
              <a:rPr lang="en-US" sz="1600" b="1" kern="100" dirty="0">
                <a:solidFill>
                  <a:schemeClr val="accent1"/>
                </a:solidFill>
                <a:latin typeface="+mj-lt"/>
                <a:ea typeface="Aptos" panose="020B0004020202020204" pitchFamily="34" charset="0"/>
                <a:cs typeface="Arial" panose="020B0604020202020204" pitchFamily="34" charset="0"/>
              </a:rPr>
              <a:t>before </a:t>
            </a:r>
            <a:r>
              <a:rPr lang="en-US" sz="1600" kern="100" dirty="0">
                <a:solidFill>
                  <a:schemeClr val="accent1"/>
                </a:solidFill>
                <a:latin typeface="+mj-lt"/>
                <a:ea typeface="Aptos" panose="020B0004020202020204" pitchFamily="34" charset="0"/>
                <a:cs typeface="Arial" panose="020B0604020202020204" pitchFamily="34" charset="0"/>
              </a:rPr>
              <a:t>writhing will save time and minimize the risk of desk rejection </a:t>
            </a:r>
          </a:p>
        </p:txBody>
      </p:sp>
      <p:pic>
        <p:nvPicPr>
          <p:cNvPr id="9" name="Picture 8" descr="A close-up of a research paper&#10;&#10;AI-generated content may be incorrect.">
            <a:extLst>
              <a:ext uri="{FF2B5EF4-FFF2-40B4-BE49-F238E27FC236}">
                <a16:creationId xmlns:a16="http://schemas.microsoft.com/office/drawing/2014/main" id="{68F4E46C-B6B6-E530-4214-1544928B8F0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00632" y="1154139"/>
            <a:ext cx="5274800" cy="3074961"/>
          </a:xfrm>
          <a:prstGeom prst="rect">
            <a:avLst/>
          </a:prstGeom>
          <a:ln>
            <a:solidFill>
              <a:schemeClr val="accent1"/>
            </a:solidFill>
          </a:ln>
        </p:spPr>
      </p:pic>
    </p:spTree>
    <p:custDataLst>
      <p:tags r:id="rId1"/>
    </p:custDataLst>
    <p:extLst>
      <p:ext uri="{BB962C8B-B14F-4D97-AF65-F5344CB8AC3E}">
        <p14:creationId xmlns:p14="http://schemas.microsoft.com/office/powerpoint/2010/main" val="1449502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3D2213BF-31E5-387E-C21F-AD800C8CF5DC}"/>
              </a:ext>
            </a:extLst>
          </p:cNvPr>
          <p:cNvSpPr>
            <a:spLocks noGrp="1"/>
          </p:cNvSpPr>
          <p:nvPr>
            <p:ph type="body" sz="quarter" idx="24"/>
          </p:nvPr>
        </p:nvSpPr>
        <p:spPr>
          <a:xfrm>
            <a:off x="768351" y="933451"/>
            <a:ext cx="10780918" cy="513771"/>
          </a:xfrm>
        </p:spPr>
        <p:txBody>
          <a:bodyPr>
            <a:normAutofit/>
          </a:bodyPr>
          <a:lstStyle/>
          <a:p>
            <a:r>
              <a:rPr lang="en-GB" sz="2400" dirty="0">
                <a:solidFill>
                  <a:schemeClr val="accent1"/>
                </a:solidFill>
                <a:latin typeface="Georgia" panose="02040502050405020303" pitchFamily="18" charset="0"/>
              </a:rPr>
              <a:t>Follow the journal's Guide for Authors:</a:t>
            </a:r>
            <a:endParaRPr lang="LID4096" sz="1600" dirty="0"/>
          </a:p>
        </p:txBody>
      </p:sp>
      <p:sp>
        <p:nvSpPr>
          <p:cNvPr id="6" name="Title 5">
            <a:extLst>
              <a:ext uri="{FF2B5EF4-FFF2-40B4-BE49-F238E27FC236}">
                <a16:creationId xmlns:a16="http://schemas.microsoft.com/office/drawing/2014/main" id="{EE3072BB-6D69-A64F-F505-276AF202B379}"/>
              </a:ext>
            </a:extLst>
          </p:cNvPr>
          <p:cNvSpPr>
            <a:spLocks noGrp="1"/>
          </p:cNvSpPr>
          <p:nvPr>
            <p:ph type="title"/>
          </p:nvPr>
        </p:nvSpPr>
        <p:spPr/>
        <p:txBody>
          <a:bodyPr/>
          <a:lstStyle/>
          <a:p>
            <a:r>
              <a:rPr lang="en-GB" dirty="0">
                <a:solidFill>
                  <a:schemeClr val="accent1"/>
                </a:solidFill>
                <a:latin typeface="Georgia" panose="02040502050405020303" pitchFamily="18" charset="0"/>
              </a:rPr>
              <a:t>Before writing </a:t>
            </a:r>
            <a:endParaRPr lang="LID4096" dirty="0">
              <a:solidFill>
                <a:schemeClr val="accent1"/>
              </a:solidFill>
              <a:latin typeface="Georgia" panose="02040502050405020303" pitchFamily="18" charset="0"/>
            </a:endParaRPr>
          </a:p>
        </p:txBody>
      </p:sp>
      <p:sp>
        <p:nvSpPr>
          <p:cNvPr id="2" name="Text Placeholder 7">
            <a:extLst>
              <a:ext uri="{FF2B5EF4-FFF2-40B4-BE49-F238E27FC236}">
                <a16:creationId xmlns:a16="http://schemas.microsoft.com/office/drawing/2014/main" id="{77B9D296-ACE9-E828-6582-5448D3F5C2B0}"/>
              </a:ext>
            </a:extLst>
          </p:cNvPr>
          <p:cNvSpPr txBox="1">
            <a:spLocks/>
          </p:cNvSpPr>
          <p:nvPr/>
        </p:nvSpPr>
        <p:spPr>
          <a:xfrm>
            <a:off x="2533518" y="2560351"/>
            <a:ext cx="5194298" cy="3459304"/>
          </a:xfrm>
          <a:prstGeom prst="rect">
            <a:avLst/>
          </a:prstGeom>
        </p:spPr>
        <p:txBody>
          <a:bodyPr vert="horz" lIns="0" tIns="0" rIns="0" bIns="0" rtlCol="0">
            <a:normAutofit/>
          </a:bodyPr>
          <a:lstStyle>
            <a:lvl1pPr marL="0" indent="0" algn="l" defTabSz="914377" rtl="0" eaLnBrk="1" latinLnBrk="0" hangingPunct="1">
              <a:lnSpc>
                <a:spcPct val="100000"/>
              </a:lnSpc>
              <a:spcBef>
                <a:spcPts val="0"/>
              </a:spcBef>
              <a:spcAft>
                <a:spcPts val="800"/>
              </a:spcAft>
              <a:buClr>
                <a:srgbClr val="FF6C00"/>
              </a:buClr>
              <a:buFont typeface="Arial" charset="0"/>
              <a:buNone/>
              <a:tabLst>
                <a:tab pos="355591" algn="l"/>
              </a:tabLst>
              <a:defRPr lang="nl-NL" sz="2133" b="0" kern="1200">
                <a:solidFill>
                  <a:schemeClr val="tx1"/>
                </a:solidFill>
                <a:latin typeface="+mn-lt"/>
                <a:ea typeface="+mn-ea"/>
                <a:cs typeface="+mn-cs"/>
              </a:defRPr>
            </a:lvl1pPr>
            <a:lvl2pPr marL="480472" indent="-480472" algn="l" defTabSz="914377" rtl="0" eaLnBrk="1" latinLnBrk="0" hangingPunct="1">
              <a:lnSpc>
                <a:spcPct val="100000"/>
              </a:lnSpc>
              <a:spcBef>
                <a:spcPts val="500"/>
              </a:spcBef>
              <a:spcAft>
                <a:spcPts val="800"/>
              </a:spcAft>
              <a:buClr>
                <a:srgbClr val="FF6C00"/>
              </a:buClr>
              <a:buFont typeface="+mj-lt"/>
              <a:buAutoNum type="arabicPeriod"/>
              <a:defRPr lang="nl-NL" sz="2133" b="0" kern="1200">
                <a:solidFill>
                  <a:schemeClr val="tx1"/>
                </a:solidFill>
                <a:latin typeface="+mn-lt"/>
                <a:ea typeface="+mn-ea"/>
                <a:cs typeface="+mn-cs"/>
              </a:defRPr>
            </a:lvl2pPr>
            <a:lvl3pPr marL="486821" indent="0" algn="l" defTabSz="914377" rtl="0" eaLnBrk="1" latinLnBrk="0" hangingPunct="1">
              <a:lnSpc>
                <a:spcPct val="100000"/>
              </a:lnSpc>
              <a:spcBef>
                <a:spcPts val="500"/>
              </a:spcBef>
              <a:spcAft>
                <a:spcPts val="800"/>
              </a:spcAft>
              <a:buClr>
                <a:srgbClr val="FF6C00"/>
              </a:buClr>
              <a:buFont typeface="Arial" charset="0"/>
              <a:buNone/>
              <a:defRPr lang="nl-NL" sz="2133" b="0" kern="1200">
                <a:solidFill>
                  <a:schemeClr val="tx1"/>
                </a:solidFill>
                <a:latin typeface="+mn-lt"/>
                <a:ea typeface="+mn-ea"/>
                <a:cs typeface="+mn-cs"/>
              </a:defRPr>
            </a:lvl3pPr>
            <a:lvl4pPr marL="732348" indent="0" algn="l" defTabSz="914377" rtl="0" eaLnBrk="1" latinLnBrk="0" hangingPunct="1">
              <a:lnSpc>
                <a:spcPct val="100000"/>
              </a:lnSpc>
              <a:spcBef>
                <a:spcPts val="500"/>
              </a:spcBef>
              <a:spcAft>
                <a:spcPts val="800"/>
              </a:spcAft>
              <a:buClr>
                <a:srgbClr val="FF6C00"/>
              </a:buClr>
              <a:buFont typeface="Courier New" panose="02070309020205020404" pitchFamily="49" charset="0"/>
              <a:buNone/>
              <a:tabLst/>
              <a:defRPr lang="nl-NL" sz="2133" b="0" kern="1200">
                <a:solidFill>
                  <a:schemeClr val="tx1"/>
                </a:solidFill>
                <a:latin typeface="+mn-lt"/>
                <a:ea typeface="+mn-ea"/>
                <a:cs typeface="+mn-cs"/>
              </a:defRPr>
            </a:lvl4pPr>
            <a:lvl5pPr marL="967293" indent="0" algn="l" defTabSz="914377" rtl="0" eaLnBrk="1" latinLnBrk="0" hangingPunct="1">
              <a:lnSpc>
                <a:spcPct val="100000"/>
              </a:lnSpc>
              <a:spcBef>
                <a:spcPts val="500"/>
              </a:spcBef>
              <a:spcAft>
                <a:spcPts val="800"/>
              </a:spcAft>
              <a:buClr>
                <a:srgbClr val="FF6C00"/>
              </a:buClr>
              <a:buFont typeface="Arial" charset="0"/>
              <a:buNone/>
              <a:defRPr lang="de-DE" sz="2133" b="0" kern="1200" baseline="0">
                <a:solidFill>
                  <a:schemeClr val="tx1"/>
                </a:solidFill>
                <a:latin typeface="+mn-lt"/>
                <a:ea typeface="+mn-ea"/>
                <a:cs typeface="+mn-cs"/>
              </a:defRPr>
            </a:lvl5pPr>
            <a:lvl6pPr marL="2412940" indent="-260344" algn="l" defTabSz="914377" rtl="0" eaLnBrk="1" latinLnBrk="0" hangingPunct="1">
              <a:lnSpc>
                <a:spcPct val="90000"/>
              </a:lnSpc>
              <a:spcBef>
                <a:spcPts val="500"/>
              </a:spcBef>
              <a:buClr>
                <a:srgbClr val="FF6C00"/>
              </a:buClr>
              <a:buFont typeface="Courier New" panose="02070309020205020404" pitchFamily="49" charset="0"/>
              <a:buChar char="o"/>
              <a:defRPr sz="1800" kern="1200">
                <a:solidFill>
                  <a:schemeClr val="tx1"/>
                </a:solidFill>
                <a:latin typeface="+mn-lt"/>
                <a:ea typeface="+mn-ea"/>
                <a:cs typeface="+mn-cs"/>
              </a:defRPr>
            </a:lvl6pPr>
            <a:lvl7pPr marL="2749482" indent="-234945" algn="l" defTabSz="914377" rtl="0" eaLnBrk="1" latinLnBrk="0" hangingPunct="1">
              <a:lnSpc>
                <a:spcPct val="90000"/>
              </a:lnSpc>
              <a:spcBef>
                <a:spcPts val="500"/>
              </a:spcBef>
              <a:buClr>
                <a:srgbClr val="FF6C00"/>
              </a:buClr>
              <a:buFont typeface="Courier New" panose="02070309020205020404" pitchFamily="49" charset="0"/>
              <a:buChar char="o"/>
              <a:defRPr sz="1800" kern="1200">
                <a:solidFill>
                  <a:schemeClr val="tx1"/>
                </a:solidFill>
                <a:latin typeface="+mn-lt"/>
                <a:ea typeface="+mn-ea"/>
                <a:cs typeface="+mn-cs"/>
              </a:defRPr>
            </a:lvl7pPr>
            <a:lvl8pPr marL="3111422" indent="-243411" algn="l" defTabSz="914377" rtl="0" eaLnBrk="1" latinLnBrk="0" hangingPunct="1">
              <a:lnSpc>
                <a:spcPct val="90000"/>
              </a:lnSpc>
              <a:spcBef>
                <a:spcPts val="500"/>
              </a:spcBef>
              <a:buClr>
                <a:srgbClr val="FF6C00"/>
              </a:buClr>
              <a:buFont typeface="Courier New" panose="02070309020205020404" pitchFamily="49" charset="0"/>
              <a:buChar char="o"/>
              <a:defRPr sz="1800" kern="1200">
                <a:solidFill>
                  <a:schemeClr val="tx1"/>
                </a:solidFill>
                <a:latin typeface="+mn-lt"/>
                <a:ea typeface="+mn-ea"/>
                <a:cs typeface="+mn-cs"/>
              </a:defRPr>
            </a:lvl8pPr>
            <a:lvl9pPr marL="3464897" indent="-237061" algn="l" defTabSz="914377" rtl="0" eaLnBrk="1" latinLnBrk="0" hangingPunct="1">
              <a:lnSpc>
                <a:spcPct val="90000"/>
              </a:lnSpc>
              <a:spcBef>
                <a:spcPts val="500"/>
              </a:spcBef>
              <a:buClr>
                <a:srgbClr val="FF6C00"/>
              </a:buClr>
              <a:buFont typeface="Courier New" panose="02070309020205020404" pitchFamily="49" charset="0"/>
              <a:buChar char="o"/>
              <a:defRPr sz="1800" kern="1200">
                <a:solidFill>
                  <a:schemeClr val="tx1"/>
                </a:solidFill>
                <a:latin typeface="+mn-lt"/>
                <a:ea typeface="+mn-ea"/>
                <a:cs typeface="+mn-cs"/>
              </a:defRPr>
            </a:lvl9pPr>
          </a:lstStyle>
          <a:p>
            <a:pPr marL="380990" indent="-380990">
              <a:lnSpc>
                <a:spcPct val="150000"/>
              </a:lnSpc>
              <a:spcAft>
                <a:spcPts val="0"/>
              </a:spcAft>
              <a:buFont typeface="Arial" panose="020B0604020202020204" pitchFamily="34" charset="0"/>
              <a:buChar char="•"/>
            </a:pPr>
            <a:r>
              <a:rPr lang="en-GB" sz="1600" dirty="0"/>
              <a:t>Highlights needed?</a:t>
            </a:r>
          </a:p>
          <a:p>
            <a:pPr marL="380990" indent="-380990">
              <a:lnSpc>
                <a:spcPct val="150000"/>
              </a:lnSpc>
              <a:spcAft>
                <a:spcPts val="0"/>
              </a:spcAft>
              <a:buFont typeface="Arial" panose="020B0604020202020204" pitchFamily="34" charset="0"/>
              <a:buChar char="•"/>
            </a:pPr>
            <a:r>
              <a:rPr lang="en-GB" sz="1600" dirty="0"/>
              <a:t>Abstract word count?</a:t>
            </a:r>
          </a:p>
          <a:p>
            <a:pPr marL="380990" indent="-380990">
              <a:lnSpc>
                <a:spcPct val="150000"/>
              </a:lnSpc>
              <a:spcAft>
                <a:spcPts val="0"/>
              </a:spcAft>
              <a:buFont typeface="Arial" panose="020B0604020202020204" pitchFamily="34" charset="0"/>
              <a:buChar char="•"/>
            </a:pPr>
            <a:r>
              <a:rPr lang="en-GB" sz="1600" dirty="0"/>
              <a:t>Illustrations needed? How many? </a:t>
            </a:r>
          </a:p>
          <a:p>
            <a:pPr marL="380990" indent="-380990">
              <a:lnSpc>
                <a:spcPct val="150000"/>
              </a:lnSpc>
              <a:spcAft>
                <a:spcPts val="0"/>
              </a:spcAft>
              <a:buFont typeface="Arial" panose="020B0604020202020204" pitchFamily="34" charset="0"/>
              <a:buChar char="•"/>
            </a:pPr>
            <a:r>
              <a:rPr lang="en-GB" sz="1600" dirty="0"/>
              <a:t>Style of referencing</a:t>
            </a:r>
          </a:p>
          <a:p>
            <a:pPr marL="380990" indent="-380990">
              <a:lnSpc>
                <a:spcPct val="150000"/>
              </a:lnSpc>
              <a:spcAft>
                <a:spcPts val="0"/>
              </a:spcAft>
              <a:buFont typeface="Arial" panose="020B0604020202020204" pitchFamily="34" charset="0"/>
              <a:buChar char="•"/>
            </a:pPr>
            <a:r>
              <a:rPr lang="en-GB" sz="1600" dirty="0"/>
              <a:t>Headings and sub-headers specified? Encouraged? Disallowed?</a:t>
            </a:r>
          </a:p>
          <a:p>
            <a:pPr marL="380990" indent="-380990">
              <a:lnSpc>
                <a:spcPct val="150000"/>
              </a:lnSpc>
              <a:spcAft>
                <a:spcPts val="0"/>
              </a:spcAft>
              <a:buFont typeface="Arial" panose="020B0604020202020204" pitchFamily="34" charset="0"/>
              <a:buChar char="•"/>
            </a:pPr>
            <a:r>
              <a:rPr lang="en-GB" sz="1600" dirty="0"/>
              <a:t>Overall length</a:t>
            </a:r>
          </a:p>
          <a:p>
            <a:pPr marL="380990" indent="-380990">
              <a:lnSpc>
                <a:spcPct val="150000"/>
              </a:lnSpc>
              <a:spcAft>
                <a:spcPts val="0"/>
              </a:spcAft>
              <a:buFont typeface="Arial" panose="020B0604020202020204" pitchFamily="34" charset="0"/>
              <a:buChar char="•"/>
            </a:pPr>
            <a:r>
              <a:rPr lang="en-GB" sz="1600" b="1" dirty="0"/>
              <a:t>Manuscript file to be anonymised?</a:t>
            </a:r>
          </a:p>
          <a:p>
            <a:endParaRPr lang="en-GB" sz="1600" dirty="0"/>
          </a:p>
          <a:p>
            <a:endParaRPr lang="en-GB" sz="1600" dirty="0"/>
          </a:p>
          <a:p>
            <a:endParaRPr lang="LID4096" sz="1600" dirty="0"/>
          </a:p>
        </p:txBody>
      </p:sp>
      <p:sp>
        <p:nvSpPr>
          <p:cNvPr id="4" name="Text Placeholder 9">
            <a:extLst>
              <a:ext uri="{FF2B5EF4-FFF2-40B4-BE49-F238E27FC236}">
                <a16:creationId xmlns:a16="http://schemas.microsoft.com/office/drawing/2014/main" id="{6A8AFE79-C42F-948F-383F-DE8471F1CD36}"/>
              </a:ext>
            </a:extLst>
          </p:cNvPr>
          <p:cNvSpPr txBox="1">
            <a:spLocks/>
          </p:cNvSpPr>
          <p:nvPr/>
        </p:nvSpPr>
        <p:spPr>
          <a:xfrm>
            <a:off x="768351" y="1746901"/>
            <a:ext cx="5572814" cy="513771"/>
          </a:xfrm>
          <a:prstGeom prst="rect">
            <a:avLst/>
          </a:prstGeom>
        </p:spPr>
        <p:txBody>
          <a:bodyPr vert="horz" lIns="0" tIns="0" rIns="0" bIns="0" rtlCol="0">
            <a:noAutofit/>
          </a:bodyPr>
          <a:lstStyle>
            <a:lvl1pPr marL="0" indent="0" algn="l" defTabSz="914377" rtl="0" eaLnBrk="1" latinLnBrk="0" hangingPunct="1">
              <a:lnSpc>
                <a:spcPct val="100000"/>
              </a:lnSpc>
              <a:spcBef>
                <a:spcPts val="0"/>
              </a:spcBef>
              <a:spcAft>
                <a:spcPts val="800"/>
              </a:spcAft>
              <a:buClr>
                <a:srgbClr val="FF6C00"/>
              </a:buClr>
              <a:buFont typeface="Arial" charset="0"/>
              <a:buNone/>
              <a:tabLst>
                <a:tab pos="355591" algn="l"/>
              </a:tabLst>
              <a:defRPr lang="nl-NL" sz="2133" b="0" kern="1200" baseline="0">
                <a:solidFill>
                  <a:schemeClr val="tx1"/>
                </a:solidFill>
                <a:latin typeface="+mn-lt"/>
                <a:ea typeface="+mn-ea"/>
                <a:cs typeface="+mn-cs"/>
              </a:defRPr>
            </a:lvl1pPr>
            <a:lvl2pPr marL="480472" indent="-480472" algn="l" defTabSz="914377" rtl="0" eaLnBrk="1" latinLnBrk="0" hangingPunct="1">
              <a:lnSpc>
                <a:spcPct val="100000"/>
              </a:lnSpc>
              <a:spcBef>
                <a:spcPts val="500"/>
              </a:spcBef>
              <a:spcAft>
                <a:spcPts val="800"/>
              </a:spcAft>
              <a:buClr>
                <a:srgbClr val="FF6C00"/>
              </a:buClr>
              <a:buFont typeface="+mj-lt"/>
              <a:buAutoNum type="arabicPeriod"/>
              <a:defRPr lang="nl-NL" sz="2133" b="0" kern="1200">
                <a:solidFill>
                  <a:schemeClr val="tx1"/>
                </a:solidFill>
                <a:latin typeface="+mn-lt"/>
                <a:ea typeface="+mn-ea"/>
                <a:cs typeface="+mn-cs"/>
              </a:defRPr>
            </a:lvl2pPr>
            <a:lvl3pPr marL="486821" indent="0" algn="l" defTabSz="914377" rtl="0" eaLnBrk="1" latinLnBrk="0" hangingPunct="1">
              <a:lnSpc>
                <a:spcPct val="100000"/>
              </a:lnSpc>
              <a:spcBef>
                <a:spcPts val="500"/>
              </a:spcBef>
              <a:spcAft>
                <a:spcPts val="800"/>
              </a:spcAft>
              <a:buClr>
                <a:srgbClr val="FF6C00"/>
              </a:buClr>
              <a:buFont typeface="Arial" charset="0"/>
              <a:buNone/>
              <a:defRPr lang="nl-NL" sz="2133" b="0" kern="1200">
                <a:solidFill>
                  <a:schemeClr val="tx1"/>
                </a:solidFill>
                <a:latin typeface="+mn-lt"/>
                <a:ea typeface="+mn-ea"/>
                <a:cs typeface="+mn-cs"/>
              </a:defRPr>
            </a:lvl3pPr>
            <a:lvl4pPr marL="732348" indent="0" algn="l" defTabSz="914377" rtl="0" eaLnBrk="1" latinLnBrk="0" hangingPunct="1">
              <a:lnSpc>
                <a:spcPct val="100000"/>
              </a:lnSpc>
              <a:spcBef>
                <a:spcPts val="500"/>
              </a:spcBef>
              <a:spcAft>
                <a:spcPts val="800"/>
              </a:spcAft>
              <a:buClr>
                <a:srgbClr val="FF6C00"/>
              </a:buClr>
              <a:buFont typeface="Courier New" panose="02070309020205020404" pitchFamily="49" charset="0"/>
              <a:buNone/>
              <a:tabLst/>
              <a:defRPr lang="nl-NL" sz="2133" b="0" kern="1200">
                <a:solidFill>
                  <a:schemeClr val="tx1"/>
                </a:solidFill>
                <a:latin typeface="+mn-lt"/>
                <a:ea typeface="+mn-ea"/>
                <a:cs typeface="+mn-cs"/>
              </a:defRPr>
            </a:lvl4pPr>
            <a:lvl5pPr marL="967293" indent="0" algn="l" defTabSz="914377" rtl="0" eaLnBrk="1" latinLnBrk="0" hangingPunct="1">
              <a:lnSpc>
                <a:spcPct val="100000"/>
              </a:lnSpc>
              <a:spcBef>
                <a:spcPts val="500"/>
              </a:spcBef>
              <a:spcAft>
                <a:spcPts val="800"/>
              </a:spcAft>
              <a:buClr>
                <a:srgbClr val="FF6C00"/>
              </a:buClr>
              <a:buFont typeface="Arial" charset="0"/>
              <a:buNone/>
              <a:defRPr lang="de-DE" sz="2133" b="0" kern="1200" baseline="0">
                <a:solidFill>
                  <a:schemeClr val="tx1"/>
                </a:solidFill>
                <a:latin typeface="+mn-lt"/>
                <a:ea typeface="+mn-ea"/>
                <a:cs typeface="+mn-cs"/>
              </a:defRPr>
            </a:lvl5pPr>
            <a:lvl6pPr marL="2412940" indent="-260344" algn="l" defTabSz="914377" rtl="0" eaLnBrk="1" latinLnBrk="0" hangingPunct="1">
              <a:lnSpc>
                <a:spcPct val="90000"/>
              </a:lnSpc>
              <a:spcBef>
                <a:spcPts val="500"/>
              </a:spcBef>
              <a:buClr>
                <a:srgbClr val="FF6C00"/>
              </a:buClr>
              <a:buFont typeface="Courier New" panose="02070309020205020404" pitchFamily="49" charset="0"/>
              <a:buChar char="o"/>
              <a:defRPr sz="1800" kern="1200">
                <a:solidFill>
                  <a:schemeClr val="tx1"/>
                </a:solidFill>
                <a:latin typeface="+mn-lt"/>
                <a:ea typeface="+mn-ea"/>
                <a:cs typeface="+mn-cs"/>
              </a:defRPr>
            </a:lvl6pPr>
            <a:lvl7pPr marL="2749482" indent="-234945" algn="l" defTabSz="914377" rtl="0" eaLnBrk="1" latinLnBrk="0" hangingPunct="1">
              <a:lnSpc>
                <a:spcPct val="90000"/>
              </a:lnSpc>
              <a:spcBef>
                <a:spcPts val="500"/>
              </a:spcBef>
              <a:buClr>
                <a:srgbClr val="FF6C00"/>
              </a:buClr>
              <a:buFont typeface="Courier New" panose="02070309020205020404" pitchFamily="49" charset="0"/>
              <a:buChar char="o"/>
              <a:defRPr sz="1800" kern="1200">
                <a:solidFill>
                  <a:schemeClr val="tx1"/>
                </a:solidFill>
                <a:latin typeface="+mn-lt"/>
                <a:ea typeface="+mn-ea"/>
                <a:cs typeface="+mn-cs"/>
              </a:defRPr>
            </a:lvl7pPr>
            <a:lvl8pPr marL="3111422" indent="-243411" algn="l" defTabSz="914377" rtl="0" eaLnBrk="1" latinLnBrk="0" hangingPunct="1">
              <a:lnSpc>
                <a:spcPct val="90000"/>
              </a:lnSpc>
              <a:spcBef>
                <a:spcPts val="500"/>
              </a:spcBef>
              <a:buClr>
                <a:srgbClr val="FF6C00"/>
              </a:buClr>
              <a:buFont typeface="Courier New" panose="02070309020205020404" pitchFamily="49" charset="0"/>
              <a:buChar char="o"/>
              <a:defRPr sz="1800" kern="1200">
                <a:solidFill>
                  <a:schemeClr val="tx1"/>
                </a:solidFill>
                <a:latin typeface="+mn-lt"/>
                <a:ea typeface="+mn-ea"/>
                <a:cs typeface="+mn-cs"/>
              </a:defRPr>
            </a:lvl8pPr>
            <a:lvl9pPr marL="3464897" indent="-237061" algn="l" defTabSz="914377" rtl="0" eaLnBrk="1" latinLnBrk="0" hangingPunct="1">
              <a:lnSpc>
                <a:spcPct val="90000"/>
              </a:lnSpc>
              <a:spcBef>
                <a:spcPts val="500"/>
              </a:spcBef>
              <a:buClr>
                <a:srgbClr val="FF6C00"/>
              </a:buClr>
              <a:buFont typeface="Courier New" panose="02070309020205020404" pitchFamily="49" charset="0"/>
              <a:buChar char="o"/>
              <a:defRPr sz="1800" kern="1200">
                <a:solidFill>
                  <a:schemeClr val="tx1"/>
                </a:solidFill>
                <a:latin typeface="+mn-lt"/>
                <a:ea typeface="+mn-ea"/>
                <a:cs typeface="+mn-cs"/>
              </a:defRPr>
            </a:lvl9pPr>
          </a:lstStyle>
          <a:p>
            <a:pPr>
              <a:spcAft>
                <a:spcPts val="1600"/>
              </a:spcAft>
            </a:pPr>
            <a:r>
              <a:rPr lang="en-GB" sz="2400" b="1" dirty="0">
                <a:solidFill>
                  <a:schemeClr val="accent2"/>
                </a:solidFill>
                <a:latin typeface="Georgia" panose="02040502050405020303" pitchFamily="18" charset="0"/>
              </a:rPr>
              <a:t>Article angle? Approach? Style? </a:t>
            </a:r>
            <a:endParaRPr lang="LID4096" sz="1600" dirty="0"/>
          </a:p>
        </p:txBody>
      </p:sp>
    </p:spTree>
    <p:extLst>
      <p:ext uri="{BB962C8B-B14F-4D97-AF65-F5344CB8AC3E}">
        <p14:creationId xmlns:p14="http://schemas.microsoft.com/office/powerpoint/2010/main" val="3785580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xEl>
                                              <p:pRg st="1" end="1"/>
                                            </p:txEl>
                                          </p:spTgt>
                                        </p:tgtEl>
                                        <p:attrNameLst>
                                          <p:attrName>style.visibility</p:attrName>
                                        </p:attrNameLst>
                                      </p:cBhvr>
                                      <p:to>
                                        <p:strVal val="visible"/>
                                      </p:to>
                                    </p:set>
                                    <p:animEffect transition="in" filter="fade">
                                      <p:cBhvr>
                                        <p:cTn id="10" dur="500"/>
                                        <p:tgtEl>
                                          <p:spTgt spid="2">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
                                            <p:txEl>
                                              <p:pRg st="2" end="2"/>
                                            </p:txEl>
                                          </p:spTgt>
                                        </p:tgtEl>
                                        <p:attrNameLst>
                                          <p:attrName>style.visibility</p:attrName>
                                        </p:attrNameLst>
                                      </p:cBhvr>
                                      <p:to>
                                        <p:strVal val="visible"/>
                                      </p:to>
                                    </p:set>
                                    <p:animEffect transition="in" filter="fade">
                                      <p:cBhvr>
                                        <p:cTn id="13" dur="500"/>
                                        <p:tgtEl>
                                          <p:spTgt spid="2">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
                                            <p:txEl>
                                              <p:pRg st="3" end="3"/>
                                            </p:txEl>
                                          </p:spTgt>
                                        </p:tgtEl>
                                        <p:attrNameLst>
                                          <p:attrName>style.visibility</p:attrName>
                                        </p:attrNameLst>
                                      </p:cBhvr>
                                      <p:to>
                                        <p:strVal val="visible"/>
                                      </p:to>
                                    </p:set>
                                    <p:animEffect transition="in" filter="fade">
                                      <p:cBhvr>
                                        <p:cTn id="16" dur="500"/>
                                        <p:tgtEl>
                                          <p:spTgt spid="2">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
                                            <p:txEl>
                                              <p:pRg st="4" end="4"/>
                                            </p:txEl>
                                          </p:spTgt>
                                        </p:tgtEl>
                                        <p:attrNameLst>
                                          <p:attrName>style.visibility</p:attrName>
                                        </p:attrNameLst>
                                      </p:cBhvr>
                                      <p:to>
                                        <p:strVal val="visible"/>
                                      </p:to>
                                    </p:set>
                                    <p:animEffect transition="in" filter="fade">
                                      <p:cBhvr>
                                        <p:cTn id="19" dur="500"/>
                                        <p:tgtEl>
                                          <p:spTgt spid="2">
                                            <p:txEl>
                                              <p:pRg st="4" end="4"/>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
                                            <p:txEl>
                                              <p:pRg st="5" end="5"/>
                                            </p:txEl>
                                          </p:spTgt>
                                        </p:tgtEl>
                                        <p:attrNameLst>
                                          <p:attrName>style.visibility</p:attrName>
                                        </p:attrNameLst>
                                      </p:cBhvr>
                                      <p:to>
                                        <p:strVal val="visible"/>
                                      </p:to>
                                    </p:set>
                                    <p:animEffect transition="in" filter="fade">
                                      <p:cBhvr>
                                        <p:cTn id="22" dur="500"/>
                                        <p:tgtEl>
                                          <p:spTgt spid="2">
                                            <p:txEl>
                                              <p:pRg st="5" end="5"/>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
                                            <p:txEl>
                                              <p:pRg st="6" end="6"/>
                                            </p:txEl>
                                          </p:spTgt>
                                        </p:tgtEl>
                                        <p:attrNameLst>
                                          <p:attrName>style.visibility</p:attrName>
                                        </p:attrNameLst>
                                      </p:cBhvr>
                                      <p:to>
                                        <p:strVal val="visible"/>
                                      </p:to>
                                    </p:set>
                                    <p:animEffect transition="in" filter="fade">
                                      <p:cBhvr>
                                        <p:cTn id="25" dur="500"/>
                                        <p:tgtEl>
                                          <p:spTgt spid="2">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E869573C-EE0E-0D2D-FFBC-224725EC155A}"/>
            </a:ext>
          </a:extLst>
        </p:cNvPr>
        <p:cNvGrpSpPr/>
        <p:nvPr/>
      </p:nvGrpSpPr>
      <p:grpSpPr>
        <a:xfrm>
          <a:off x="0" y="0"/>
          <a:ext cx="0" cy="0"/>
          <a:chOff x="0" y="0"/>
          <a:chExt cx="0" cy="0"/>
        </a:xfrm>
      </p:grpSpPr>
      <p:sp>
        <p:nvSpPr>
          <p:cNvPr id="8" name="Text Placeholder 1">
            <a:extLst>
              <a:ext uri="{FF2B5EF4-FFF2-40B4-BE49-F238E27FC236}">
                <a16:creationId xmlns:a16="http://schemas.microsoft.com/office/drawing/2014/main" id="{6E5C6A4F-2AA7-F461-2A6F-D088C1047F84}"/>
              </a:ext>
            </a:extLst>
          </p:cNvPr>
          <p:cNvSpPr txBox="1">
            <a:spLocks/>
          </p:cNvSpPr>
          <p:nvPr/>
        </p:nvSpPr>
        <p:spPr>
          <a:xfrm>
            <a:off x="303293" y="204586"/>
            <a:ext cx="7825747" cy="1108293"/>
          </a:xfrm>
          <a:prstGeom prst="rect">
            <a:avLst/>
          </a:prstGeom>
        </p:spPr>
        <p:txBody>
          <a:bodyPr anchor="ctr">
            <a:normAutofit/>
          </a:bodyPr>
          <a:lstStyle>
            <a:defPPr>
              <a:defRPr lang="en-NL"/>
            </a:defPPr>
            <a:lvl1pPr indent="0" defTabSz="609585">
              <a:spcBef>
                <a:spcPct val="20000"/>
              </a:spcBef>
              <a:buFont typeface="Arial"/>
              <a:buNone/>
              <a:defRPr sz="4400">
                <a:solidFill>
                  <a:schemeClr val="accent2"/>
                </a:solidFill>
                <a:latin typeface="Georgia" panose="02040502050405020303" pitchFamily="18" charset="0"/>
              </a:defRPr>
            </a:lvl1pPr>
            <a:lvl2pPr marL="742950" indent="-285750" defTabSz="457200">
              <a:spcBef>
                <a:spcPct val="20000"/>
              </a:spcBef>
              <a:buFont typeface="Arial"/>
              <a:buChar char="–"/>
              <a:defRPr sz="2800"/>
            </a:lvl2pPr>
            <a:lvl3pPr marL="1143000" indent="-228600" defTabSz="457200">
              <a:spcBef>
                <a:spcPct val="20000"/>
              </a:spcBef>
              <a:buFont typeface="Arial"/>
              <a:buChar char="•"/>
              <a:defRPr sz="2400"/>
            </a:lvl3pPr>
            <a:lvl4pPr marL="1600200" indent="-228600" defTabSz="457200">
              <a:spcBef>
                <a:spcPct val="20000"/>
              </a:spcBef>
              <a:buFont typeface="Arial"/>
              <a:buChar char="–"/>
              <a:defRPr sz="2000"/>
            </a:lvl4pPr>
            <a:lvl5pPr marL="2057400" indent="-228600" defTabSz="457200">
              <a:spcBef>
                <a:spcPct val="20000"/>
              </a:spcBef>
              <a:buFont typeface="Arial"/>
              <a:buChar char="»"/>
              <a:defRPr sz="2000"/>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r>
              <a:rPr lang="en-US" dirty="0"/>
              <a:t>3. Structuring your article</a:t>
            </a:r>
          </a:p>
        </p:txBody>
      </p:sp>
      <p:pic>
        <p:nvPicPr>
          <p:cNvPr id="7170" name="Picture 2" descr="Implementing a structured writing program">
            <a:extLst>
              <a:ext uri="{FF2B5EF4-FFF2-40B4-BE49-F238E27FC236}">
                <a16:creationId xmlns:a16="http://schemas.microsoft.com/office/drawing/2014/main" id="{F863C078-4C26-FFCA-6B0C-7D5A72BFDF5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3293" y="2885316"/>
            <a:ext cx="6000001" cy="3600000"/>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a:extLst>
              <a:ext uri="{FF2B5EF4-FFF2-40B4-BE49-F238E27FC236}">
                <a16:creationId xmlns:a16="http://schemas.microsoft.com/office/drawing/2014/main" id="{6285EF4F-B27C-4864-508F-38A13F4EF073}"/>
              </a:ext>
            </a:extLst>
          </p:cNvPr>
          <p:cNvSpPr>
            <a:spLocks noGrp="1"/>
          </p:cNvSpPr>
          <p:nvPr>
            <p:ph type="body" sz="quarter" idx="13"/>
          </p:nvPr>
        </p:nvSpPr>
        <p:spPr>
          <a:xfrm>
            <a:off x="11152107" y="352332"/>
            <a:ext cx="736600" cy="812800"/>
          </a:xfrm>
        </p:spPr>
        <p:txBody>
          <a:bodyPr/>
          <a:lstStyle/>
          <a:p>
            <a:endParaRPr lang="en-GB" dirty="0"/>
          </a:p>
        </p:txBody>
      </p:sp>
    </p:spTree>
    <p:extLst>
      <p:ext uri="{BB962C8B-B14F-4D97-AF65-F5344CB8AC3E}">
        <p14:creationId xmlns:p14="http://schemas.microsoft.com/office/powerpoint/2010/main" val="1393219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C41A35-4A71-000A-23E7-ECF25DD2B50D}"/>
            </a:ext>
          </a:extLst>
        </p:cNvPr>
        <p:cNvGrpSpPr/>
        <p:nvPr/>
      </p:nvGrpSpPr>
      <p:grpSpPr>
        <a:xfrm>
          <a:off x="0" y="0"/>
          <a:ext cx="0" cy="0"/>
          <a:chOff x="0" y="0"/>
          <a:chExt cx="0" cy="0"/>
        </a:xfrm>
      </p:grpSpPr>
      <p:sp>
        <p:nvSpPr>
          <p:cNvPr id="8" name="Text Placeholder 7">
            <a:extLst>
              <a:ext uri="{FF2B5EF4-FFF2-40B4-BE49-F238E27FC236}">
                <a16:creationId xmlns:a16="http://schemas.microsoft.com/office/drawing/2014/main" id="{CF3491D2-2128-C3AE-E0FD-AA64E2B500B3}"/>
              </a:ext>
            </a:extLst>
          </p:cNvPr>
          <p:cNvSpPr>
            <a:spLocks noGrp="1"/>
          </p:cNvSpPr>
          <p:nvPr>
            <p:ph type="body" sz="quarter" idx="24"/>
          </p:nvPr>
        </p:nvSpPr>
        <p:spPr>
          <a:xfrm>
            <a:off x="1069140" y="6190679"/>
            <a:ext cx="10780918" cy="513771"/>
          </a:xfrm>
        </p:spPr>
        <p:txBody>
          <a:bodyPr>
            <a:normAutofit/>
          </a:bodyPr>
          <a:lstStyle/>
          <a:p>
            <a:r>
              <a:rPr lang="en-GB" sz="1800" dirty="0">
                <a:solidFill>
                  <a:schemeClr val="accent1"/>
                </a:solidFill>
                <a:latin typeface="Georgia" panose="02040502050405020303" pitchFamily="18" charset="0"/>
              </a:rPr>
              <a:t>Follow the journal's Guide for Authors for your chosen article type </a:t>
            </a:r>
            <a:endParaRPr lang="LID4096" sz="1200" dirty="0"/>
          </a:p>
        </p:txBody>
      </p:sp>
      <p:sp>
        <p:nvSpPr>
          <p:cNvPr id="6" name="Title 5">
            <a:extLst>
              <a:ext uri="{FF2B5EF4-FFF2-40B4-BE49-F238E27FC236}">
                <a16:creationId xmlns:a16="http://schemas.microsoft.com/office/drawing/2014/main" id="{E4E5D239-78C9-0247-E873-2E5474EE62EC}"/>
              </a:ext>
            </a:extLst>
          </p:cNvPr>
          <p:cNvSpPr>
            <a:spLocks noGrp="1"/>
          </p:cNvSpPr>
          <p:nvPr>
            <p:ph type="title"/>
          </p:nvPr>
        </p:nvSpPr>
        <p:spPr/>
        <p:txBody>
          <a:bodyPr/>
          <a:lstStyle/>
          <a:p>
            <a:r>
              <a:rPr lang="en-GB" dirty="0">
                <a:solidFill>
                  <a:schemeClr val="accent1"/>
                </a:solidFill>
                <a:latin typeface="Georgia" panose="02040502050405020303" pitchFamily="18" charset="0"/>
              </a:rPr>
              <a:t>Common structure:</a:t>
            </a:r>
            <a:endParaRPr lang="LID4096" dirty="0">
              <a:solidFill>
                <a:schemeClr val="accent1"/>
              </a:solidFill>
              <a:latin typeface="Georgia" panose="02040502050405020303" pitchFamily="18" charset="0"/>
            </a:endParaRPr>
          </a:p>
        </p:txBody>
      </p:sp>
      <p:sp>
        <p:nvSpPr>
          <p:cNvPr id="3" name="Text Placeholder 9">
            <a:extLst>
              <a:ext uri="{FF2B5EF4-FFF2-40B4-BE49-F238E27FC236}">
                <a16:creationId xmlns:a16="http://schemas.microsoft.com/office/drawing/2014/main" id="{B3923DE8-46B3-4F27-8C68-B3B6F181C40F}"/>
              </a:ext>
            </a:extLst>
          </p:cNvPr>
          <p:cNvSpPr txBox="1">
            <a:spLocks/>
          </p:cNvSpPr>
          <p:nvPr/>
        </p:nvSpPr>
        <p:spPr>
          <a:xfrm>
            <a:off x="768350" y="1113368"/>
            <a:ext cx="4944533" cy="3687904"/>
          </a:xfrm>
          <a:prstGeom prst="rect">
            <a:avLst/>
          </a:prstGeom>
        </p:spPr>
        <p:txBody>
          <a:bodyPr vert="horz" lIns="0" tIns="0" rIns="0" bIns="0" rtlCol="0">
            <a:noAutofit/>
          </a:bodyPr>
          <a:lstStyle>
            <a:lvl1pPr marL="0" indent="0" algn="l" defTabSz="914377" rtl="0" eaLnBrk="1" latinLnBrk="0" hangingPunct="1">
              <a:lnSpc>
                <a:spcPct val="100000"/>
              </a:lnSpc>
              <a:spcBef>
                <a:spcPts val="0"/>
              </a:spcBef>
              <a:spcAft>
                <a:spcPts val="800"/>
              </a:spcAft>
              <a:buClr>
                <a:srgbClr val="FF6C00"/>
              </a:buClr>
              <a:buFont typeface="Arial" charset="0"/>
              <a:buNone/>
              <a:tabLst>
                <a:tab pos="355591" algn="l"/>
              </a:tabLst>
              <a:defRPr lang="nl-NL" sz="2133" b="0" kern="1200" baseline="0">
                <a:solidFill>
                  <a:schemeClr val="tx1"/>
                </a:solidFill>
                <a:latin typeface="+mn-lt"/>
                <a:ea typeface="+mn-ea"/>
                <a:cs typeface="+mn-cs"/>
              </a:defRPr>
            </a:lvl1pPr>
            <a:lvl2pPr marL="480472" indent="-480472" algn="l" defTabSz="914377" rtl="0" eaLnBrk="1" latinLnBrk="0" hangingPunct="1">
              <a:lnSpc>
                <a:spcPct val="100000"/>
              </a:lnSpc>
              <a:spcBef>
                <a:spcPts val="500"/>
              </a:spcBef>
              <a:spcAft>
                <a:spcPts val="800"/>
              </a:spcAft>
              <a:buClr>
                <a:srgbClr val="FF6C00"/>
              </a:buClr>
              <a:buFont typeface="+mj-lt"/>
              <a:buAutoNum type="arabicPeriod"/>
              <a:defRPr lang="nl-NL" sz="2133" b="0" kern="1200">
                <a:solidFill>
                  <a:schemeClr val="tx1"/>
                </a:solidFill>
                <a:latin typeface="+mn-lt"/>
                <a:ea typeface="+mn-ea"/>
                <a:cs typeface="+mn-cs"/>
              </a:defRPr>
            </a:lvl2pPr>
            <a:lvl3pPr marL="486821" indent="0" algn="l" defTabSz="914377" rtl="0" eaLnBrk="1" latinLnBrk="0" hangingPunct="1">
              <a:lnSpc>
                <a:spcPct val="100000"/>
              </a:lnSpc>
              <a:spcBef>
                <a:spcPts val="500"/>
              </a:spcBef>
              <a:spcAft>
                <a:spcPts val="800"/>
              </a:spcAft>
              <a:buClr>
                <a:srgbClr val="FF6C00"/>
              </a:buClr>
              <a:buFont typeface="Arial" charset="0"/>
              <a:buNone/>
              <a:defRPr lang="nl-NL" sz="2133" b="0" kern="1200">
                <a:solidFill>
                  <a:schemeClr val="tx1"/>
                </a:solidFill>
                <a:latin typeface="+mn-lt"/>
                <a:ea typeface="+mn-ea"/>
                <a:cs typeface="+mn-cs"/>
              </a:defRPr>
            </a:lvl3pPr>
            <a:lvl4pPr marL="732348" indent="0" algn="l" defTabSz="914377" rtl="0" eaLnBrk="1" latinLnBrk="0" hangingPunct="1">
              <a:lnSpc>
                <a:spcPct val="100000"/>
              </a:lnSpc>
              <a:spcBef>
                <a:spcPts val="500"/>
              </a:spcBef>
              <a:spcAft>
                <a:spcPts val="800"/>
              </a:spcAft>
              <a:buClr>
                <a:srgbClr val="FF6C00"/>
              </a:buClr>
              <a:buFont typeface="Courier New" panose="02070309020205020404" pitchFamily="49" charset="0"/>
              <a:buNone/>
              <a:tabLst/>
              <a:defRPr lang="nl-NL" sz="2133" b="0" kern="1200">
                <a:solidFill>
                  <a:schemeClr val="tx1"/>
                </a:solidFill>
                <a:latin typeface="+mn-lt"/>
                <a:ea typeface="+mn-ea"/>
                <a:cs typeface="+mn-cs"/>
              </a:defRPr>
            </a:lvl4pPr>
            <a:lvl5pPr marL="967293" indent="0" algn="l" defTabSz="914377" rtl="0" eaLnBrk="1" latinLnBrk="0" hangingPunct="1">
              <a:lnSpc>
                <a:spcPct val="100000"/>
              </a:lnSpc>
              <a:spcBef>
                <a:spcPts val="500"/>
              </a:spcBef>
              <a:spcAft>
                <a:spcPts val="800"/>
              </a:spcAft>
              <a:buClr>
                <a:srgbClr val="FF6C00"/>
              </a:buClr>
              <a:buFont typeface="Arial" charset="0"/>
              <a:buNone/>
              <a:defRPr lang="de-DE" sz="2133" b="0" kern="1200" baseline="0">
                <a:solidFill>
                  <a:schemeClr val="tx1"/>
                </a:solidFill>
                <a:latin typeface="+mn-lt"/>
                <a:ea typeface="+mn-ea"/>
                <a:cs typeface="+mn-cs"/>
              </a:defRPr>
            </a:lvl5pPr>
            <a:lvl6pPr marL="2412940" indent="-260344" algn="l" defTabSz="914377" rtl="0" eaLnBrk="1" latinLnBrk="0" hangingPunct="1">
              <a:lnSpc>
                <a:spcPct val="90000"/>
              </a:lnSpc>
              <a:spcBef>
                <a:spcPts val="500"/>
              </a:spcBef>
              <a:buClr>
                <a:srgbClr val="FF6C00"/>
              </a:buClr>
              <a:buFont typeface="Courier New" panose="02070309020205020404" pitchFamily="49" charset="0"/>
              <a:buChar char="o"/>
              <a:defRPr sz="1800" kern="1200">
                <a:solidFill>
                  <a:schemeClr val="tx1"/>
                </a:solidFill>
                <a:latin typeface="+mn-lt"/>
                <a:ea typeface="+mn-ea"/>
                <a:cs typeface="+mn-cs"/>
              </a:defRPr>
            </a:lvl6pPr>
            <a:lvl7pPr marL="2749482" indent="-234945" algn="l" defTabSz="914377" rtl="0" eaLnBrk="1" latinLnBrk="0" hangingPunct="1">
              <a:lnSpc>
                <a:spcPct val="90000"/>
              </a:lnSpc>
              <a:spcBef>
                <a:spcPts val="500"/>
              </a:spcBef>
              <a:buClr>
                <a:srgbClr val="FF6C00"/>
              </a:buClr>
              <a:buFont typeface="Courier New" panose="02070309020205020404" pitchFamily="49" charset="0"/>
              <a:buChar char="o"/>
              <a:defRPr sz="1800" kern="1200">
                <a:solidFill>
                  <a:schemeClr val="tx1"/>
                </a:solidFill>
                <a:latin typeface="+mn-lt"/>
                <a:ea typeface="+mn-ea"/>
                <a:cs typeface="+mn-cs"/>
              </a:defRPr>
            </a:lvl7pPr>
            <a:lvl8pPr marL="3111422" indent="-243411" algn="l" defTabSz="914377" rtl="0" eaLnBrk="1" latinLnBrk="0" hangingPunct="1">
              <a:lnSpc>
                <a:spcPct val="90000"/>
              </a:lnSpc>
              <a:spcBef>
                <a:spcPts val="500"/>
              </a:spcBef>
              <a:buClr>
                <a:srgbClr val="FF6C00"/>
              </a:buClr>
              <a:buFont typeface="Courier New" panose="02070309020205020404" pitchFamily="49" charset="0"/>
              <a:buChar char="o"/>
              <a:defRPr sz="1800" kern="1200">
                <a:solidFill>
                  <a:schemeClr val="tx1"/>
                </a:solidFill>
                <a:latin typeface="+mn-lt"/>
                <a:ea typeface="+mn-ea"/>
                <a:cs typeface="+mn-cs"/>
              </a:defRPr>
            </a:lvl8pPr>
            <a:lvl9pPr marL="3464897" indent="-237061" algn="l" defTabSz="914377" rtl="0" eaLnBrk="1" latinLnBrk="0" hangingPunct="1">
              <a:lnSpc>
                <a:spcPct val="90000"/>
              </a:lnSpc>
              <a:spcBef>
                <a:spcPts val="500"/>
              </a:spcBef>
              <a:buClr>
                <a:srgbClr val="FF6C00"/>
              </a:buClr>
              <a:buFont typeface="Courier New" panose="02070309020205020404" pitchFamily="49" charset="0"/>
              <a:buChar char="o"/>
              <a:defRPr sz="1800" kern="1200">
                <a:solidFill>
                  <a:schemeClr val="tx1"/>
                </a:solidFill>
                <a:latin typeface="+mn-lt"/>
                <a:ea typeface="+mn-ea"/>
                <a:cs typeface="+mn-cs"/>
              </a:defRPr>
            </a:lvl9pPr>
          </a:lstStyle>
          <a:p>
            <a:pPr>
              <a:spcAft>
                <a:spcPts val="0"/>
              </a:spcAft>
            </a:pPr>
            <a:r>
              <a:rPr lang="en-GB" sz="1600" b="1" dirty="0"/>
              <a:t>Page 1: </a:t>
            </a:r>
            <a:r>
              <a:rPr lang="en-GB" sz="1600" dirty="0"/>
              <a:t>Title, Abstract, Keywords</a:t>
            </a:r>
          </a:p>
          <a:p>
            <a:pPr>
              <a:spcAft>
                <a:spcPts val="0"/>
              </a:spcAft>
            </a:pPr>
            <a:endParaRPr lang="en-GB" sz="1600" dirty="0"/>
          </a:p>
          <a:p>
            <a:pPr>
              <a:spcAft>
                <a:spcPts val="0"/>
              </a:spcAft>
            </a:pPr>
            <a:r>
              <a:rPr lang="en-GB" sz="1600" b="1" dirty="0"/>
              <a:t>Main body text:</a:t>
            </a:r>
          </a:p>
          <a:p>
            <a:pPr marL="251876" lvl="3">
              <a:spcAft>
                <a:spcPts val="0"/>
              </a:spcAft>
            </a:pPr>
            <a:r>
              <a:rPr lang="en-GB" sz="1600" dirty="0"/>
              <a:t>1. Introduction </a:t>
            </a:r>
          </a:p>
          <a:p>
            <a:pPr marL="251876" lvl="3">
              <a:spcAft>
                <a:spcPts val="0"/>
              </a:spcAft>
            </a:pPr>
            <a:r>
              <a:rPr lang="en-GB" sz="1600" dirty="0"/>
              <a:t>2. Literature Review/Background</a:t>
            </a:r>
          </a:p>
          <a:p>
            <a:pPr marL="251876" lvl="3">
              <a:spcAft>
                <a:spcPts val="0"/>
              </a:spcAft>
            </a:pPr>
            <a:r>
              <a:rPr lang="en-GB" sz="1600" dirty="0"/>
              <a:t>3. Methods</a:t>
            </a:r>
          </a:p>
          <a:p>
            <a:pPr marL="251876" lvl="3">
              <a:spcAft>
                <a:spcPts val="0"/>
              </a:spcAft>
            </a:pPr>
            <a:r>
              <a:rPr lang="en-GB" sz="1600" dirty="0"/>
              <a:t>4. Discussion</a:t>
            </a:r>
          </a:p>
          <a:p>
            <a:pPr marL="251876" lvl="3">
              <a:spcAft>
                <a:spcPts val="0"/>
              </a:spcAft>
            </a:pPr>
            <a:r>
              <a:rPr lang="en-GB" sz="1600" dirty="0"/>
              <a:t>5. Conclusion </a:t>
            </a:r>
          </a:p>
          <a:p>
            <a:pPr marL="380990" indent="-380990">
              <a:spcAft>
                <a:spcPts val="0"/>
              </a:spcAft>
              <a:buFont typeface="Arial" panose="020B0604020202020204" pitchFamily="34" charset="0"/>
              <a:buChar char="•"/>
            </a:pPr>
            <a:endParaRPr lang="en-GB" sz="1600" dirty="0"/>
          </a:p>
          <a:p>
            <a:pPr>
              <a:spcAft>
                <a:spcPts val="0"/>
              </a:spcAft>
            </a:pPr>
            <a:r>
              <a:rPr lang="en-GB" sz="1600" b="1" dirty="0"/>
              <a:t>Followed by:</a:t>
            </a:r>
          </a:p>
          <a:p>
            <a:pPr marL="0" lvl="1" indent="0">
              <a:spcBef>
                <a:spcPts val="0"/>
              </a:spcBef>
              <a:spcAft>
                <a:spcPts val="0"/>
              </a:spcAft>
              <a:buFont typeface="+mj-lt"/>
              <a:buNone/>
              <a:tabLst>
                <a:tab pos="355591" algn="l"/>
              </a:tabLst>
            </a:pPr>
            <a:endParaRPr lang="en-GB" sz="1600" dirty="0"/>
          </a:p>
          <a:p>
            <a:pPr marL="380990" lvl="1" indent="-380990">
              <a:spcBef>
                <a:spcPts val="0"/>
              </a:spcBef>
              <a:spcAft>
                <a:spcPts val="0"/>
              </a:spcAft>
              <a:buClr>
                <a:schemeClr val="tx2"/>
              </a:buClr>
              <a:buFont typeface="Arial" panose="020B0604020202020204" pitchFamily="34" charset="0"/>
              <a:buChar char="•"/>
              <a:tabLst>
                <a:tab pos="355591" algn="l"/>
              </a:tabLst>
            </a:pPr>
            <a:r>
              <a:rPr lang="en-GB" sz="1600" dirty="0"/>
              <a:t>References </a:t>
            </a:r>
          </a:p>
          <a:p>
            <a:pPr marL="380990" lvl="1" indent="-380990">
              <a:spcBef>
                <a:spcPts val="0"/>
              </a:spcBef>
              <a:spcAft>
                <a:spcPts val="0"/>
              </a:spcAft>
              <a:buClr>
                <a:schemeClr val="tx2"/>
              </a:buClr>
              <a:buFont typeface="Arial" panose="020B0604020202020204" pitchFamily="34" charset="0"/>
              <a:buChar char="•"/>
              <a:tabLst>
                <a:tab pos="355591" algn="l"/>
              </a:tabLst>
            </a:pPr>
            <a:r>
              <a:rPr lang="en-GB" sz="1600" dirty="0"/>
              <a:t>Illustrations (if not placed within the main text) </a:t>
            </a:r>
          </a:p>
          <a:p>
            <a:pPr>
              <a:spcAft>
                <a:spcPts val="1600"/>
              </a:spcAft>
            </a:pPr>
            <a:endParaRPr lang="en-GB" sz="2400" b="1" dirty="0">
              <a:solidFill>
                <a:schemeClr val="accent2"/>
              </a:solidFill>
              <a:latin typeface="Georgia" panose="02040502050405020303" pitchFamily="18" charset="0"/>
            </a:endParaRPr>
          </a:p>
          <a:p>
            <a:pPr marL="380990" indent="-380990">
              <a:buFont typeface="Arial" panose="020B0604020202020204" pitchFamily="34" charset="0"/>
              <a:buChar char="•"/>
            </a:pPr>
            <a:endParaRPr lang="en-GB" sz="1600" dirty="0"/>
          </a:p>
          <a:p>
            <a:pPr marL="380990" indent="-380990">
              <a:buFont typeface="Arial" panose="020B0604020202020204" pitchFamily="34" charset="0"/>
              <a:buChar char="•"/>
            </a:pPr>
            <a:endParaRPr lang="en-GB" sz="1600" dirty="0"/>
          </a:p>
          <a:p>
            <a:endParaRPr lang="LID4096" sz="1600" dirty="0"/>
          </a:p>
        </p:txBody>
      </p:sp>
    </p:spTree>
    <p:extLst>
      <p:ext uri="{BB962C8B-B14F-4D97-AF65-F5344CB8AC3E}">
        <p14:creationId xmlns:p14="http://schemas.microsoft.com/office/powerpoint/2010/main" val="298542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993974-F9E5-0962-A2E9-4152943C2C95}"/>
            </a:ext>
          </a:extLst>
        </p:cNvPr>
        <p:cNvGrpSpPr/>
        <p:nvPr/>
      </p:nvGrpSpPr>
      <p:grpSpPr>
        <a:xfrm>
          <a:off x="0" y="0"/>
          <a:ext cx="0" cy="0"/>
          <a:chOff x="0" y="0"/>
          <a:chExt cx="0" cy="0"/>
        </a:xfrm>
      </p:grpSpPr>
      <p:sp>
        <p:nvSpPr>
          <p:cNvPr id="7" name="Text Placeholder 6">
            <a:extLst>
              <a:ext uri="{FF2B5EF4-FFF2-40B4-BE49-F238E27FC236}">
                <a16:creationId xmlns:a16="http://schemas.microsoft.com/office/drawing/2014/main" id="{F02DFB0D-57F0-3433-07AD-8BD43E4DB1E7}"/>
              </a:ext>
            </a:extLst>
          </p:cNvPr>
          <p:cNvSpPr>
            <a:spLocks noGrp="1"/>
          </p:cNvSpPr>
          <p:nvPr>
            <p:ph type="body" sz="quarter" idx="23"/>
          </p:nvPr>
        </p:nvSpPr>
        <p:spPr>
          <a:xfrm>
            <a:off x="768351" y="1171314"/>
            <a:ext cx="5956299" cy="2486287"/>
          </a:xfrm>
        </p:spPr>
        <p:txBody>
          <a:bodyPr/>
          <a:lstStyle/>
          <a:p>
            <a:r>
              <a:rPr lang="en-GB" sz="2400" b="1" dirty="0">
                <a:solidFill>
                  <a:schemeClr val="accent2"/>
                </a:solidFill>
                <a:latin typeface="Georgia" panose="02040502050405020303" pitchFamily="18" charset="0"/>
              </a:rPr>
              <a:t>Abstract</a:t>
            </a:r>
          </a:p>
          <a:p>
            <a:pPr marL="380990" indent="-380990">
              <a:lnSpc>
                <a:spcPct val="150000"/>
              </a:lnSpc>
              <a:spcAft>
                <a:spcPts val="0"/>
              </a:spcAft>
              <a:buFont typeface="Arial" panose="020B0604020202020204" pitchFamily="34" charset="0"/>
              <a:buChar char="•"/>
            </a:pPr>
            <a:r>
              <a:rPr lang="en-GB" sz="1600" dirty="0"/>
              <a:t>Do not be too technical </a:t>
            </a:r>
          </a:p>
          <a:p>
            <a:pPr marL="380990" indent="-380990">
              <a:lnSpc>
                <a:spcPct val="150000"/>
              </a:lnSpc>
              <a:spcAft>
                <a:spcPts val="0"/>
              </a:spcAft>
              <a:buFont typeface="Arial" panose="020B0604020202020204" pitchFamily="34" charset="0"/>
              <a:buChar char="•"/>
            </a:pPr>
            <a:r>
              <a:rPr lang="en-GB" sz="1600" dirty="0"/>
              <a:t>Do not assume the reader knows all the key terms, where the study is based and so on</a:t>
            </a:r>
          </a:p>
          <a:p>
            <a:pPr marL="380990" indent="-380990">
              <a:lnSpc>
                <a:spcPct val="150000"/>
              </a:lnSpc>
              <a:spcAft>
                <a:spcPts val="0"/>
              </a:spcAft>
              <a:buFont typeface="Arial" panose="020B0604020202020204" pitchFamily="34" charset="0"/>
              <a:buChar char="•"/>
            </a:pPr>
            <a:r>
              <a:rPr lang="en-GB" sz="1600" dirty="0"/>
              <a:t>This should not be word-for-word the same as your Introduction opening paragraph </a:t>
            </a:r>
          </a:p>
          <a:p>
            <a:pPr marL="380990" indent="-380990">
              <a:buFont typeface="Arial" panose="020B0604020202020204" pitchFamily="34" charset="0"/>
              <a:buChar char="•"/>
            </a:pPr>
            <a:endParaRPr lang="LID4096" dirty="0"/>
          </a:p>
        </p:txBody>
      </p:sp>
      <p:sp>
        <p:nvSpPr>
          <p:cNvPr id="4" name="Text Placeholder 7">
            <a:extLst>
              <a:ext uri="{FF2B5EF4-FFF2-40B4-BE49-F238E27FC236}">
                <a16:creationId xmlns:a16="http://schemas.microsoft.com/office/drawing/2014/main" id="{4879168B-91A1-DD9D-FF8B-C8FA8C9E8866}"/>
              </a:ext>
            </a:extLst>
          </p:cNvPr>
          <p:cNvSpPr>
            <a:spLocks noGrp="1"/>
          </p:cNvSpPr>
          <p:nvPr>
            <p:ph type="body" sz="quarter" idx="24"/>
          </p:nvPr>
        </p:nvSpPr>
        <p:spPr>
          <a:xfrm>
            <a:off x="768351" y="4095080"/>
            <a:ext cx="5956299" cy="2502569"/>
          </a:xfrm>
        </p:spPr>
        <p:txBody>
          <a:bodyPr>
            <a:normAutofit/>
          </a:bodyPr>
          <a:lstStyle/>
          <a:p>
            <a:r>
              <a:rPr lang="en-GB" sz="2400" b="1" dirty="0">
                <a:solidFill>
                  <a:schemeClr val="accent1"/>
                </a:solidFill>
                <a:latin typeface="Georgia" panose="02040502050405020303" pitchFamily="18" charset="0"/>
              </a:rPr>
              <a:t>Literature Review </a:t>
            </a:r>
          </a:p>
          <a:p>
            <a:pPr marL="380990" indent="-380990">
              <a:lnSpc>
                <a:spcPct val="150000"/>
              </a:lnSpc>
              <a:spcAft>
                <a:spcPts val="0"/>
              </a:spcAft>
              <a:buClr>
                <a:schemeClr val="accent1"/>
              </a:buClr>
              <a:buFont typeface="Arial" panose="020B0604020202020204" pitchFamily="34" charset="0"/>
              <a:buChar char="•"/>
            </a:pPr>
            <a:r>
              <a:rPr lang="en-GB" sz="1600" dirty="0"/>
              <a:t>This should be comprehensive</a:t>
            </a:r>
          </a:p>
          <a:p>
            <a:pPr marL="380990" indent="-380990">
              <a:lnSpc>
                <a:spcPct val="150000"/>
              </a:lnSpc>
              <a:spcAft>
                <a:spcPts val="0"/>
              </a:spcAft>
              <a:buClr>
                <a:schemeClr val="accent1"/>
              </a:buClr>
              <a:buFont typeface="Arial" panose="020B0604020202020204" pitchFamily="34" charset="0"/>
              <a:buChar char="•"/>
            </a:pPr>
            <a:r>
              <a:rPr lang="en-GB" sz="1600" dirty="0"/>
              <a:t>Include all relevant literature:</a:t>
            </a:r>
          </a:p>
          <a:p>
            <a:pPr marL="1113339" lvl="3" indent="-380990">
              <a:lnSpc>
                <a:spcPct val="150000"/>
              </a:lnSpc>
              <a:spcBef>
                <a:spcPts val="0"/>
              </a:spcBef>
              <a:spcAft>
                <a:spcPts val="0"/>
              </a:spcAft>
              <a:buClr>
                <a:schemeClr val="accent1"/>
              </a:buClr>
              <a:buFont typeface="Arial" panose="020B0604020202020204" pitchFamily="34" charset="0"/>
              <a:buChar char="•"/>
            </a:pPr>
            <a:r>
              <a:rPr lang="en-GB" sz="1600" dirty="0"/>
              <a:t>Main players</a:t>
            </a:r>
          </a:p>
          <a:p>
            <a:pPr marL="1113339" lvl="3" indent="-380990">
              <a:lnSpc>
                <a:spcPct val="150000"/>
              </a:lnSpc>
              <a:spcBef>
                <a:spcPts val="0"/>
              </a:spcBef>
              <a:spcAft>
                <a:spcPts val="0"/>
              </a:spcAft>
              <a:buClr>
                <a:schemeClr val="accent1"/>
              </a:buClr>
              <a:buFont typeface="Arial" panose="020B0604020202020204" pitchFamily="34" charset="0"/>
              <a:buChar char="•"/>
            </a:pPr>
            <a:r>
              <a:rPr lang="en-GB" sz="1600" dirty="0"/>
              <a:t>Recent publications </a:t>
            </a:r>
          </a:p>
          <a:p>
            <a:pPr marL="1113339" lvl="3" indent="-380990">
              <a:lnSpc>
                <a:spcPct val="150000"/>
              </a:lnSpc>
              <a:spcBef>
                <a:spcPts val="0"/>
              </a:spcBef>
              <a:spcAft>
                <a:spcPts val="0"/>
              </a:spcAft>
              <a:buClr>
                <a:schemeClr val="accent1"/>
              </a:buClr>
              <a:buFont typeface="Arial" panose="020B0604020202020204" pitchFamily="34" charset="0"/>
              <a:buChar char="•"/>
            </a:pPr>
            <a:r>
              <a:rPr lang="en-GB" sz="1600" dirty="0"/>
              <a:t>Common debates</a:t>
            </a:r>
          </a:p>
          <a:p>
            <a:endParaRPr lang="en-GB" sz="1867" dirty="0"/>
          </a:p>
          <a:p>
            <a:endParaRPr lang="LID4096" sz="1867" dirty="0"/>
          </a:p>
        </p:txBody>
      </p:sp>
      <p:sp>
        <p:nvSpPr>
          <p:cNvPr id="6" name="Title 5">
            <a:extLst>
              <a:ext uri="{FF2B5EF4-FFF2-40B4-BE49-F238E27FC236}">
                <a16:creationId xmlns:a16="http://schemas.microsoft.com/office/drawing/2014/main" id="{E022C2AC-A54F-9E53-5347-4F86FAA9AEE3}"/>
              </a:ext>
            </a:extLst>
          </p:cNvPr>
          <p:cNvSpPr>
            <a:spLocks noGrp="1"/>
          </p:cNvSpPr>
          <p:nvPr>
            <p:ph type="title"/>
          </p:nvPr>
        </p:nvSpPr>
        <p:spPr/>
        <p:txBody>
          <a:bodyPr/>
          <a:lstStyle/>
          <a:p>
            <a:r>
              <a:rPr lang="en-GB" dirty="0">
                <a:latin typeface="Georgia" panose="02040502050405020303" pitchFamily="18" charset="0"/>
              </a:rPr>
              <a:t>Structuring your article </a:t>
            </a:r>
            <a:endParaRPr lang="LID4096" dirty="0">
              <a:latin typeface="Georgia" panose="02040502050405020303" pitchFamily="18" charset="0"/>
            </a:endParaRPr>
          </a:p>
        </p:txBody>
      </p:sp>
      <p:pic>
        <p:nvPicPr>
          <p:cNvPr id="2" name="Picture Placeholder 14" descr="A picture containing text&#10;&#10;Description automatically generated">
            <a:extLst>
              <a:ext uri="{FF2B5EF4-FFF2-40B4-BE49-F238E27FC236}">
                <a16:creationId xmlns:a16="http://schemas.microsoft.com/office/drawing/2014/main" id="{AF024CBF-01AB-AB5B-59B2-069EBF2E05F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7366537" y="1461858"/>
            <a:ext cx="3701915" cy="4164655"/>
          </a:xfrm>
          <a:prstGeom prst="rect">
            <a:avLst/>
          </a:prstGeom>
        </p:spPr>
      </p:pic>
    </p:spTree>
    <p:extLst>
      <p:ext uri="{BB962C8B-B14F-4D97-AF65-F5344CB8AC3E}">
        <p14:creationId xmlns:p14="http://schemas.microsoft.com/office/powerpoint/2010/main" val="2100337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FA4098-3288-8979-76C1-F25203A2F8FC}"/>
            </a:ext>
          </a:extLst>
        </p:cNvPr>
        <p:cNvGrpSpPr/>
        <p:nvPr/>
      </p:nvGrpSpPr>
      <p:grpSpPr>
        <a:xfrm>
          <a:off x="0" y="0"/>
          <a:ext cx="0" cy="0"/>
          <a:chOff x="0" y="0"/>
          <a:chExt cx="0" cy="0"/>
        </a:xfrm>
      </p:grpSpPr>
      <p:sp>
        <p:nvSpPr>
          <p:cNvPr id="7" name="Text Placeholder 6">
            <a:extLst>
              <a:ext uri="{FF2B5EF4-FFF2-40B4-BE49-F238E27FC236}">
                <a16:creationId xmlns:a16="http://schemas.microsoft.com/office/drawing/2014/main" id="{C471AECB-B375-1D32-889A-31695FF61A02}"/>
              </a:ext>
            </a:extLst>
          </p:cNvPr>
          <p:cNvSpPr>
            <a:spLocks noGrp="1"/>
          </p:cNvSpPr>
          <p:nvPr>
            <p:ph type="body" sz="quarter" idx="23"/>
          </p:nvPr>
        </p:nvSpPr>
        <p:spPr>
          <a:xfrm>
            <a:off x="585818" y="1520539"/>
            <a:ext cx="4944533" cy="1370746"/>
          </a:xfrm>
        </p:spPr>
        <p:txBody>
          <a:bodyPr>
            <a:normAutofit/>
          </a:bodyPr>
          <a:lstStyle/>
          <a:p>
            <a:r>
              <a:rPr lang="en-GB" sz="2400" b="1" dirty="0">
                <a:solidFill>
                  <a:schemeClr val="accent1"/>
                </a:solidFill>
                <a:latin typeface="Georgia" panose="02040502050405020303" pitchFamily="18" charset="0"/>
              </a:rPr>
              <a:t>Methods</a:t>
            </a:r>
            <a:r>
              <a:rPr lang="en-GB" sz="2400" b="1" dirty="0">
                <a:latin typeface="Georgia" panose="02040502050405020303" pitchFamily="18" charset="0"/>
              </a:rPr>
              <a:t> </a:t>
            </a:r>
          </a:p>
          <a:p>
            <a:pPr marL="380990" indent="-380990">
              <a:lnSpc>
                <a:spcPct val="150000"/>
              </a:lnSpc>
              <a:spcAft>
                <a:spcPts val="0"/>
              </a:spcAft>
              <a:buFont typeface="Arial" panose="020B0604020202020204" pitchFamily="34" charset="0"/>
              <a:buChar char="•"/>
            </a:pPr>
            <a:r>
              <a:rPr lang="en-GB" sz="1600" dirty="0"/>
              <a:t>Likewise, do not just write one or two lines</a:t>
            </a:r>
          </a:p>
          <a:p>
            <a:pPr marL="380990" indent="-380990">
              <a:lnSpc>
                <a:spcPct val="150000"/>
              </a:lnSpc>
              <a:spcAft>
                <a:spcPts val="0"/>
              </a:spcAft>
              <a:buFont typeface="Arial" panose="020B0604020202020204" pitchFamily="34" charset="0"/>
              <a:buChar char="•"/>
            </a:pPr>
            <a:r>
              <a:rPr lang="en-GB" sz="1600" dirty="0"/>
              <a:t>You know what you did inside out, yet we do not</a:t>
            </a:r>
          </a:p>
          <a:p>
            <a:pPr marL="380990" indent="-380990">
              <a:buFont typeface="Arial" panose="020B0604020202020204" pitchFamily="34" charset="0"/>
              <a:buChar char="•"/>
            </a:pPr>
            <a:endParaRPr lang="LID4096" sz="1867" dirty="0"/>
          </a:p>
        </p:txBody>
      </p:sp>
      <p:sp>
        <p:nvSpPr>
          <p:cNvPr id="6" name="Title 5">
            <a:extLst>
              <a:ext uri="{FF2B5EF4-FFF2-40B4-BE49-F238E27FC236}">
                <a16:creationId xmlns:a16="http://schemas.microsoft.com/office/drawing/2014/main" id="{620B1085-ADB9-A655-B4A3-6B8896C0B1DC}"/>
              </a:ext>
            </a:extLst>
          </p:cNvPr>
          <p:cNvSpPr>
            <a:spLocks noGrp="1"/>
          </p:cNvSpPr>
          <p:nvPr>
            <p:ph type="title"/>
          </p:nvPr>
        </p:nvSpPr>
        <p:spPr/>
        <p:txBody>
          <a:bodyPr/>
          <a:lstStyle/>
          <a:p>
            <a:r>
              <a:rPr lang="en-GB" dirty="0">
                <a:latin typeface="Georgia" panose="02040502050405020303" pitchFamily="18" charset="0"/>
              </a:rPr>
              <a:t>Structuring your article </a:t>
            </a:r>
            <a:endParaRPr lang="LID4096" dirty="0">
              <a:latin typeface="Georgia" panose="02040502050405020303" pitchFamily="18" charset="0"/>
            </a:endParaRPr>
          </a:p>
        </p:txBody>
      </p:sp>
      <p:sp>
        <p:nvSpPr>
          <p:cNvPr id="2" name="Text Placeholder 7">
            <a:extLst>
              <a:ext uri="{FF2B5EF4-FFF2-40B4-BE49-F238E27FC236}">
                <a16:creationId xmlns:a16="http://schemas.microsoft.com/office/drawing/2014/main" id="{88B5FE91-8A08-9804-3B24-B8BB881118B4}"/>
              </a:ext>
            </a:extLst>
          </p:cNvPr>
          <p:cNvSpPr txBox="1">
            <a:spLocks/>
          </p:cNvSpPr>
          <p:nvPr/>
        </p:nvSpPr>
        <p:spPr>
          <a:xfrm>
            <a:off x="664036" y="3553819"/>
            <a:ext cx="5779233" cy="2368549"/>
          </a:xfrm>
          <a:prstGeom prst="rect">
            <a:avLst/>
          </a:prstGeom>
        </p:spPr>
        <p:txBody>
          <a:bodyPr vert="horz" lIns="0" tIns="0" rIns="0" bIns="0" rtlCol="0">
            <a:noAutofit/>
          </a:bodyPr>
          <a:lstStyle>
            <a:lvl1pPr marL="0" indent="0" algn="l" defTabSz="685800" rtl="0" eaLnBrk="1" latinLnBrk="0" hangingPunct="1">
              <a:lnSpc>
                <a:spcPct val="100000"/>
              </a:lnSpc>
              <a:spcBef>
                <a:spcPts val="0"/>
              </a:spcBef>
              <a:spcAft>
                <a:spcPts val="600"/>
              </a:spcAft>
              <a:buClr>
                <a:srgbClr val="FF6C00"/>
              </a:buClr>
              <a:buFont typeface="Arial" charset="0"/>
              <a:buNone/>
              <a:tabLst>
                <a:tab pos="266700" algn="l"/>
              </a:tabLst>
              <a:defRPr lang="nl-NL" sz="1600" b="0" kern="1200">
                <a:solidFill>
                  <a:schemeClr val="tx1"/>
                </a:solidFill>
                <a:latin typeface="+mn-lt"/>
                <a:ea typeface="+mn-ea"/>
                <a:cs typeface="+mn-cs"/>
              </a:defRPr>
            </a:lvl1pPr>
            <a:lvl2pPr marL="360363" indent="-360363" algn="l" defTabSz="685800" rtl="0" eaLnBrk="1" latinLnBrk="0" hangingPunct="1">
              <a:lnSpc>
                <a:spcPct val="100000"/>
              </a:lnSpc>
              <a:spcBef>
                <a:spcPts val="375"/>
              </a:spcBef>
              <a:spcAft>
                <a:spcPts val="600"/>
              </a:spcAft>
              <a:buClr>
                <a:srgbClr val="FF6C00"/>
              </a:buClr>
              <a:buFont typeface="+mj-lt"/>
              <a:buAutoNum type="arabicPeriod"/>
              <a:defRPr lang="nl-NL" sz="1600" b="0" kern="1200">
                <a:solidFill>
                  <a:schemeClr val="tx1"/>
                </a:solidFill>
                <a:latin typeface="+mn-lt"/>
                <a:ea typeface="+mn-ea"/>
                <a:cs typeface="+mn-cs"/>
              </a:defRPr>
            </a:lvl2pPr>
            <a:lvl3pPr marL="365125" indent="0" algn="l" defTabSz="685800" rtl="0" eaLnBrk="1" latinLnBrk="0" hangingPunct="1">
              <a:lnSpc>
                <a:spcPct val="100000"/>
              </a:lnSpc>
              <a:spcBef>
                <a:spcPts val="375"/>
              </a:spcBef>
              <a:spcAft>
                <a:spcPts val="600"/>
              </a:spcAft>
              <a:buClr>
                <a:srgbClr val="FF6C00"/>
              </a:buClr>
              <a:buFont typeface="Arial" charset="0"/>
              <a:buNone/>
              <a:defRPr lang="nl-NL" sz="1600" b="0" kern="1200">
                <a:solidFill>
                  <a:schemeClr val="tx1"/>
                </a:solidFill>
                <a:latin typeface="+mn-lt"/>
                <a:ea typeface="+mn-ea"/>
                <a:cs typeface="+mn-cs"/>
              </a:defRPr>
            </a:lvl3pPr>
            <a:lvl4pPr marL="549275" indent="0" algn="l" defTabSz="685800" rtl="0" eaLnBrk="1" latinLnBrk="0" hangingPunct="1">
              <a:lnSpc>
                <a:spcPct val="100000"/>
              </a:lnSpc>
              <a:spcBef>
                <a:spcPts val="375"/>
              </a:spcBef>
              <a:spcAft>
                <a:spcPts val="600"/>
              </a:spcAft>
              <a:buClr>
                <a:srgbClr val="FF6C00"/>
              </a:buClr>
              <a:buFont typeface="Courier New" panose="02070309020205020404" pitchFamily="49" charset="0"/>
              <a:buNone/>
              <a:tabLst/>
              <a:defRPr lang="nl-NL" sz="1600" b="0" kern="1200">
                <a:solidFill>
                  <a:schemeClr val="tx1"/>
                </a:solidFill>
                <a:latin typeface="+mn-lt"/>
                <a:ea typeface="+mn-ea"/>
                <a:cs typeface="+mn-cs"/>
              </a:defRPr>
            </a:lvl4pPr>
            <a:lvl5pPr marL="725488" indent="0" algn="l" defTabSz="685800" rtl="0" eaLnBrk="1" latinLnBrk="0" hangingPunct="1">
              <a:lnSpc>
                <a:spcPct val="100000"/>
              </a:lnSpc>
              <a:spcBef>
                <a:spcPts val="375"/>
              </a:spcBef>
              <a:spcAft>
                <a:spcPts val="600"/>
              </a:spcAft>
              <a:buClr>
                <a:srgbClr val="FF6C00"/>
              </a:buClr>
              <a:buFont typeface="Arial" charset="0"/>
              <a:buNone/>
              <a:defRPr lang="de-DE" sz="1600" b="0" kern="1200" baseline="0">
                <a:solidFill>
                  <a:schemeClr val="tx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a:lstStyle>
          <a:p>
            <a:pPr defTabSz="914377">
              <a:spcAft>
                <a:spcPts val="800"/>
              </a:spcAft>
              <a:tabLst>
                <a:tab pos="355591" algn="l"/>
              </a:tabLst>
            </a:pPr>
            <a:r>
              <a:rPr lang="en-GB" sz="2400" b="1" dirty="0">
                <a:solidFill>
                  <a:srgbClr val="EB6500"/>
                </a:solidFill>
                <a:latin typeface="Georgia" panose="02040502050405020303" pitchFamily="18" charset="0"/>
              </a:rPr>
              <a:t>Research questions</a:t>
            </a:r>
          </a:p>
          <a:p>
            <a:pPr marL="501099" indent="-380990" defTabSz="914377">
              <a:lnSpc>
                <a:spcPct val="150000"/>
              </a:lnSpc>
              <a:spcBef>
                <a:spcPts val="500"/>
              </a:spcBef>
              <a:spcAft>
                <a:spcPts val="0"/>
              </a:spcAft>
              <a:buFont typeface="Arial" panose="020B0604020202020204" pitchFamily="34" charset="0"/>
              <a:buChar char="•"/>
            </a:pPr>
            <a:r>
              <a:rPr lang="en-GB" dirty="0">
                <a:solidFill>
                  <a:srgbClr val="53565A"/>
                </a:solidFill>
                <a:latin typeface="Arial" panose="020B0604020202020204"/>
              </a:rPr>
              <a:t>Mention these in the </a:t>
            </a:r>
            <a:r>
              <a:rPr lang="en-GB" b="1" dirty="0">
                <a:solidFill>
                  <a:srgbClr val="53565A"/>
                </a:solidFill>
                <a:latin typeface="Arial" panose="020B0604020202020204"/>
              </a:rPr>
              <a:t>Introduction</a:t>
            </a:r>
          </a:p>
          <a:p>
            <a:pPr marL="501099" indent="-380990" defTabSz="914377">
              <a:lnSpc>
                <a:spcPct val="150000"/>
              </a:lnSpc>
              <a:spcBef>
                <a:spcPts val="500"/>
              </a:spcBef>
              <a:spcAft>
                <a:spcPts val="0"/>
              </a:spcAft>
              <a:buFont typeface="Arial" panose="020B0604020202020204" pitchFamily="34" charset="0"/>
              <a:buChar char="•"/>
            </a:pPr>
            <a:r>
              <a:rPr lang="en-GB" dirty="0">
                <a:solidFill>
                  <a:srgbClr val="53565A"/>
                </a:solidFill>
                <a:latin typeface="Arial" panose="020B0604020202020204"/>
              </a:rPr>
              <a:t>Detail them one-by-one in the </a:t>
            </a:r>
            <a:r>
              <a:rPr lang="en-GB" b="1" dirty="0">
                <a:solidFill>
                  <a:srgbClr val="53565A"/>
                </a:solidFill>
                <a:latin typeface="Arial" panose="020B0604020202020204"/>
              </a:rPr>
              <a:t>Methods </a:t>
            </a:r>
          </a:p>
          <a:p>
            <a:pPr marL="501099" indent="-380990" defTabSz="914377">
              <a:lnSpc>
                <a:spcPct val="150000"/>
              </a:lnSpc>
              <a:spcBef>
                <a:spcPts val="500"/>
              </a:spcBef>
              <a:spcAft>
                <a:spcPts val="0"/>
              </a:spcAft>
              <a:buFont typeface="Arial" panose="020B0604020202020204" pitchFamily="34" charset="0"/>
              <a:buChar char="•"/>
            </a:pPr>
            <a:r>
              <a:rPr lang="en-GB" dirty="0">
                <a:solidFill>
                  <a:srgbClr val="53565A"/>
                </a:solidFill>
                <a:latin typeface="Arial" panose="020B0604020202020204"/>
              </a:rPr>
              <a:t>Address them again one-by-one in the </a:t>
            </a:r>
            <a:r>
              <a:rPr lang="en-GB" b="1" dirty="0">
                <a:solidFill>
                  <a:srgbClr val="53565A"/>
                </a:solidFill>
                <a:latin typeface="Arial" panose="020B0604020202020204"/>
              </a:rPr>
              <a:t>Discussion</a:t>
            </a:r>
            <a:endParaRPr lang="LID4096" dirty="0">
              <a:solidFill>
                <a:srgbClr val="53565A"/>
              </a:solidFill>
              <a:latin typeface="Arial" panose="020B0604020202020204"/>
            </a:endParaRPr>
          </a:p>
        </p:txBody>
      </p:sp>
      <p:sp>
        <p:nvSpPr>
          <p:cNvPr id="9" name="TextBox 8">
            <a:extLst>
              <a:ext uri="{FF2B5EF4-FFF2-40B4-BE49-F238E27FC236}">
                <a16:creationId xmlns:a16="http://schemas.microsoft.com/office/drawing/2014/main" id="{D912C30C-EE2D-BF0D-E443-0B830D0A176E}"/>
              </a:ext>
            </a:extLst>
          </p:cNvPr>
          <p:cNvSpPr txBox="1"/>
          <p:nvPr/>
        </p:nvSpPr>
        <p:spPr>
          <a:xfrm>
            <a:off x="7123390" y="5892079"/>
            <a:ext cx="4875262" cy="584775"/>
          </a:xfrm>
          <a:prstGeom prst="rect">
            <a:avLst/>
          </a:prstGeom>
          <a:solidFill>
            <a:schemeClr val="accent3">
              <a:lumMod val="20000"/>
              <a:lumOff val="80000"/>
            </a:schemeClr>
          </a:solidFill>
        </p:spPr>
        <p:txBody>
          <a:bodyPr wrap="square">
            <a:spAutoFit/>
          </a:bodyPr>
          <a:lstStyle/>
          <a:p>
            <a:pPr algn="r" defTabSz="1219170"/>
            <a:r>
              <a:rPr lang="en-GB" sz="1600" dirty="0">
                <a:solidFill>
                  <a:srgbClr val="53565A"/>
                </a:solidFill>
                <a:latin typeface="Arial" panose="020B0604020202020204"/>
              </a:rPr>
              <a:t>More writing help can be found at Elsevier’s free online tool: </a:t>
            </a:r>
            <a:r>
              <a:rPr lang="en-GB" sz="1600" dirty="0">
                <a:solidFill>
                  <a:srgbClr val="53565A"/>
                </a:solidFill>
                <a:latin typeface="Arial" panose="020B0604020202020204"/>
                <a:hlinkClick r:id="rId3"/>
              </a:rPr>
              <a:t>Researcher Academy</a:t>
            </a:r>
            <a:endParaRPr lang="LID4096" sz="1600" dirty="0">
              <a:solidFill>
                <a:srgbClr val="53565A"/>
              </a:solidFill>
              <a:latin typeface="Arial" panose="020B0604020202020204"/>
            </a:endParaRPr>
          </a:p>
        </p:txBody>
      </p:sp>
      <p:grpSp>
        <p:nvGrpSpPr>
          <p:cNvPr id="3" name="Group 2">
            <a:extLst>
              <a:ext uri="{FF2B5EF4-FFF2-40B4-BE49-F238E27FC236}">
                <a16:creationId xmlns:a16="http://schemas.microsoft.com/office/drawing/2014/main" id="{DD9A48E6-C17C-5814-2774-69B9028596F7}"/>
              </a:ext>
            </a:extLst>
          </p:cNvPr>
          <p:cNvGrpSpPr>
            <a:grpSpLocks noChangeAspect="1"/>
          </p:cNvGrpSpPr>
          <p:nvPr/>
        </p:nvGrpSpPr>
        <p:grpSpPr>
          <a:xfrm>
            <a:off x="9816401" y="1828763"/>
            <a:ext cx="1338255" cy="1338325"/>
            <a:chOff x="4307632" y="1715246"/>
            <a:chExt cx="1170432" cy="1170494"/>
          </a:xfrm>
        </p:grpSpPr>
        <p:sp>
          <p:nvSpPr>
            <p:cNvPr id="4" name="Freeform 26">
              <a:extLst>
                <a:ext uri="{FF2B5EF4-FFF2-40B4-BE49-F238E27FC236}">
                  <a16:creationId xmlns:a16="http://schemas.microsoft.com/office/drawing/2014/main" id="{F94C9565-2858-1F88-FB19-9C5F9B8D50E7}"/>
                </a:ext>
              </a:extLst>
            </p:cNvPr>
            <p:cNvSpPr/>
            <p:nvPr/>
          </p:nvSpPr>
          <p:spPr>
            <a:xfrm>
              <a:off x="4307632" y="1715246"/>
              <a:ext cx="1170432" cy="1170494"/>
            </a:xfrm>
            <a:custGeom>
              <a:avLst/>
              <a:gdLst>
                <a:gd name="connsiteX0" fmla="*/ 1162981 w 2459618"/>
                <a:gd name="connsiteY0" fmla="*/ 0 h 2473299"/>
                <a:gd name="connsiteX1" fmla="*/ 1292021 w 2459618"/>
                <a:gd name="connsiteY1" fmla="*/ 0 h 2473299"/>
                <a:gd name="connsiteX2" fmla="*/ 1355616 w 2459618"/>
                <a:gd name="connsiteY2" fmla="*/ 248861 h 2473299"/>
                <a:gd name="connsiteX3" fmla="*/ 1431584 w 2459618"/>
                <a:gd name="connsiteY3" fmla="*/ 260455 h 2473299"/>
                <a:gd name="connsiteX4" fmla="*/ 1447881 w 2459618"/>
                <a:gd name="connsiteY4" fmla="*/ 265295 h 2473299"/>
                <a:gd name="connsiteX5" fmla="*/ 1590925 w 2459618"/>
                <a:gd name="connsiteY5" fmla="*/ 55873 h 2473299"/>
                <a:gd name="connsiteX6" fmla="*/ 1712183 w 2459618"/>
                <a:gd name="connsiteY6" fmla="*/ 100008 h 2473299"/>
                <a:gd name="connsiteX7" fmla="*/ 1686945 w 2459618"/>
                <a:gd name="connsiteY7" fmla="*/ 354421 h 2473299"/>
                <a:gd name="connsiteX8" fmla="*/ 1747456 w 2459618"/>
                <a:gd name="connsiteY8" fmla="*/ 384469 h 2473299"/>
                <a:gd name="connsiteX9" fmla="*/ 1766274 w 2459618"/>
                <a:gd name="connsiteY9" fmla="*/ 397595 h 2473299"/>
                <a:gd name="connsiteX10" fmla="*/ 1975753 w 2459618"/>
                <a:gd name="connsiteY10" fmla="*/ 247261 h 2473299"/>
                <a:gd name="connsiteX11" fmla="*/ 2074603 w 2459618"/>
                <a:gd name="connsiteY11" fmla="*/ 330206 h 2473299"/>
                <a:gd name="connsiteX12" fmla="*/ 1962860 w 2459618"/>
                <a:gd name="connsiteY12" fmla="*/ 562752 h 2473299"/>
                <a:gd name="connsiteX13" fmla="*/ 2022282 w 2459618"/>
                <a:gd name="connsiteY13" fmla="*/ 631770 h 2473299"/>
                <a:gd name="connsiteX14" fmla="*/ 2269476 w 2459618"/>
                <a:gd name="connsiteY14" fmla="*/ 562449 h 2473299"/>
                <a:gd name="connsiteX15" fmla="*/ 2333996 w 2459618"/>
                <a:gd name="connsiteY15" fmla="*/ 674201 h 2473299"/>
                <a:gd name="connsiteX16" fmla="*/ 2148398 w 2459618"/>
                <a:gd name="connsiteY16" fmla="*/ 855539 h 2473299"/>
                <a:gd name="connsiteX17" fmla="*/ 2173867 w 2459618"/>
                <a:gd name="connsiteY17" fmla="*/ 914171 h 2473299"/>
                <a:gd name="connsiteX18" fmla="*/ 2186075 w 2459618"/>
                <a:gd name="connsiteY18" fmla="*/ 962482 h 2473299"/>
                <a:gd name="connsiteX19" fmla="*/ 2443892 w 2459618"/>
                <a:gd name="connsiteY19" fmla="*/ 995669 h 2473299"/>
                <a:gd name="connsiteX20" fmla="*/ 2459618 w 2459618"/>
                <a:gd name="connsiteY20" fmla="*/ 1123747 h 2473299"/>
                <a:gd name="connsiteX21" fmla="*/ 2225432 w 2459618"/>
                <a:gd name="connsiteY21" fmla="*/ 1215216 h 2473299"/>
                <a:gd name="connsiteX22" fmla="*/ 2227205 w 2459618"/>
                <a:gd name="connsiteY22" fmla="*/ 1236649 h 2473299"/>
                <a:gd name="connsiteX23" fmla="*/ 2224763 w 2459618"/>
                <a:gd name="connsiteY23" fmla="*/ 1285015 h 2473299"/>
                <a:gd name="connsiteX24" fmla="*/ 2459266 w 2459618"/>
                <a:gd name="connsiteY24" fmla="*/ 1391069 h 2473299"/>
                <a:gd name="connsiteX25" fmla="*/ 2436858 w 2459618"/>
                <a:gd name="connsiteY25" fmla="*/ 1518148 h 2473299"/>
                <a:gd name="connsiteX26" fmla="*/ 2180722 w 2459618"/>
                <a:gd name="connsiteY26" fmla="*/ 1537563 h 2473299"/>
                <a:gd name="connsiteX27" fmla="*/ 2148900 w 2459618"/>
                <a:gd name="connsiteY27" fmla="*/ 1624508 h 2473299"/>
                <a:gd name="connsiteX28" fmla="*/ 2143487 w 2459618"/>
                <a:gd name="connsiteY28" fmla="*/ 1635081 h 2473299"/>
                <a:gd name="connsiteX29" fmla="*/ 2325831 w 2459618"/>
                <a:gd name="connsiteY29" fmla="*/ 1813240 h 2473299"/>
                <a:gd name="connsiteX30" fmla="*/ 2261311 w 2459618"/>
                <a:gd name="connsiteY30" fmla="*/ 1924992 h 2473299"/>
                <a:gd name="connsiteX31" fmla="*/ 2010846 w 2459618"/>
                <a:gd name="connsiteY31" fmla="*/ 1854753 h 2473299"/>
                <a:gd name="connsiteX32" fmla="*/ 1999667 w 2459618"/>
                <a:gd name="connsiteY32" fmla="*/ 1870476 h 2473299"/>
                <a:gd name="connsiteX33" fmla="*/ 1961045 w 2459618"/>
                <a:gd name="connsiteY33" fmla="*/ 1912466 h 2473299"/>
                <a:gd name="connsiteX34" fmla="*/ 2072593 w 2459618"/>
                <a:gd name="connsiteY34" fmla="*/ 2144605 h 2473299"/>
                <a:gd name="connsiteX35" fmla="*/ 1973743 w 2459618"/>
                <a:gd name="connsiteY35" fmla="*/ 2227550 h 2473299"/>
                <a:gd name="connsiteX36" fmla="*/ 1764753 w 2459618"/>
                <a:gd name="connsiteY36" fmla="*/ 2077568 h 2473299"/>
                <a:gd name="connsiteX37" fmla="*/ 1757688 w 2459618"/>
                <a:gd name="connsiteY37" fmla="*/ 2082528 h 2473299"/>
                <a:gd name="connsiteX38" fmla="*/ 1682781 w 2459618"/>
                <a:gd name="connsiteY38" fmla="*/ 2122471 h 2473299"/>
                <a:gd name="connsiteX39" fmla="*/ 1708217 w 2459618"/>
                <a:gd name="connsiteY39" fmla="*/ 2378887 h 2473299"/>
                <a:gd name="connsiteX40" fmla="*/ 1586959 w 2459618"/>
                <a:gd name="connsiteY40" fmla="*/ 2423021 h 2473299"/>
                <a:gd name="connsiteX41" fmla="*/ 1440421 w 2459618"/>
                <a:gd name="connsiteY41" fmla="*/ 2208484 h 2473299"/>
                <a:gd name="connsiteX42" fmla="*/ 1373224 w 2459618"/>
                <a:gd name="connsiteY42" fmla="*/ 2222981 h 2473299"/>
                <a:gd name="connsiteX43" fmla="*/ 1355670 w 2459618"/>
                <a:gd name="connsiteY43" fmla="*/ 2224226 h 2473299"/>
                <a:gd name="connsiteX44" fmla="*/ 1292021 w 2459618"/>
                <a:gd name="connsiteY44" fmla="*/ 2473299 h 2473299"/>
                <a:gd name="connsiteX45" fmla="*/ 1162981 w 2459618"/>
                <a:gd name="connsiteY45" fmla="*/ 2473299 h 2473299"/>
                <a:gd name="connsiteX46" fmla="*/ 1099121 w 2459618"/>
                <a:gd name="connsiteY46" fmla="*/ 2223400 h 2473299"/>
                <a:gd name="connsiteX47" fmla="*/ 1029950 w 2459618"/>
                <a:gd name="connsiteY47" fmla="*/ 2212843 h 2473299"/>
                <a:gd name="connsiteX48" fmla="*/ 1010571 w 2459618"/>
                <a:gd name="connsiteY48" fmla="*/ 2207088 h 2473299"/>
                <a:gd name="connsiteX49" fmla="*/ 865368 w 2459618"/>
                <a:gd name="connsiteY49" fmla="*/ 2419670 h 2473299"/>
                <a:gd name="connsiteX50" fmla="*/ 744110 w 2459618"/>
                <a:gd name="connsiteY50" fmla="*/ 2375536 h 2473299"/>
                <a:gd name="connsiteX51" fmla="*/ 769806 w 2459618"/>
                <a:gd name="connsiteY51" fmla="*/ 2116503 h 2473299"/>
                <a:gd name="connsiteX52" fmla="*/ 714077 w 2459618"/>
                <a:gd name="connsiteY52" fmla="*/ 2088830 h 2473299"/>
                <a:gd name="connsiteX53" fmla="*/ 694596 w 2459618"/>
                <a:gd name="connsiteY53" fmla="*/ 2075241 h 2473299"/>
                <a:gd name="connsiteX54" fmla="*/ 485289 w 2459618"/>
                <a:gd name="connsiteY54" fmla="*/ 2225451 h 2473299"/>
                <a:gd name="connsiteX55" fmla="*/ 386439 w 2459618"/>
                <a:gd name="connsiteY55" fmla="*/ 2142506 h 2473299"/>
                <a:gd name="connsiteX56" fmla="*/ 498177 w 2459618"/>
                <a:gd name="connsiteY56" fmla="*/ 1909970 h 2473299"/>
                <a:gd name="connsiteX57" fmla="*/ 439253 w 2459618"/>
                <a:gd name="connsiteY57" fmla="*/ 1841529 h 2473299"/>
                <a:gd name="connsiteX58" fmla="*/ 192057 w 2459618"/>
                <a:gd name="connsiteY58" fmla="*/ 1910850 h 2473299"/>
                <a:gd name="connsiteX59" fmla="*/ 127537 w 2459618"/>
                <a:gd name="connsiteY59" fmla="*/ 1799098 h 2473299"/>
                <a:gd name="connsiteX60" fmla="*/ 313136 w 2459618"/>
                <a:gd name="connsiteY60" fmla="*/ 1617760 h 2473299"/>
                <a:gd name="connsiteX61" fmla="*/ 287667 w 2459618"/>
                <a:gd name="connsiteY61" fmla="*/ 1559128 h 2473299"/>
                <a:gd name="connsiteX62" fmla="*/ 282245 w 2459618"/>
                <a:gd name="connsiteY62" fmla="*/ 1537672 h 2473299"/>
                <a:gd name="connsiteX63" fmla="*/ 24676 w 2459618"/>
                <a:gd name="connsiteY63" fmla="*/ 1518148 h 2473299"/>
                <a:gd name="connsiteX64" fmla="*/ 2268 w 2459618"/>
                <a:gd name="connsiteY64" fmla="*/ 1391069 h 2473299"/>
                <a:gd name="connsiteX65" fmla="*/ 238274 w 2459618"/>
                <a:gd name="connsiteY65" fmla="*/ 1284335 h 2473299"/>
                <a:gd name="connsiteX66" fmla="*/ 234329 w 2459618"/>
                <a:gd name="connsiteY66" fmla="*/ 1236649 h 2473299"/>
                <a:gd name="connsiteX67" fmla="*/ 235870 w 2459618"/>
                <a:gd name="connsiteY67" fmla="*/ 1201769 h 2473299"/>
                <a:gd name="connsiteX68" fmla="*/ 0 w 2459618"/>
                <a:gd name="connsiteY68" fmla="*/ 1095097 h 2473299"/>
                <a:gd name="connsiteX69" fmla="*/ 22408 w 2459618"/>
                <a:gd name="connsiteY69" fmla="*/ 968017 h 2473299"/>
                <a:gd name="connsiteX70" fmla="*/ 280086 w 2459618"/>
                <a:gd name="connsiteY70" fmla="*/ 948485 h 2473299"/>
                <a:gd name="connsiteX71" fmla="*/ 294792 w 2459618"/>
                <a:gd name="connsiteY71" fmla="*/ 894040 h 2473299"/>
                <a:gd name="connsiteX72" fmla="*/ 310816 w 2459618"/>
                <a:gd name="connsiteY72" fmla="*/ 857696 h 2473299"/>
                <a:gd name="connsiteX73" fmla="*/ 125904 w 2459618"/>
                <a:gd name="connsiteY73" fmla="*/ 677029 h 2473299"/>
                <a:gd name="connsiteX74" fmla="*/ 190424 w 2459618"/>
                <a:gd name="connsiteY74" fmla="*/ 565277 h 2473299"/>
                <a:gd name="connsiteX75" fmla="*/ 438731 w 2459618"/>
                <a:gd name="connsiteY75" fmla="*/ 634910 h 2473299"/>
                <a:gd name="connsiteX76" fmla="*/ 488364 w 2459618"/>
                <a:gd name="connsiteY76" fmla="*/ 572132 h 2473299"/>
                <a:gd name="connsiteX77" fmla="*/ 376431 w 2459618"/>
                <a:gd name="connsiteY77" fmla="*/ 339191 h 2473299"/>
                <a:gd name="connsiteX78" fmla="*/ 475281 w 2459618"/>
                <a:gd name="connsiteY78" fmla="*/ 256246 h 2473299"/>
                <a:gd name="connsiteX79" fmla="*/ 684657 w 2459618"/>
                <a:gd name="connsiteY79" fmla="*/ 406505 h 2473299"/>
                <a:gd name="connsiteX80" fmla="*/ 732177 w 2459618"/>
                <a:gd name="connsiteY80" fmla="*/ 373731 h 2473299"/>
                <a:gd name="connsiteX81" fmla="*/ 769711 w 2459618"/>
                <a:gd name="connsiteY81" fmla="*/ 355834 h 2473299"/>
                <a:gd name="connsiteX82" fmla="*/ 744110 w 2459618"/>
                <a:gd name="connsiteY82" fmla="*/ 97764 h 2473299"/>
                <a:gd name="connsiteX83" fmla="*/ 865368 w 2459618"/>
                <a:gd name="connsiteY83" fmla="*/ 53629 h 2473299"/>
                <a:gd name="connsiteX84" fmla="*/ 1010506 w 2459618"/>
                <a:gd name="connsiteY84" fmla="*/ 266116 h 2473299"/>
                <a:gd name="connsiteX85" fmla="*/ 1029950 w 2459618"/>
                <a:gd name="connsiteY85" fmla="*/ 260455 h 2473299"/>
                <a:gd name="connsiteX86" fmla="*/ 1099121 w 2459618"/>
                <a:gd name="connsiteY86" fmla="*/ 249898 h 2473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459618" h="2473299">
                  <a:moveTo>
                    <a:pt x="1162981" y="0"/>
                  </a:moveTo>
                  <a:lnTo>
                    <a:pt x="1292021" y="0"/>
                  </a:lnTo>
                  <a:lnTo>
                    <a:pt x="1355616" y="248861"/>
                  </a:lnTo>
                  <a:lnTo>
                    <a:pt x="1431584" y="260455"/>
                  </a:lnTo>
                  <a:lnTo>
                    <a:pt x="1447881" y="265295"/>
                  </a:lnTo>
                  <a:lnTo>
                    <a:pt x="1590925" y="55873"/>
                  </a:lnTo>
                  <a:lnTo>
                    <a:pt x="1712183" y="100008"/>
                  </a:lnTo>
                  <a:lnTo>
                    <a:pt x="1686945" y="354421"/>
                  </a:lnTo>
                  <a:lnTo>
                    <a:pt x="1747456" y="384469"/>
                  </a:lnTo>
                  <a:lnTo>
                    <a:pt x="1766274" y="397595"/>
                  </a:lnTo>
                  <a:lnTo>
                    <a:pt x="1975753" y="247261"/>
                  </a:lnTo>
                  <a:lnTo>
                    <a:pt x="2074603" y="330206"/>
                  </a:lnTo>
                  <a:lnTo>
                    <a:pt x="1962860" y="562752"/>
                  </a:lnTo>
                  <a:lnTo>
                    <a:pt x="2022282" y="631770"/>
                  </a:lnTo>
                  <a:lnTo>
                    <a:pt x="2269476" y="562449"/>
                  </a:lnTo>
                  <a:lnTo>
                    <a:pt x="2333996" y="674201"/>
                  </a:lnTo>
                  <a:lnTo>
                    <a:pt x="2148398" y="855539"/>
                  </a:lnTo>
                  <a:lnTo>
                    <a:pt x="2173867" y="914171"/>
                  </a:lnTo>
                  <a:lnTo>
                    <a:pt x="2186075" y="962482"/>
                  </a:lnTo>
                  <a:lnTo>
                    <a:pt x="2443892" y="995669"/>
                  </a:lnTo>
                  <a:lnTo>
                    <a:pt x="2459618" y="1123747"/>
                  </a:lnTo>
                  <a:lnTo>
                    <a:pt x="2225432" y="1215216"/>
                  </a:lnTo>
                  <a:lnTo>
                    <a:pt x="2227205" y="1236649"/>
                  </a:lnTo>
                  <a:lnTo>
                    <a:pt x="2224763" y="1285015"/>
                  </a:lnTo>
                  <a:lnTo>
                    <a:pt x="2459266" y="1391069"/>
                  </a:lnTo>
                  <a:lnTo>
                    <a:pt x="2436858" y="1518148"/>
                  </a:lnTo>
                  <a:lnTo>
                    <a:pt x="2180722" y="1537563"/>
                  </a:lnTo>
                  <a:lnTo>
                    <a:pt x="2148900" y="1624508"/>
                  </a:lnTo>
                  <a:lnTo>
                    <a:pt x="2143487" y="1635081"/>
                  </a:lnTo>
                  <a:lnTo>
                    <a:pt x="2325831" y="1813240"/>
                  </a:lnTo>
                  <a:lnTo>
                    <a:pt x="2261311" y="1924992"/>
                  </a:lnTo>
                  <a:lnTo>
                    <a:pt x="2010846" y="1854753"/>
                  </a:lnTo>
                  <a:lnTo>
                    <a:pt x="1999667" y="1870476"/>
                  </a:lnTo>
                  <a:lnTo>
                    <a:pt x="1961045" y="1912466"/>
                  </a:lnTo>
                  <a:lnTo>
                    <a:pt x="2072593" y="2144605"/>
                  </a:lnTo>
                  <a:lnTo>
                    <a:pt x="1973743" y="2227550"/>
                  </a:lnTo>
                  <a:lnTo>
                    <a:pt x="1764753" y="2077568"/>
                  </a:lnTo>
                  <a:lnTo>
                    <a:pt x="1757688" y="2082528"/>
                  </a:lnTo>
                  <a:lnTo>
                    <a:pt x="1682781" y="2122471"/>
                  </a:lnTo>
                  <a:lnTo>
                    <a:pt x="1708217" y="2378887"/>
                  </a:lnTo>
                  <a:lnTo>
                    <a:pt x="1586959" y="2423021"/>
                  </a:lnTo>
                  <a:lnTo>
                    <a:pt x="1440421" y="2208484"/>
                  </a:lnTo>
                  <a:lnTo>
                    <a:pt x="1373224" y="2222981"/>
                  </a:lnTo>
                  <a:lnTo>
                    <a:pt x="1355670" y="2224226"/>
                  </a:lnTo>
                  <a:lnTo>
                    <a:pt x="1292021" y="2473299"/>
                  </a:lnTo>
                  <a:lnTo>
                    <a:pt x="1162981" y="2473299"/>
                  </a:lnTo>
                  <a:lnTo>
                    <a:pt x="1099121" y="2223400"/>
                  </a:lnTo>
                  <a:lnTo>
                    <a:pt x="1029950" y="2212843"/>
                  </a:lnTo>
                  <a:lnTo>
                    <a:pt x="1010571" y="2207088"/>
                  </a:lnTo>
                  <a:lnTo>
                    <a:pt x="865368" y="2419670"/>
                  </a:lnTo>
                  <a:lnTo>
                    <a:pt x="744110" y="2375536"/>
                  </a:lnTo>
                  <a:lnTo>
                    <a:pt x="769806" y="2116503"/>
                  </a:lnTo>
                  <a:lnTo>
                    <a:pt x="714077" y="2088830"/>
                  </a:lnTo>
                  <a:lnTo>
                    <a:pt x="694596" y="2075241"/>
                  </a:lnTo>
                  <a:lnTo>
                    <a:pt x="485289" y="2225451"/>
                  </a:lnTo>
                  <a:lnTo>
                    <a:pt x="386439" y="2142506"/>
                  </a:lnTo>
                  <a:lnTo>
                    <a:pt x="498177" y="1909970"/>
                  </a:lnTo>
                  <a:lnTo>
                    <a:pt x="439253" y="1841529"/>
                  </a:lnTo>
                  <a:lnTo>
                    <a:pt x="192057" y="1910850"/>
                  </a:lnTo>
                  <a:lnTo>
                    <a:pt x="127537" y="1799098"/>
                  </a:lnTo>
                  <a:lnTo>
                    <a:pt x="313136" y="1617760"/>
                  </a:lnTo>
                  <a:lnTo>
                    <a:pt x="287667" y="1559128"/>
                  </a:lnTo>
                  <a:lnTo>
                    <a:pt x="282245" y="1537672"/>
                  </a:lnTo>
                  <a:lnTo>
                    <a:pt x="24676" y="1518148"/>
                  </a:lnTo>
                  <a:lnTo>
                    <a:pt x="2268" y="1391069"/>
                  </a:lnTo>
                  <a:lnTo>
                    <a:pt x="238274" y="1284335"/>
                  </a:lnTo>
                  <a:lnTo>
                    <a:pt x="234329" y="1236649"/>
                  </a:lnTo>
                  <a:lnTo>
                    <a:pt x="235870" y="1201769"/>
                  </a:lnTo>
                  <a:lnTo>
                    <a:pt x="0" y="1095097"/>
                  </a:lnTo>
                  <a:lnTo>
                    <a:pt x="22408" y="968017"/>
                  </a:lnTo>
                  <a:lnTo>
                    <a:pt x="280086" y="948485"/>
                  </a:lnTo>
                  <a:lnTo>
                    <a:pt x="294792" y="894040"/>
                  </a:lnTo>
                  <a:lnTo>
                    <a:pt x="310816" y="857696"/>
                  </a:lnTo>
                  <a:lnTo>
                    <a:pt x="125904" y="677029"/>
                  </a:lnTo>
                  <a:lnTo>
                    <a:pt x="190424" y="565277"/>
                  </a:lnTo>
                  <a:lnTo>
                    <a:pt x="438731" y="634910"/>
                  </a:lnTo>
                  <a:lnTo>
                    <a:pt x="488364" y="572132"/>
                  </a:lnTo>
                  <a:lnTo>
                    <a:pt x="376431" y="339191"/>
                  </a:lnTo>
                  <a:lnTo>
                    <a:pt x="475281" y="256246"/>
                  </a:lnTo>
                  <a:lnTo>
                    <a:pt x="684657" y="406505"/>
                  </a:lnTo>
                  <a:lnTo>
                    <a:pt x="732177" y="373731"/>
                  </a:lnTo>
                  <a:lnTo>
                    <a:pt x="769711" y="355834"/>
                  </a:lnTo>
                  <a:lnTo>
                    <a:pt x="744110" y="97764"/>
                  </a:lnTo>
                  <a:lnTo>
                    <a:pt x="865368" y="53629"/>
                  </a:lnTo>
                  <a:lnTo>
                    <a:pt x="1010506" y="266116"/>
                  </a:lnTo>
                  <a:lnTo>
                    <a:pt x="1029950" y="260455"/>
                  </a:lnTo>
                  <a:lnTo>
                    <a:pt x="1099121" y="249898"/>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700" dirty="0">
                <a:solidFill>
                  <a:prstClr val="white"/>
                </a:solidFill>
                <a:latin typeface="Arial" panose="020B0604020202020204"/>
              </a:endParaRPr>
            </a:p>
          </p:txBody>
        </p:sp>
        <p:sp>
          <p:nvSpPr>
            <p:cNvPr id="5" name="Donut 27">
              <a:extLst>
                <a:ext uri="{FF2B5EF4-FFF2-40B4-BE49-F238E27FC236}">
                  <a16:creationId xmlns:a16="http://schemas.microsoft.com/office/drawing/2014/main" id="{B1A834AF-D806-7B6D-C8F3-71A2D13E3E62}"/>
                </a:ext>
              </a:extLst>
            </p:cNvPr>
            <p:cNvSpPr>
              <a:spLocks noChangeAspect="1"/>
            </p:cNvSpPr>
            <p:nvPr/>
          </p:nvSpPr>
          <p:spPr>
            <a:xfrm>
              <a:off x="4548819" y="1956464"/>
              <a:ext cx="688059" cy="688059"/>
            </a:xfrm>
            <a:prstGeom prst="donut">
              <a:avLst>
                <a:gd name="adj" fmla="val 594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700" dirty="0">
                <a:solidFill>
                  <a:srgbClr val="53565A"/>
                </a:solidFill>
                <a:latin typeface="Arial" panose="020B0604020202020204"/>
              </a:endParaRPr>
            </a:p>
          </p:txBody>
        </p:sp>
      </p:grpSp>
      <p:grpSp>
        <p:nvGrpSpPr>
          <p:cNvPr id="8" name="Group 7">
            <a:extLst>
              <a:ext uri="{FF2B5EF4-FFF2-40B4-BE49-F238E27FC236}">
                <a16:creationId xmlns:a16="http://schemas.microsoft.com/office/drawing/2014/main" id="{A5215FB2-875A-FEDD-1B5B-7D3A9F84DB3D}"/>
              </a:ext>
            </a:extLst>
          </p:cNvPr>
          <p:cNvGrpSpPr/>
          <p:nvPr/>
        </p:nvGrpSpPr>
        <p:grpSpPr>
          <a:xfrm>
            <a:off x="8071487" y="2683561"/>
            <a:ext cx="2281044" cy="2276696"/>
            <a:chOff x="7791737" y="1191149"/>
            <a:chExt cx="2478024" cy="2473299"/>
          </a:xfrm>
        </p:grpSpPr>
        <p:sp>
          <p:nvSpPr>
            <p:cNvPr id="10" name="Freeform 2">
              <a:extLst>
                <a:ext uri="{FF2B5EF4-FFF2-40B4-BE49-F238E27FC236}">
                  <a16:creationId xmlns:a16="http://schemas.microsoft.com/office/drawing/2014/main" id="{33EA3DFE-1BD4-080D-2DC6-8C0FA1999E09}"/>
                </a:ext>
              </a:extLst>
            </p:cNvPr>
            <p:cNvSpPr>
              <a:spLocks/>
            </p:cNvSpPr>
            <p:nvPr/>
          </p:nvSpPr>
          <p:spPr>
            <a:xfrm>
              <a:off x="7791737" y="1191149"/>
              <a:ext cx="2478024" cy="2473299"/>
            </a:xfrm>
            <a:custGeom>
              <a:avLst/>
              <a:gdLst>
                <a:gd name="connsiteX0" fmla="*/ 1162981 w 2459618"/>
                <a:gd name="connsiteY0" fmla="*/ 0 h 2473299"/>
                <a:gd name="connsiteX1" fmla="*/ 1292021 w 2459618"/>
                <a:gd name="connsiteY1" fmla="*/ 0 h 2473299"/>
                <a:gd name="connsiteX2" fmla="*/ 1355616 w 2459618"/>
                <a:gd name="connsiteY2" fmla="*/ 248861 h 2473299"/>
                <a:gd name="connsiteX3" fmla="*/ 1431584 w 2459618"/>
                <a:gd name="connsiteY3" fmla="*/ 260455 h 2473299"/>
                <a:gd name="connsiteX4" fmla="*/ 1447881 w 2459618"/>
                <a:gd name="connsiteY4" fmla="*/ 265295 h 2473299"/>
                <a:gd name="connsiteX5" fmla="*/ 1590925 w 2459618"/>
                <a:gd name="connsiteY5" fmla="*/ 55873 h 2473299"/>
                <a:gd name="connsiteX6" fmla="*/ 1712183 w 2459618"/>
                <a:gd name="connsiteY6" fmla="*/ 100008 h 2473299"/>
                <a:gd name="connsiteX7" fmla="*/ 1686945 w 2459618"/>
                <a:gd name="connsiteY7" fmla="*/ 354421 h 2473299"/>
                <a:gd name="connsiteX8" fmla="*/ 1747456 w 2459618"/>
                <a:gd name="connsiteY8" fmla="*/ 384469 h 2473299"/>
                <a:gd name="connsiteX9" fmla="*/ 1766274 w 2459618"/>
                <a:gd name="connsiteY9" fmla="*/ 397595 h 2473299"/>
                <a:gd name="connsiteX10" fmla="*/ 1975753 w 2459618"/>
                <a:gd name="connsiteY10" fmla="*/ 247261 h 2473299"/>
                <a:gd name="connsiteX11" fmla="*/ 2074603 w 2459618"/>
                <a:gd name="connsiteY11" fmla="*/ 330206 h 2473299"/>
                <a:gd name="connsiteX12" fmla="*/ 1962860 w 2459618"/>
                <a:gd name="connsiteY12" fmla="*/ 562752 h 2473299"/>
                <a:gd name="connsiteX13" fmla="*/ 2022282 w 2459618"/>
                <a:gd name="connsiteY13" fmla="*/ 631770 h 2473299"/>
                <a:gd name="connsiteX14" fmla="*/ 2269476 w 2459618"/>
                <a:gd name="connsiteY14" fmla="*/ 562449 h 2473299"/>
                <a:gd name="connsiteX15" fmla="*/ 2333996 w 2459618"/>
                <a:gd name="connsiteY15" fmla="*/ 674201 h 2473299"/>
                <a:gd name="connsiteX16" fmla="*/ 2148398 w 2459618"/>
                <a:gd name="connsiteY16" fmla="*/ 855539 h 2473299"/>
                <a:gd name="connsiteX17" fmla="*/ 2173867 w 2459618"/>
                <a:gd name="connsiteY17" fmla="*/ 914171 h 2473299"/>
                <a:gd name="connsiteX18" fmla="*/ 2186075 w 2459618"/>
                <a:gd name="connsiteY18" fmla="*/ 962482 h 2473299"/>
                <a:gd name="connsiteX19" fmla="*/ 2443892 w 2459618"/>
                <a:gd name="connsiteY19" fmla="*/ 995669 h 2473299"/>
                <a:gd name="connsiteX20" fmla="*/ 2459618 w 2459618"/>
                <a:gd name="connsiteY20" fmla="*/ 1123747 h 2473299"/>
                <a:gd name="connsiteX21" fmla="*/ 2225432 w 2459618"/>
                <a:gd name="connsiteY21" fmla="*/ 1215216 h 2473299"/>
                <a:gd name="connsiteX22" fmla="*/ 2227205 w 2459618"/>
                <a:gd name="connsiteY22" fmla="*/ 1236649 h 2473299"/>
                <a:gd name="connsiteX23" fmla="*/ 2224763 w 2459618"/>
                <a:gd name="connsiteY23" fmla="*/ 1285015 h 2473299"/>
                <a:gd name="connsiteX24" fmla="*/ 2459266 w 2459618"/>
                <a:gd name="connsiteY24" fmla="*/ 1391069 h 2473299"/>
                <a:gd name="connsiteX25" fmla="*/ 2436858 w 2459618"/>
                <a:gd name="connsiteY25" fmla="*/ 1518148 h 2473299"/>
                <a:gd name="connsiteX26" fmla="*/ 2180722 w 2459618"/>
                <a:gd name="connsiteY26" fmla="*/ 1537563 h 2473299"/>
                <a:gd name="connsiteX27" fmla="*/ 2148900 w 2459618"/>
                <a:gd name="connsiteY27" fmla="*/ 1624508 h 2473299"/>
                <a:gd name="connsiteX28" fmla="*/ 2143487 w 2459618"/>
                <a:gd name="connsiteY28" fmla="*/ 1635081 h 2473299"/>
                <a:gd name="connsiteX29" fmla="*/ 2325831 w 2459618"/>
                <a:gd name="connsiteY29" fmla="*/ 1813240 h 2473299"/>
                <a:gd name="connsiteX30" fmla="*/ 2261311 w 2459618"/>
                <a:gd name="connsiteY30" fmla="*/ 1924992 h 2473299"/>
                <a:gd name="connsiteX31" fmla="*/ 2010846 w 2459618"/>
                <a:gd name="connsiteY31" fmla="*/ 1854753 h 2473299"/>
                <a:gd name="connsiteX32" fmla="*/ 1999667 w 2459618"/>
                <a:gd name="connsiteY32" fmla="*/ 1870476 h 2473299"/>
                <a:gd name="connsiteX33" fmla="*/ 1961045 w 2459618"/>
                <a:gd name="connsiteY33" fmla="*/ 1912466 h 2473299"/>
                <a:gd name="connsiteX34" fmla="*/ 2072593 w 2459618"/>
                <a:gd name="connsiteY34" fmla="*/ 2144605 h 2473299"/>
                <a:gd name="connsiteX35" fmla="*/ 1973743 w 2459618"/>
                <a:gd name="connsiteY35" fmla="*/ 2227550 h 2473299"/>
                <a:gd name="connsiteX36" fmla="*/ 1764753 w 2459618"/>
                <a:gd name="connsiteY36" fmla="*/ 2077568 h 2473299"/>
                <a:gd name="connsiteX37" fmla="*/ 1757688 w 2459618"/>
                <a:gd name="connsiteY37" fmla="*/ 2082528 h 2473299"/>
                <a:gd name="connsiteX38" fmla="*/ 1682781 w 2459618"/>
                <a:gd name="connsiteY38" fmla="*/ 2122471 h 2473299"/>
                <a:gd name="connsiteX39" fmla="*/ 1708217 w 2459618"/>
                <a:gd name="connsiteY39" fmla="*/ 2378887 h 2473299"/>
                <a:gd name="connsiteX40" fmla="*/ 1586959 w 2459618"/>
                <a:gd name="connsiteY40" fmla="*/ 2423021 h 2473299"/>
                <a:gd name="connsiteX41" fmla="*/ 1440421 w 2459618"/>
                <a:gd name="connsiteY41" fmla="*/ 2208484 h 2473299"/>
                <a:gd name="connsiteX42" fmla="*/ 1373224 w 2459618"/>
                <a:gd name="connsiteY42" fmla="*/ 2222981 h 2473299"/>
                <a:gd name="connsiteX43" fmla="*/ 1355670 w 2459618"/>
                <a:gd name="connsiteY43" fmla="*/ 2224226 h 2473299"/>
                <a:gd name="connsiteX44" fmla="*/ 1292021 w 2459618"/>
                <a:gd name="connsiteY44" fmla="*/ 2473299 h 2473299"/>
                <a:gd name="connsiteX45" fmla="*/ 1162981 w 2459618"/>
                <a:gd name="connsiteY45" fmla="*/ 2473299 h 2473299"/>
                <a:gd name="connsiteX46" fmla="*/ 1099121 w 2459618"/>
                <a:gd name="connsiteY46" fmla="*/ 2223400 h 2473299"/>
                <a:gd name="connsiteX47" fmla="*/ 1029950 w 2459618"/>
                <a:gd name="connsiteY47" fmla="*/ 2212843 h 2473299"/>
                <a:gd name="connsiteX48" fmla="*/ 1010571 w 2459618"/>
                <a:gd name="connsiteY48" fmla="*/ 2207088 h 2473299"/>
                <a:gd name="connsiteX49" fmla="*/ 865368 w 2459618"/>
                <a:gd name="connsiteY49" fmla="*/ 2419670 h 2473299"/>
                <a:gd name="connsiteX50" fmla="*/ 744110 w 2459618"/>
                <a:gd name="connsiteY50" fmla="*/ 2375536 h 2473299"/>
                <a:gd name="connsiteX51" fmla="*/ 769806 w 2459618"/>
                <a:gd name="connsiteY51" fmla="*/ 2116503 h 2473299"/>
                <a:gd name="connsiteX52" fmla="*/ 714077 w 2459618"/>
                <a:gd name="connsiteY52" fmla="*/ 2088830 h 2473299"/>
                <a:gd name="connsiteX53" fmla="*/ 694596 w 2459618"/>
                <a:gd name="connsiteY53" fmla="*/ 2075241 h 2473299"/>
                <a:gd name="connsiteX54" fmla="*/ 485289 w 2459618"/>
                <a:gd name="connsiteY54" fmla="*/ 2225451 h 2473299"/>
                <a:gd name="connsiteX55" fmla="*/ 386439 w 2459618"/>
                <a:gd name="connsiteY55" fmla="*/ 2142506 h 2473299"/>
                <a:gd name="connsiteX56" fmla="*/ 498177 w 2459618"/>
                <a:gd name="connsiteY56" fmla="*/ 1909970 h 2473299"/>
                <a:gd name="connsiteX57" fmla="*/ 439253 w 2459618"/>
                <a:gd name="connsiteY57" fmla="*/ 1841529 h 2473299"/>
                <a:gd name="connsiteX58" fmla="*/ 192057 w 2459618"/>
                <a:gd name="connsiteY58" fmla="*/ 1910850 h 2473299"/>
                <a:gd name="connsiteX59" fmla="*/ 127537 w 2459618"/>
                <a:gd name="connsiteY59" fmla="*/ 1799098 h 2473299"/>
                <a:gd name="connsiteX60" fmla="*/ 313136 w 2459618"/>
                <a:gd name="connsiteY60" fmla="*/ 1617760 h 2473299"/>
                <a:gd name="connsiteX61" fmla="*/ 287667 w 2459618"/>
                <a:gd name="connsiteY61" fmla="*/ 1559128 h 2473299"/>
                <a:gd name="connsiteX62" fmla="*/ 282245 w 2459618"/>
                <a:gd name="connsiteY62" fmla="*/ 1537672 h 2473299"/>
                <a:gd name="connsiteX63" fmla="*/ 24676 w 2459618"/>
                <a:gd name="connsiteY63" fmla="*/ 1518148 h 2473299"/>
                <a:gd name="connsiteX64" fmla="*/ 2268 w 2459618"/>
                <a:gd name="connsiteY64" fmla="*/ 1391069 h 2473299"/>
                <a:gd name="connsiteX65" fmla="*/ 238274 w 2459618"/>
                <a:gd name="connsiteY65" fmla="*/ 1284335 h 2473299"/>
                <a:gd name="connsiteX66" fmla="*/ 234329 w 2459618"/>
                <a:gd name="connsiteY66" fmla="*/ 1236649 h 2473299"/>
                <a:gd name="connsiteX67" fmla="*/ 235870 w 2459618"/>
                <a:gd name="connsiteY67" fmla="*/ 1201769 h 2473299"/>
                <a:gd name="connsiteX68" fmla="*/ 0 w 2459618"/>
                <a:gd name="connsiteY68" fmla="*/ 1095097 h 2473299"/>
                <a:gd name="connsiteX69" fmla="*/ 22408 w 2459618"/>
                <a:gd name="connsiteY69" fmla="*/ 968017 h 2473299"/>
                <a:gd name="connsiteX70" fmla="*/ 280086 w 2459618"/>
                <a:gd name="connsiteY70" fmla="*/ 948485 h 2473299"/>
                <a:gd name="connsiteX71" fmla="*/ 294792 w 2459618"/>
                <a:gd name="connsiteY71" fmla="*/ 894040 h 2473299"/>
                <a:gd name="connsiteX72" fmla="*/ 310816 w 2459618"/>
                <a:gd name="connsiteY72" fmla="*/ 857696 h 2473299"/>
                <a:gd name="connsiteX73" fmla="*/ 125904 w 2459618"/>
                <a:gd name="connsiteY73" fmla="*/ 677029 h 2473299"/>
                <a:gd name="connsiteX74" fmla="*/ 190424 w 2459618"/>
                <a:gd name="connsiteY74" fmla="*/ 565277 h 2473299"/>
                <a:gd name="connsiteX75" fmla="*/ 438731 w 2459618"/>
                <a:gd name="connsiteY75" fmla="*/ 634910 h 2473299"/>
                <a:gd name="connsiteX76" fmla="*/ 488364 w 2459618"/>
                <a:gd name="connsiteY76" fmla="*/ 572132 h 2473299"/>
                <a:gd name="connsiteX77" fmla="*/ 376431 w 2459618"/>
                <a:gd name="connsiteY77" fmla="*/ 339191 h 2473299"/>
                <a:gd name="connsiteX78" fmla="*/ 475281 w 2459618"/>
                <a:gd name="connsiteY78" fmla="*/ 256246 h 2473299"/>
                <a:gd name="connsiteX79" fmla="*/ 684657 w 2459618"/>
                <a:gd name="connsiteY79" fmla="*/ 406505 h 2473299"/>
                <a:gd name="connsiteX80" fmla="*/ 732177 w 2459618"/>
                <a:gd name="connsiteY80" fmla="*/ 373731 h 2473299"/>
                <a:gd name="connsiteX81" fmla="*/ 769711 w 2459618"/>
                <a:gd name="connsiteY81" fmla="*/ 355834 h 2473299"/>
                <a:gd name="connsiteX82" fmla="*/ 744110 w 2459618"/>
                <a:gd name="connsiteY82" fmla="*/ 97764 h 2473299"/>
                <a:gd name="connsiteX83" fmla="*/ 865368 w 2459618"/>
                <a:gd name="connsiteY83" fmla="*/ 53629 h 2473299"/>
                <a:gd name="connsiteX84" fmla="*/ 1010506 w 2459618"/>
                <a:gd name="connsiteY84" fmla="*/ 266116 h 2473299"/>
                <a:gd name="connsiteX85" fmla="*/ 1029950 w 2459618"/>
                <a:gd name="connsiteY85" fmla="*/ 260455 h 2473299"/>
                <a:gd name="connsiteX86" fmla="*/ 1099121 w 2459618"/>
                <a:gd name="connsiteY86" fmla="*/ 249898 h 2473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459618" h="2473299">
                  <a:moveTo>
                    <a:pt x="1162981" y="0"/>
                  </a:moveTo>
                  <a:lnTo>
                    <a:pt x="1292021" y="0"/>
                  </a:lnTo>
                  <a:lnTo>
                    <a:pt x="1355616" y="248861"/>
                  </a:lnTo>
                  <a:lnTo>
                    <a:pt x="1431584" y="260455"/>
                  </a:lnTo>
                  <a:lnTo>
                    <a:pt x="1447881" y="265295"/>
                  </a:lnTo>
                  <a:lnTo>
                    <a:pt x="1590925" y="55873"/>
                  </a:lnTo>
                  <a:lnTo>
                    <a:pt x="1712183" y="100008"/>
                  </a:lnTo>
                  <a:lnTo>
                    <a:pt x="1686945" y="354421"/>
                  </a:lnTo>
                  <a:lnTo>
                    <a:pt x="1747456" y="384469"/>
                  </a:lnTo>
                  <a:lnTo>
                    <a:pt x="1766274" y="397595"/>
                  </a:lnTo>
                  <a:lnTo>
                    <a:pt x="1975753" y="247261"/>
                  </a:lnTo>
                  <a:lnTo>
                    <a:pt x="2074603" y="330206"/>
                  </a:lnTo>
                  <a:lnTo>
                    <a:pt x="1962860" y="562752"/>
                  </a:lnTo>
                  <a:lnTo>
                    <a:pt x="2022282" y="631770"/>
                  </a:lnTo>
                  <a:lnTo>
                    <a:pt x="2269476" y="562449"/>
                  </a:lnTo>
                  <a:lnTo>
                    <a:pt x="2333996" y="674201"/>
                  </a:lnTo>
                  <a:lnTo>
                    <a:pt x="2148398" y="855539"/>
                  </a:lnTo>
                  <a:lnTo>
                    <a:pt x="2173867" y="914171"/>
                  </a:lnTo>
                  <a:lnTo>
                    <a:pt x="2186075" y="962482"/>
                  </a:lnTo>
                  <a:lnTo>
                    <a:pt x="2443892" y="995669"/>
                  </a:lnTo>
                  <a:lnTo>
                    <a:pt x="2459618" y="1123747"/>
                  </a:lnTo>
                  <a:lnTo>
                    <a:pt x="2225432" y="1215216"/>
                  </a:lnTo>
                  <a:lnTo>
                    <a:pt x="2227205" y="1236649"/>
                  </a:lnTo>
                  <a:lnTo>
                    <a:pt x="2224763" y="1285015"/>
                  </a:lnTo>
                  <a:lnTo>
                    <a:pt x="2459266" y="1391069"/>
                  </a:lnTo>
                  <a:lnTo>
                    <a:pt x="2436858" y="1518148"/>
                  </a:lnTo>
                  <a:lnTo>
                    <a:pt x="2180722" y="1537563"/>
                  </a:lnTo>
                  <a:lnTo>
                    <a:pt x="2148900" y="1624508"/>
                  </a:lnTo>
                  <a:lnTo>
                    <a:pt x="2143487" y="1635081"/>
                  </a:lnTo>
                  <a:lnTo>
                    <a:pt x="2325831" y="1813240"/>
                  </a:lnTo>
                  <a:lnTo>
                    <a:pt x="2261311" y="1924992"/>
                  </a:lnTo>
                  <a:lnTo>
                    <a:pt x="2010846" y="1854753"/>
                  </a:lnTo>
                  <a:lnTo>
                    <a:pt x="1999667" y="1870476"/>
                  </a:lnTo>
                  <a:lnTo>
                    <a:pt x="1961045" y="1912466"/>
                  </a:lnTo>
                  <a:lnTo>
                    <a:pt x="2072593" y="2144605"/>
                  </a:lnTo>
                  <a:lnTo>
                    <a:pt x="1973743" y="2227550"/>
                  </a:lnTo>
                  <a:lnTo>
                    <a:pt x="1764753" y="2077568"/>
                  </a:lnTo>
                  <a:lnTo>
                    <a:pt x="1757688" y="2082528"/>
                  </a:lnTo>
                  <a:lnTo>
                    <a:pt x="1682781" y="2122471"/>
                  </a:lnTo>
                  <a:lnTo>
                    <a:pt x="1708217" y="2378887"/>
                  </a:lnTo>
                  <a:lnTo>
                    <a:pt x="1586959" y="2423021"/>
                  </a:lnTo>
                  <a:lnTo>
                    <a:pt x="1440421" y="2208484"/>
                  </a:lnTo>
                  <a:lnTo>
                    <a:pt x="1373224" y="2222981"/>
                  </a:lnTo>
                  <a:lnTo>
                    <a:pt x="1355670" y="2224226"/>
                  </a:lnTo>
                  <a:lnTo>
                    <a:pt x="1292021" y="2473299"/>
                  </a:lnTo>
                  <a:lnTo>
                    <a:pt x="1162981" y="2473299"/>
                  </a:lnTo>
                  <a:lnTo>
                    <a:pt x="1099121" y="2223400"/>
                  </a:lnTo>
                  <a:lnTo>
                    <a:pt x="1029950" y="2212843"/>
                  </a:lnTo>
                  <a:lnTo>
                    <a:pt x="1010571" y="2207088"/>
                  </a:lnTo>
                  <a:lnTo>
                    <a:pt x="865368" y="2419670"/>
                  </a:lnTo>
                  <a:lnTo>
                    <a:pt x="744110" y="2375536"/>
                  </a:lnTo>
                  <a:lnTo>
                    <a:pt x="769806" y="2116503"/>
                  </a:lnTo>
                  <a:lnTo>
                    <a:pt x="714077" y="2088830"/>
                  </a:lnTo>
                  <a:lnTo>
                    <a:pt x="694596" y="2075241"/>
                  </a:lnTo>
                  <a:lnTo>
                    <a:pt x="485289" y="2225451"/>
                  </a:lnTo>
                  <a:lnTo>
                    <a:pt x="386439" y="2142506"/>
                  </a:lnTo>
                  <a:lnTo>
                    <a:pt x="498177" y="1909970"/>
                  </a:lnTo>
                  <a:lnTo>
                    <a:pt x="439253" y="1841529"/>
                  </a:lnTo>
                  <a:lnTo>
                    <a:pt x="192057" y="1910850"/>
                  </a:lnTo>
                  <a:lnTo>
                    <a:pt x="127537" y="1799098"/>
                  </a:lnTo>
                  <a:lnTo>
                    <a:pt x="313136" y="1617760"/>
                  </a:lnTo>
                  <a:lnTo>
                    <a:pt x="287667" y="1559128"/>
                  </a:lnTo>
                  <a:lnTo>
                    <a:pt x="282245" y="1537672"/>
                  </a:lnTo>
                  <a:lnTo>
                    <a:pt x="24676" y="1518148"/>
                  </a:lnTo>
                  <a:lnTo>
                    <a:pt x="2268" y="1391069"/>
                  </a:lnTo>
                  <a:lnTo>
                    <a:pt x="238274" y="1284335"/>
                  </a:lnTo>
                  <a:lnTo>
                    <a:pt x="234329" y="1236649"/>
                  </a:lnTo>
                  <a:lnTo>
                    <a:pt x="235870" y="1201769"/>
                  </a:lnTo>
                  <a:lnTo>
                    <a:pt x="0" y="1095097"/>
                  </a:lnTo>
                  <a:lnTo>
                    <a:pt x="22408" y="968017"/>
                  </a:lnTo>
                  <a:lnTo>
                    <a:pt x="280086" y="948485"/>
                  </a:lnTo>
                  <a:lnTo>
                    <a:pt x="294792" y="894040"/>
                  </a:lnTo>
                  <a:lnTo>
                    <a:pt x="310816" y="857696"/>
                  </a:lnTo>
                  <a:lnTo>
                    <a:pt x="125904" y="677029"/>
                  </a:lnTo>
                  <a:lnTo>
                    <a:pt x="190424" y="565277"/>
                  </a:lnTo>
                  <a:lnTo>
                    <a:pt x="438731" y="634910"/>
                  </a:lnTo>
                  <a:lnTo>
                    <a:pt x="488364" y="572132"/>
                  </a:lnTo>
                  <a:lnTo>
                    <a:pt x="376431" y="339191"/>
                  </a:lnTo>
                  <a:lnTo>
                    <a:pt x="475281" y="256246"/>
                  </a:lnTo>
                  <a:lnTo>
                    <a:pt x="684657" y="406505"/>
                  </a:lnTo>
                  <a:lnTo>
                    <a:pt x="732177" y="373731"/>
                  </a:lnTo>
                  <a:lnTo>
                    <a:pt x="769711" y="355834"/>
                  </a:lnTo>
                  <a:lnTo>
                    <a:pt x="744110" y="97764"/>
                  </a:lnTo>
                  <a:lnTo>
                    <a:pt x="865368" y="53629"/>
                  </a:lnTo>
                  <a:lnTo>
                    <a:pt x="1010506" y="266116"/>
                  </a:lnTo>
                  <a:lnTo>
                    <a:pt x="1029950" y="260455"/>
                  </a:lnTo>
                  <a:lnTo>
                    <a:pt x="1099121" y="24989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700" dirty="0">
                <a:solidFill>
                  <a:prstClr val="white"/>
                </a:solidFill>
                <a:latin typeface="Arial" panose="020B0604020202020204"/>
              </a:endParaRPr>
            </a:p>
          </p:txBody>
        </p:sp>
        <p:sp>
          <p:nvSpPr>
            <p:cNvPr id="11" name="Donut 3">
              <a:extLst>
                <a:ext uri="{FF2B5EF4-FFF2-40B4-BE49-F238E27FC236}">
                  <a16:creationId xmlns:a16="http://schemas.microsoft.com/office/drawing/2014/main" id="{8B9D5758-DD11-3D62-6495-EA7AEE67D7E4}"/>
                </a:ext>
              </a:extLst>
            </p:cNvPr>
            <p:cNvSpPr>
              <a:spLocks noChangeAspect="1"/>
            </p:cNvSpPr>
            <p:nvPr/>
          </p:nvSpPr>
          <p:spPr>
            <a:xfrm>
              <a:off x="8303801" y="1700850"/>
              <a:ext cx="1453896" cy="1453896"/>
            </a:xfrm>
            <a:prstGeom prst="donut">
              <a:avLst>
                <a:gd name="adj" fmla="val 594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700" dirty="0">
                <a:solidFill>
                  <a:srgbClr val="53565A"/>
                </a:solidFill>
                <a:latin typeface="Arial" panose="020B0604020202020204"/>
              </a:endParaRPr>
            </a:p>
          </p:txBody>
        </p:sp>
      </p:grpSp>
      <p:grpSp>
        <p:nvGrpSpPr>
          <p:cNvPr id="12" name="Group 11">
            <a:extLst>
              <a:ext uri="{FF2B5EF4-FFF2-40B4-BE49-F238E27FC236}">
                <a16:creationId xmlns:a16="http://schemas.microsoft.com/office/drawing/2014/main" id="{25AC60C8-A635-1ADB-3411-4755AF6FD1FF}"/>
              </a:ext>
            </a:extLst>
          </p:cNvPr>
          <p:cNvGrpSpPr>
            <a:grpSpLocks noChangeAspect="1"/>
          </p:cNvGrpSpPr>
          <p:nvPr/>
        </p:nvGrpSpPr>
        <p:grpSpPr>
          <a:xfrm>
            <a:off x="6695002" y="1880618"/>
            <a:ext cx="1700263" cy="1700263"/>
            <a:chOff x="7791736" y="1191149"/>
            <a:chExt cx="2473299" cy="2473299"/>
          </a:xfrm>
        </p:grpSpPr>
        <p:sp>
          <p:nvSpPr>
            <p:cNvPr id="13" name="Freeform 5">
              <a:extLst>
                <a:ext uri="{FF2B5EF4-FFF2-40B4-BE49-F238E27FC236}">
                  <a16:creationId xmlns:a16="http://schemas.microsoft.com/office/drawing/2014/main" id="{729C8901-6491-6A8F-0879-538AE28A0EFC}"/>
                </a:ext>
              </a:extLst>
            </p:cNvPr>
            <p:cNvSpPr/>
            <p:nvPr/>
          </p:nvSpPr>
          <p:spPr>
            <a:xfrm>
              <a:off x="7791736" y="1191149"/>
              <a:ext cx="2473299" cy="2473299"/>
            </a:xfrm>
            <a:custGeom>
              <a:avLst/>
              <a:gdLst>
                <a:gd name="connsiteX0" fmla="*/ 1162981 w 2459618"/>
                <a:gd name="connsiteY0" fmla="*/ 0 h 2473299"/>
                <a:gd name="connsiteX1" fmla="*/ 1292021 w 2459618"/>
                <a:gd name="connsiteY1" fmla="*/ 0 h 2473299"/>
                <a:gd name="connsiteX2" fmla="*/ 1355616 w 2459618"/>
                <a:gd name="connsiteY2" fmla="*/ 248861 h 2473299"/>
                <a:gd name="connsiteX3" fmla="*/ 1431584 w 2459618"/>
                <a:gd name="connsiteY3" fmla="*/ 260455 h 2473299"/>
                <a:gd name="connsiteX4" fmla="*/ 1447881 w 2459618"/>
                <a:gd name="connsiteY4" fmla="*/ 265295 h 2473299"/>
                <a:gd name="connsiteX5" fmla="*/ 1590925 w 2459618"/>
                <a:gd name="connsiteY5" fmla="*/ 55873 h 2473299"/>
                <a:gd name="connsiteX6" fmla="*/ 1712183 w 2459618"/>
                <a:gd name="connsiteY6" fmla="*/ 100008 h 2473299"/>
                <a:gd name="connsiteX7" fmla="*/ 1686945 w 2459618"/>
                <a:gd name="connsiteY7" fmla="*/ 354421 h 2473299"/>
                <a:gd name="connsiteX8" fmla="*/ 1747456 w 2459618"/>
                <a:gd name="connsiteY8" fmla="*/ 384469 h 2473299"/>
                <a:gd name="connsiteX9" fmla="*/ 1766274 w 2459618"/>
                <a:gd name="connsiteY9" fmla="*/ 397595 h 2473299"/>
                <a:gd name="connsiteX10" fmla="*/ 1975753 w 2459618"/>
                <a:gd name="connsiteY10" fmla="*/ 247261 h 2473299"/>
                <a:gd name="connsiteX11" fmla="*/ 2074603 w 2459618"/>
                <a:gd name="connsiteY11" fmla="*/ 330206 h 2473299"/>
                <a:gd name="connsiteX12" fmla="*/ 1962860 w 2459618"/>
                <a:gd name="connsiteY12" fmla="*/ 562752 h 2473299"/>
                <a:gd name="connsiteX13" fmla="*/ 2022282 w 2459618"/>
                <a:gd name="connsiteY13" fmla="*/ 631770 h 2473299"/>
                <a:gd name="connsiteX14" fmla="*/ 2269476 w 2459618"/>
                <a:gd name="connsiteY14" fmla="*/ 562449 h 2473299"/>
                <a:gd name="connsiteX15" fmla="*/ 2333996 w 2459618"/>
                <a:gd name="connsiteY15" fmla="*/ 674201 h 2473299"/>
                <a:gd name="connsiteX16" fmla="*/ 2148398 w 2459618"/>
                <a:gd name="connsiteY16" fmla="*/ 855539 h 2473299"/>
                <a:gd name="connsiteX17" fmla="*/ 2173867 w 2459618"/>
                <a:gd name="connsiteY17" fmla="*/ 914171 h 2473299"/>
                <a:gd name="connsiteX18" fmla="*/ 2186075 w 2459618"/>
                <a:gd name="connsiteY18" fmla="*/ 962482 h 2473299"/>
                <a:gd name="connsiteX19" fmla="*/ 2443892 w 2459618"/>
                <a:gd name="connsiteY19" fmla="*/ 995669 h 2473299"/>
                <a:gd name="connsiteX20" fmla="*/ 2459618 w 2459618"/>
                <a:gd name="connsiteY20" fmla="*/ 1123747 h 2473299"/>
                <a:gd name="connsiteX21" fmla="*/ 2225432 w 2459618"/>
                <a:gd name="connsiteY21" fmla="*/ 1215216 h 2473299"/>
                <a:gd name="connsiteX22" fmla="*/ 2227205 w 2459618"/>
                <a:gd name="connsiteY22" fmla="*/ 1236649 h 2473299"/>
                <a:gd name="connsiteX23" fmla="*/ 2224763 w 2459618"/>
                <a:gd name="connsiteY23" fmla="*/ 1285015 h 2473299"/>
                <a:gd name="connsiteX24" fmla="*/ 2459266 w 2459618"/>
                <a:gd name="connsiteY24" fmla="*/ 1391069 h 2473299"/>
                <a:gd name="connsiteX25" fmla="*/ 2436858 w 2459618"/>
                <a:gd name="connsiteY25" fmla="*/ 1518148 h 2473299"/>
                <a:gd name="connsiteX26" fmla="*/ 2180722 w 2459618"/>
                <a:gd name="connsiteY26" fmla="*/ 1537563 h 2473299"/>
                <a:gd name="connsiteX27" fmla="*/ 2148900 w 2459618"/>
                <a:gd name="connsiteY27" fmla="*/ 1624508 h 2473299"/>
                <a:gd name="connsiteX28" fmla="*/ 2143487 w 2459618"/>
                <a:gd name="connsiteY28" fmla="*/ 1635081 h 2473299"/>
                <a:gd name="connsiteX29" fmla="*/ 2325831 w 2459618"/>
                <a:gd name="connsiteY29" fmla="*/ 1813240 h 2473299"/>
                <a:gd name="connsiteX30" fmla="*/ 2261311 w 2459618"/>
                <a:gd name="connsiteY30" fmla="*/ 1924992 h 2473299"/>
                <a:gd name="connsiteX31" fmla="*/ 2010846 w 2459618"/>
                <a:gd name="connsiteY31" fmla="*/ 1854753 h 2473299"/>
                <a:gd name="connsiteX32" fmla="*/ 1999667 w 2459618"/>
                <a:gd name="connsiteY32" fmla="*/ 1870476 h 2473299"/>
                <a:gd name="connsiteX33" fmla="*/ 1961045 w 2459618"/>
                <a:gd name="connsiteY33" fmla="*/ 1912466 h 2473299"/>
                <a:gd name="connsiteX34" fmla="*/ 2072593 w 2459618"/>
                <a:gd name="connsiteY34" fmla="*/ 2144605 h 2473299"/>
                <a:gd name="connsiteX35" fmla="*/ 1973743 w 2459618"/>
                <a:gd name="connsiteY35" fmla="*/ 2227550 h 2473299"/>
                <a:gd name="connsiteX36" fmla="*/ 1764753 w 2459618"/>
                <a:gd name="connsiteY36" fmla="*/ 2077568 h 2473299"/>
                <a:gd name="connsiteX37" fmla="*/ 1757688 w 2459618"/>
                <a:gd name="connsiteY37" fmla="*/ 2082528 h 2473299"/>
                <a:gd name="connsiteX38" fmla="*/ 1682781 w 2459618"/>
                <a:gd name="connsiteY38" fmla="*/ 2122471 h 2473299"/>
                <a:gd name="connsiteX39" fmla="*/ 1708217 w 2459618"/>
                <a:gd name="connsiteY39" fmla="*/ 2378887 h 2473299"/>
                <a:gd name="connsiteX40" fmla="*/ 1586959 w 2459618"/>
                <a:gd name="connsiteY40" fmla="*/ 2423021 h 2473299"/>
                <a:gd name="connsiteX41" fmla="*/ 1440421 w 2459618"/>
                <a:gd name="connsiteY41" fmla="*/ 2208484 h 2473299"/>
                <a:gd name="connsiteX42" fmla="*/ 1373224 w 2459618"/>
                <a:gd name="connsiteY42" fmla="*/ 2222981 h 2473299"/>
                <a:gd name="connsiteX43" fmla="*/ 1355670 w 2459618"/>
                <a:gd name="connsiteY43" fmla="*/ 2224226 h 2473299"/>
                <a:gd name="connsiteX44" fmla="*/ 1292021 w 2459618"/>
                <a:gd name="connsiteY44" fmla="*/ 2473299 h 2473299"/>
                <a:gd name="connsiteX45" fmla="*/ 1162981 w 2459618"/>
                <a:gd name="connsiteY45" fmla="*/ 2473299 h 2473299"/>
                <a:gd name="connsiteX46" fmla="*/ 1099121 w 2459618"/>
                <a:gd name="connsiteY46" fmla="*/ 2223400 h 2473299"/>
                <a:gd name="connsiteX47" fmla="*/ 1029950 w 2459618"/>
                <a:gd name="connsiteY47" fmla="*/ 2212843 h 2473299"/>
                <a:gd name="connsiteX48" fmla="*/ 1010571 w 2459618"/>
                <a:gd name="connsiteY48" fmla="*/ 2207088 h 2473299"/>
                <a:gd name="connsiteX49" fmla="*/ 865368 w 2459618"/>
                <a:gd name="connsiteY49" fmla="*/ 2419670 h 2473299"/>
                <a:gd name="connsiteX50" fmla="*/ 744110 w 2459618"/>
                <a:gd name="connsiteY50" fmla="*/ 2375536 h 2473299"/>
                <a:gd name="connsiteX51" fmla="*/ 769806 w 2459618"/>
                <a:gd name="connsiteY51" fmla="*/ 2116503 h 2473299"/>
                <a:gd name="connsiteX52" fmla="*/ 714077 w 2459618"/>
                <a:gd name="connsiteY52" fmla="*/ 2088830 h 2473299"/>
                <a:gd name="connsiteX53" fmla="*/ 694596 w 2459618"/>
                <a:gd name="connsiteY53" fmla="*/ 2075241 h 2473299"/>
                <a:gd name="connsiteX54" fmla="*/ 485289 w 2459618"/>
                <a:gd name="connsiteY54" fmla="*/ 2225451 h 2473299"/>
                <a:gd name="connsiteX55" fmla="*/ 386439 w 2459618"/>
                <a:gd name="connsiteY55" fmla="*/ 2142506 h 2473299"/>
                <a:gd name="connsiteX56" fmla="*/ 498177 w 2459618"/>
                <a:gd name="connsiteY56" fmla="*/ 1909970 h 2473299"/>
                <a:gd name="connsiteX57" fmla="*/ 439253 w 2459618"/>
                <a:gd name="connsiteY57" fmla="*/ 1841529 h 2473299"/>
                <a:gd name="connsiteX58" fmla="*/ 192057 w 2459618"/>
                <a:gd name="connsiteY58" fmla="*/ 1910850 h 2473299"/>
                <a:gd name="connsiteX59" fmla="*/ 127537 w 2459618"/>
                <a:gd name="connsiteY59" fmla="*/ 1799098 h 2473299"/>
                <a:gd name="connsiteX60" fmla="*/ 313136 w 2459618"/>
                <a:gd name="connsiteY60" fmla="*/ 1617760 h 2473299"/>
                <a:gd name="connsiteX61" fmla="*/ 287667 w 2459618"/>
                <a:gd name="connsiteY61" fmla="*/ 1559128 h 2473299"/>
                <a:gd name="connsiteX62" fmla="*/ 282245 w 2459618"/>
                <a:gd name="connsiteY62" fmla="*/ 1537672 h 2473299"/>
                <a:gd name="connsiteX63" fmla="*/ 24676 w 2459618"/>
                <a:gd name="connsiteY63" fmla="*/ 1518148 h 2473299"/>
                <a:gd name="connsiteX64" fmla="*/ 2268 w 2459618"/>
                <a:gd name="connsiteY64" fmla="*/ 1391069 h 2473299"/>
                <a:gd name="connsiteX65" fmla="*/ 238274 w 2459618"/>
                <a:gd name="connsiteY65" fmla="*/ 1284335 h 2473299"/>
                <a:gd name="connsiteX66" fmla="*/ 234329 w 2459618"/>
                <a:gd name="connsiteY66" fmla="*/ 1236649 h 2473299"/>
                <a:gd name="connsiteX67" fmla="*/ 235870 w 2459618"/>
                <a:gd name="connsiteY67" fmla="*/ 1201769 h 2473299"/>
                <a:gd name="connsiteX68" fmla="*/ 0 w 2459618"/>
                <a:gd name="connsiteY68" fmla="*/ 1095097 h 2473299"/>
                <a:gd name="connsiteX69" fmla="*/ 22408 w 2459618"/>
                <a:gd name="connsiteY69" fmla="*/ 968017 h 2473299"/>
                <a:gd name="connsiteX70" fmla="*/ 280086 w 2459618"/>
                <a:gd name="connsiteY70" fmla="*/ 948485 h 2473299"/>
                <a:gd name="connsiteX71" fmla="*/ 294792 w 2459618"/>
                <a:gd name="connsiteY71" fmla="*/ 894040 h 2473299"/>
                <a:gd name="connsiteX72" fmla="*/ 310816 w 2459618"/>
                <a:gd name="connsiteY72" fmla="*/ 857696 h 2473299"/>
                <a:gd name="connsiteX73" fmla="*/ 125904 w 2459618"/>
                <a:gd name="connsiteY73" fmla="*/ 677029 h 2473299"/>
                <a:gd name="connsiteX74" fmla="*/ 190424 w 2459618"/>
                <a:gd name="connsiteY74" fmla="*/ 565277 h 2473299"/>
                <a:gd name="connsiteX75" fmla="*/ 438731 w 2459618"/>
                <a:gd name="connsiteY75" fmla="*/ 634910 h 2473299"/>
                <a:gd name="connsiteX76" fmla="*/ 488364 w 2459618"/>
                <a:gd name="connsiteY76" fmla="*/ 572132 h 2473299"/>
                <a:gd name="connsiteX77" fmla="*/ 376431 w 2459618"/>
                <a:gd name="connsiteY77" fmla="*/ 339191 h 2473299"/>
                <a:gd name="connsiteX78" fmla="*/ 475281 w 2459618"/>
                <a:gd name="connsiteY78" fmla="*/ 256246 h 2473299"/>
                <a:gd name="connsiteX79" fmla="*/ 684657 w 2459618"/>
                <a:gd name="connsiteY79" fmla="*/ 406505 h 2473299"/>
                <a:gd name="connsiteX80" fmla="*/ 732177 w 2459618"/>
                <a:gd name="connsiteY80" fmla="*/ 373731 h 2473299"/>
                <a:gd name="connsiteX81" fmla="*/ 769711 w 2459618"/>
                <a:gd name="connsiteY81" fmla="*/ 355834 h 2473299"/>
                <a:gd name="connsiteX82" fmla="*/ 744110 w 2459618"/>
                <a:gd name="connsiteY82" fmla="*/ 97764 h 2473299"/>
                <a:gd name="connsiteX83" fmla="*/ 865368 w 2459618"/>
                <a:gd name="connsiteY83" fmla="*/ 53629 h 2473299"/>
                <a:gd name="connsiteX84" fmla="*/ 1010506 w 2459618"/>
                <a:gd name="connsiteY84" fmla="*/ 266116 h 2473299"/>
                <a:gd name="connsiteX85" fmla="*/ 1029950 w 2459618"/>
                <a:gd name="connsiteY85" fmla="*/ 260455 h 2473299"/>
                <a:gd name="connsiteX86" fmla="*/ 1099121 w 2459618"/>
                <a:gd name="connsiteY86" fmla="*/ 249898 h 2473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459618" h="2473299">
                  <a:moveTo>
                    <a:pt x="1162981" y="0"/>
                  </a:moveTo>
                  <a:lnTo>
                    <a:pt x="1292021" y="0"/>
                  </a:lnTo>
                  <a:lnTo>
                    <a:pt x="1355616" y="248861"/>
                  </a:lnTo>
                  <a:lnTo>
                    <a:pt x="1431584" y="260455"/>
                  </a:lnTo>
                  <a:lnTo>
                    <a:pt x="1447881" y="265295"/>
                  </a:lnTo>
                  <a:lnTo>
                    <a:pt x="1590925" y="55873"/>
                  </a:lnTo>
                  <a:lnTo>
                    <a:pt x="1712183" y="100008"/>
                  </a:lnTo>
                  <a:lnTo>
                    <a:pt x="1686945" y="354421"/>
                  </a:lnTo>
                  <a:lnTo>
                    <a:pt x="1747456" y="384469"/>
                  </a:lnTo>
                  <a:lnTo>
                    <a:pt x="1766274" y="397595"/>
                  </a:lnTo>
                  <a:lnTo>
                    <a:pt x="1975753" y="247261"/>
                  </a:lnTo>
                  <a:lnTo>
                    <a:pt x="2074603" y="330206"/>
                  </a:lnTo>
                  <a:lnTo>
                    <a:pt x="1962860" y="562752"/>
                  </a:lnTo>
                  <a:lnTo>
                    <a:pt x="2022282" y="631770"/>
                  </a:lnTo>
                  <a:lnTo>
                    <a:pt x="2269476" y="562449"/>
                  </a:lnTo>
                  <a:lnTo>
                    <a:pt x="2333996" y="674201"/>
                  </a:lnTo>
                  <a:lnTo>
                    <a:pt x="2148398" y="855539"/>
                  </a:lnTo>
                  <a:lnTo>
                    <a:pt x="2173867" y="914171"/>
                  </a:lnTo>
                  <a:lnTo>
                    <a:pt x="2186075" y="962482"/>
                  </a:lnTo>
                  <a:lnTo>
                    <a:pt x="2443892" y="995669"/>
                  </a:lnTo>
                  <a:lnTo>
                    <a:pt x="2459618" y="1123747"/>
                  </a:lnTo>
                  <a:lnTo>
                    <a:pt x="2225432" y="1215216"/>
                  </a:lnTo>
                  <a:lnTo>
                    <a:pt x="2227205" y="1236649"/>
                  </a:lnTo>
                  <a:lnTo>
                    <a:pt x="2224763" y="1285015"/>
                  </a:lnTo>
                  <a:lnTo>
                    <a:pt x="2459266" y="1391069"/>
                  </a:lnTo>
                  <a:lnTo>
                    <a:pt x="2436858" y="1518148"/>
                  </a:lnTo>
                  <a:lnTo>
                    <a:pt x="2180722" y="1537563"/>
                  </a:lnTo>
                  <a:lnTo>
                    <a:pt x="2148900" y="1624508"/>
                  </a:lnTo>
                  <a:lnTo>
                    <a:pt x="2143487" y="1635081"/>
                  </a:lnTo>
                  <a:lnTo>
                    <a:pt x="2325831" y="1813240"/>
                  </a:lnTo>
                  <a:lnTo>
                    <a:pt x="2261311" y="1924992"/>
                  </a:lnTo>
                  <a:lnTo>
                    <a:pt x="2010846" y="1854753"/>
                  </a:lnTo>
                  <a:lnTo>
                    <a:pt x="1999667" y="1870476"/>
                  </a:lnTo>
                  <a:lnTo>
                    <a:pt x="1961045" y="1912466"/>
                  </a:lnTo>
                  <a:lnTo>
                    <a:pt x="2072593" y="2144605"/>
                  </a:lnTo>
                  <a:lnTo>
                    <a:pt x="1973743" y="2227550"/>
                  </a:lnTo>
                  <a:lnTo>
                    <a:pt x="1764753" y="2077568"/>
                  </a:lnTo>
                  <a:lnTo>
                    <a:pt x="1757688" y="2082528"/>
                  </a:lnTo>
                  <a:lnTo>
                    <a:pt x="1682781" y="2122471"/>
                  </a:lnTo>
                  <a:lnTo>
                    <a:pt x="1708217" y="2378887"/>
                  </a:lnTo>
                  <a:lnTo>
                    <a:pt x="1586959" y="2423021"/>
                  </a:lnTo>
                  <a:lnTo>
                    <a:pt x="1440421" y="2208484"/>
                  </a:lnTo>
                  <a:lnTo>
                    <a:pt x="1373224" y="2222981"/>
                  </a:lnTo>
                  <a:lnTo>
                    <a:pt x="1355670" y="2224226"/>
                  </a:lnTo>
                  <a:lnTo>
                    <a:pt x="1292021" y="2473299"/>
                  </a:lnTo>
                  <a:lnTo>
                    <a:pt x="1162981" y="2473299"/>
                  </a:lnTo>
                  <a:lnTo>
                    <a:pt x="1099121" y="2223400"/>
                  </a:lnTo>
                  <a:lnTo>
                    <a:pt x="1029950" y="2212843"/>
                  </a:lnTo>
                  <a:lnTo>
                    <a:pt x="1010571" y="2207088"/>
                  </a:lnTo>
                  <a:lnTo>
                    <a:pt x="865368" y="2419670"/>
                  </a:lnTo>
                  <a:lnTo>
                    <a:pt x="744110" y="2375536"/>
                  </a:lnTo>
                  <a:lnTo>
                    <a:pt x="769806" y="2116503"/>
                  </a:lnTo>
                  <a:lnTo>
                    <a:pt x="714077" y="2088830"/>
                  </a:lnTo>
                  <a:lnTo>
                    <a:pt x="694596" y="2075241"/>
                  </a:lnTo>
                  <a:lnTo>
                    <a:pt x="485289" y="2225451"/>
                  </a:lnTo>
                  <a:lnTo>
                    <a:pt x="386439" y="2142506"/>
                  </a:lnTo>
                  <a:lnTo>
                    <a:pt x="498177" y="1909970"/>
                  </a:lnTo>
                  <a:lnTo>
                    <a:pt x="439253" y="1841529"/>
                  </a:lnTo>
                  <a:lnTo>
                    <a:pt x="192057" y="1910850"/>
                  </a:lnTo>
                  <a:lnTo>
                    <a:pt x="127537" y="1799098"/>
                  </a:lnTo>
                  <a:lnTo>
                    <a:pt x="313136" y="1617760"/>
                  </a:lnTo>
                  <a:lnTo>
                    <a:pt x="287667" y="1559128"/>
                  </a:lnTo>
                  <a:lnTo>
                    <a:pt x="282245" y="1537672"/>
                  </a:lnTo>
                  <a:lnTo>
                    <a:pt x="24676" y="1518148"/>
                  </a:lnTo>
                  <a:lnTo>
                    <a:pt x="2268" y="1391069"/>
                  </a:lnTo>
                  <a:lnTo>
                    <a:pt x="238274" y="1284335"/>
                  </a:lnTo>
                  <a:lnTo>
                    <a:pt x="234329" y="1236649"/>
                  </a:lnTo>
                  <a:lnTo>
                    <a:pt x="235870" y="1201769"/>
                  </a:lnTo>
                  <a:lnTo>
                    <a:pt x="0" y="1095097"/>
                  </a:lnTo>
                  <a:lnTo>
                    <a:pt x="22408" y="968017"/>
                  </a:lnTo>
                  <a:lnTo>
                    <a:pt x="280086" y="948485"/>
                  </a:lnTo>
                  <a:lnTo>
                    <a:pt x="294792" y="894040"/>
                  </a:lnTo>
                  <a:lnTo>
                    <a:pt x="310816" y="857696"/>
                  </a:lnTo>
                  <a:lnTo>
                    <a:pt x="125904" y="677029"/>
                  </a:lnTo>
                  <a:lnTo>
                    <a:pt x="190424" y="565277"/>
                  </a:lnTo>
                  <a:lnTo>
                    <a:pt x="438731" y="634910"/>
                  </a:lnTo>
                  <a:lnTo>
                    <a:pt x="488364" y="572132"/>
                  </a:lnTo>
                  <a:lnTo>
                    <a:pt x="376431" y="339191"/>
                  </a:lnTo>
                  <a:lnTo>
                    <a:pt x="475281" y="256246"/>
                  </a:lnTo>
                  <a:lnTo>
                    <a:pt x="684657" y="406505"/>
                  </a:lnTo>
                  <a:lnTo>
                    <a:pt x="732177" y="373731"/>
                  </a:lnTo>
                  <a:lnTo>
                    <a:pt x="769711" y="355834"/>
                  </a:lnTo>
                  <a:lnTo>
                    <a:pt x="744110" y="97764"/>
                  </a:lnTo>
                  <a:lnTo>
                    <a:pt x="865368" y="53629"/>
                  </a:lnTo>
                  <a:lnTo>
                    <a:pt x="1010506" y="266116"/>
                  </a:lnTo>
                  <a:lnTo>
                    <a:pt x="1029950" y="260455"/>
                  </a:lnTo>
                  <a:lnTo>
                    <a:pt x="1099121" y="24989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700" dirty="0">
                <a:solidFill>
                  <a:prstClr val="white"/>
                </a:solidFill>
                <a:latin typeface="Arial" panose="020B0604020202020204"/>
              </a:endParaRPr>
            </a:p>
          </p:txBody>
        </p:sp>
        <p:sp>
          <p:nvSpPr>
            <p:cNvPr id="14" name="Donut 6">
              <a:extLst>
                <a:ext uri="{FF2B5EF4-FFF2-40B4-BE49-F238E27FC236}">
                  <a16:creationId xmlns:a16="http://schemas.microsoft.com/office/drawing/2014/main" id="{27CC1AF9-5E76-86F7-C0CC-D580EF4D22EE}"/>
                </a:ext>
              </a:extLst>
            </p:cNvPr>
            <p:cNvSpPr>
              <a:spLocks noChangeAspect="1"/>
            </p:cNvSpPr>
            <p:nvPr/>
          </p:nvSpPr>
          <p:spPr>
            <a:xfrm>
              <a:off x="8301438" y="1700851"/>
              <a:ext cx="1453896" cy="1453896"/>
            </a:xfrm>
            <a:prstGeom prst="donut">
              <a:avLst>
                <a:gd name="adj" fmla="val 594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700" dirty="0">
                <a:solidFill>
                  <a:srgbClr val="53565A"/>
                </a:solidFill>
                <a:latin typeface="Arial" panose="020B0604020202020204"/>
              </a:endParaRPr>
            </a:p>
          </p:txBody>
        </p:sp>
      </p:grpSp>
      <p:grpSp>
        <p:nvGrpSpPr>
          <p:cNvPr id="15" name="Group 14">
            <a:extLst>
              <a:ext uri="{FF2B5EF4-FFF2-40B4-BE49-F238E27FC236}">
                <a16:creationId xmlns:a16="http://schemas.microsoft.com/office/drawing/2014/main" id="{D0A90980-EF8D-F758-EE03-1F846468E5B3}"/>
              </a:ext>
            </a:extLst>
          </p:cNvPr>
          <p:cNvGrpSpPr>
            <a:grpSpLocks noChangeAspect="1"/>
          </p:cNvGrpSpPr>
          <p:nvPr/>
        </p:nvGrpSpPr>
        <p:grpSpPr>
          <a:xfrm>
            <a:off x="8046053" y="820520"/>
            <a:ext cx="1885440" cy="1880945"/>
            <a:chOff x="7791736" y="1191149"/>
            <a:chExt cx="2479208" cy="2473299"/>
          </a:xfrm>
        </p:grpSpPr>
        <p:sp>
          <p:nvSpPr>
            <p:cNvPr id="16" name="Freeform 8">
              <a:extLst>
                <a:ext uri="{FF2B5EF4-FFF2-40B4-BE49-F238E27FC236}">
                  <a16:creationId xmlns:a16="http://schemas.microsoft.com/office/drawing/2014/main" id="{3072AE52-5AF6-C738-50A0-75C9E7DD1BB4}"/>
                </a:ext>
              </a:extLst>
            </p:cNvPr>
            <p:cNvSpPr/>
            <p:nvPr/>
          </p:nvSpPr>
          <p:spPr>
            <a:xfrm>
              <a:off x="7791736" y="1191149"/>
              <a:ext cx="2479208" cy="2473299"/>
            </a:xfrm>
            <a:custGeom>
              <a:avLst/>
              <a:gdLst>
                <a:gd name="connsiteX0" fmla="*/ 1162981 w 2459618"/>
                <a:gd name="connsiteY0" fmla="*/ 0 h 2473299"/>
                <a:gd name="connsiteX1" fmla="*/ 1292021 w 2459618"/>
                <a:gd name="connsiteY1" fmla="*/ 0 h 2473299"/>
                <a:gd name="connsiteX2" fmla="*/ 1355616 w 2459618"/>
                <a:gd name="connsiteY2" fmla="*/ 248861 h 2473299"/>
                <a:gd name="connsiteX3" fmla="*/ 1431584 w 2459618"/>
                <a:gd name="connsiteY3" fmla="*/ 260455 h 2473299"/>
                <a:gd name="connsiteX4" fmla="*/ 1447881 w 2459618"/>
                <a:gd name="connsiteY4" fmla="*/ 265295 h 2473299"/>
                <a:gd name="connsiteX5" fmla="*/ 1590925 w 2459618"/>
                <a:gd name="connsiteY5" fmla="*/ 55873 h 2473299"/>
                <a:gd name="connsiteX6" fmla="*/ 1712183 w 2459618"/>
                <a:gd name="connsiteY6" fmla="*/ 100008 h 2473299"/>
                <a:gd name="connsiteX7" fmla="*/ 1686945 w 2459618"/>
                <a:gd name="connsiteY7" fmla="*/ 354421 h 2473299"/>
                <a:gd name="connsiteX8" fmla="*/ 1747456 w 2459618"/>
                <a:gd name="connsiteY8" fmla="*/ 384469 h 2473299"/>
                <a:gd name="connsiteX9" fmla="*/ 1766274 w 2459618"/>
                <a:gd name="connsiteY9" fmla="*/ 397595 h 2473299"/>
                <a:gd name="connsiteX10" fmla="*/ 1975753 w 2459618"/>
                <a:gd name="connsiteY10" fmla="*/ 247261 h 2473299"/>
                <a:gd name="connsiteX11" fmla="*/ 2074603 w 2459618"/>
                <a:gd name="connsiteY11" fmla="*/ 330206 h 2473299"/>
                <a:gd name="connsiteX12" fmla="*/ 1962860 w 2459618"/>
                <a:gd name="connsiteY12" fmla="*/ 562752 h 2473299"/>
                <a:gd name="connsiteX13" fmla="*/ 2022282 w 2459618"/>
                <a:gd name="connsiteY13" fmla="*/ 631770 h 2473299"/>
                <a:gd name="connsiteX14" fmla="*/ 2269476 w 2459618"/>
                <a:gd name="connsiteY14" fmla="*/ 562449 h 2473299"/>
                <a:gd name="connsiteX15" fmla="*/ 2333996 w 2459618"/>
                <a:gd name="connsiteY15" fmla="*/ 674201 h 2473299"/>
                <a:gd name="connsiteX16" fmla="*/ 2148398 w 2459618"/>
                <a:gd name="connsiteY16" fmla="*/ 855539 h 2473299"/>
                <a:gd name="connsiteX17" fmla="*/ 2173867 w 2459618"/>
                <a:gd name="connsiteY17" fmla="*/ 914171 h 2473299"/>
                <a:gd name="connsiteX18" fmla="*/ 2186075 w 2459618"/>
                <a:gd name="connsiteY18" fmla="*/ 962482 h 2473299"/>
                <a:gd name="connsiteX19" fmla="*/ 2443892 w 2459618"/>
                <a:gd name="connsiteY19" fmla="*/ 995669 h 2473299"/>
                <a:gd name="connsiteX20" fmla="*/ 2459618 w 2459618"/>
                <a:gd name="connsiteY20" fmla="*/ 1123747 h 2473299"/>
                <a:gd name="connsiteX21" fmla="*/ 2225432 w 2459618"/>
                <a:gd name="connsiteY21" fmla="*/ 1215216 h 2473299"/>
                <a:gd name="connsiteX22" fmla="*/ 2227205 w 2459618"/>
                <a:gd name="connsiteY22" fmla="*/ 1236649 h 2473299"/>
                <a:gd name="connsiteX23" fmla="*/ 2224763 w 2459618"/>
                <a:gd name="connsiteY23" fmla="*/ 1285015 h 2473299"/>
                <a:gd name="connsiteX24" fmla="*/ 2459266 w 2459618"/>
                <a:gd name="connsiteY24" fmla="*/ 1391069 h 2473299"/>
                <a:gd name="connsiteX25" fmla="*/ 2436858 w 2459618"/>
                <a:gd name="connsiteY25" fmla="*/ 1518148 h 2473299"/>
                <a:gd name="connsiteX26" fmla="*/ 2180722 w 2459618"/>
                <a:gd name="connsiteY26" fmla="*/ 1537563 h 2473299"/>
                <a:gd name="connsiteX27" fmla="*/ 2148900 w 2459618"/>
                <a:gd name="connsiteY27" fmla="*/ 1624508 h 2473299"/>
                <a:gd name="connsiteX28" fmla="*/ 2143487 w 2459618"/>
                <a:gd name="connsiteY28" fmla="*/ 1635081 h 2473299"/>
                <a:gd name="connsiteX29" fmla="*/ 2325831 w 2459618"/>
                <a:gd name="connsiteY29" fmla="*/ 1813240 h 2473299"/>
                <a:gd name="connsiteX30" fmla="*/ 2261311 w 2459618"/>
                <a:gd name="connsiteY30" fmla="*/ 1924992 h 2473299"/>
                <a:gd name="connsiteX31" fmla="*/ 2010846 w 2459618"/>
                <a:gd name="connsiteY31" fmla="*/ 1854753 h 2473299"/>
                <a:gd name="connsiteX32" fmla="*/ 1999667 w 2459618"/>
                <a:gd name="connsiteY32" fmla="*/ 1870476 h 2473299"/>
                <a:gd name="connsiteX33" fmla="*/ 1961045 w 2459618"/>
                <a:gd name="connsiteY33" fmla="*/ 1912466 h 2473299"/>
                <a:gd name="connsiteX34" fmla="*/ 2072593 w 2459618"/>
                <a:gd name="connsiteY34" fmla="*/ 2144605 h 2473299"/>
                <a:gd name="connsiteX35" fmla="*/ 1973743 w 2459618"/>
                <a:gd name="connsiteY35" fmla="*/ 2227550 h 2473299"/>
                <a:gd name="connsiteX36" fmla="*/ 1764753 w 2459618"/>
                <a:gd name="connsiteY36" fmla="*/ 2077568 h 2473299"/>
                <a:gd name="connsiteX37" fmla="*/ 1757688 w 2459618"/>
                <a:gd name="connsiteY37" fmla="*/ 2082528 h 2473299"/>
                <a:gd name="connsiteX38" fmla="*/ 1682781 w 2459618"/>
                <a:gd name="connsiteY38" fmla="*/ 2122471 h 2473299"/>
                <a:gd name="connsiteX39" fmla="*/ 1708217 w 2459618"/>
                <a:gd name="connsiteY39" fmla="*/ 2378887 h 2473299"/>
                <a:gd name="connsiteX40" fmla="*/ 1586959 w 2459618"/>
                <a:gd name="connsiteY40" fmla="*/ 2423021 h 2473299"/>
                <a:gd name="connsiteX41" fmla="*/ 1440421 w 2459618"/>
                <a:gd name="connsiteY41" fmla="*/ 2208484 h 2473299"/>
                <a:gd name="connsiteX42" fmla="*/ 1373224 w 2459618"/>
                <a:gd name="connsiteY42" fmla="*/ 2222981 h 2473299"/>
                <a:gd name="connsiteX43" fmla="*/ 1355670 w 2459618"/>
                <a:gd name="connsiteY43" fmla="*/ 2224226 h 2473299"/>
                <a:gd name="connsiteX44" fmla="*/ 1292021 w 2459618"/>
                <a:gd name="connsiteY44" fmla="*/ 2473299 h 2473299"/>
                <a:gd name="connsiteX45" fmla="*/ 1162981 w 2459618"/>
                <a:gd name="connsiteY45" fmla="*/ 2473299 h 2473299"/>
                <a:gd name="connsiteX46" fmla="*/ 1099121 w 2459618"/>
                <a:gd name="connsiteY46" fmla="*/ 2223400 h 2473299"/>
                <a:gd name="connsiteX47" fmla="*/ 1029950 w 2459618"/>
                <a:gd name="connsiteY47" fmla="*/ 2212843 h 2473299"/>
                <a:gd name="connsiteX48" fmla="*/ 1010571 w 2459618"/>
                <a:gd name="connsiteY48" fmla="*/ 2207088 h 2473299"/>
                <a:gd name="connsiteX49" fmla="*/ 865368 w 2459618"/>
                <a:gd name="connsiteY49" fmla="*/ 2419670 h 2473299"/>
                <a:gd name="connsiteX50" fmla="*/ 744110 w 2459618"/>
                <a:gd name="connsiteY50" fmla="*/ 2375536 h 2473299"/>
                <a:gd name="connsiteX51" fmla="*/ 769806 w 2459618"/>
                <a:gd name="connsiteY51" fmla="*/ 2116503 h 2473299"/>
                <a:gd name="connsiteX52" fmla="*/ 714077 w 2459618"/>
                <a:gd name="connsiteY52" fmla="*/ 2088830 h 2473299"/>
                <a:gd name="connsiteX53" fmla="*/ 694596 w 2459618"/>
                <a:gd name="connsiteY53" fmla="*/ 2075241 h 2473299"/>
                <a:gd name="connsiteX54" fmla="*/ 485289 w 2459618"/>
                <a:gd name="connsiteY54" fmla="*/ 2225451 h 2473299"/>
                <a:gd name="connsiteX55" fmla="*/ 386439 w 2459618"/>
                <a:gd name="connsiteY55" fmla="*/ 2142506 h 2473299"/>
                <a:gd name="connsiteX56" fmla="*/ 498177 w 2459618"/>
                <a:gd name="connsiteY56" fmla="*/ 1909970 h 2473299"/>
                <a:gd name="connsiteX57" fmla="*/ 439253 w 2459618"/>
                <a:gd name="connsiteY57" fmla="*/ 1841529 h 2473299"/>
                <a:gd name="connsiteX58" fmla="*/ 192057 w 2459618"/>
                <a:gd name="connsiteY58" fmla="*/ 1910850 h 2473299"/>
                <a:gd name="connsiteX59" fmla="*/ 127537 w 2459618"/>
                <a:gd name="connsiteY59" fmla="*/ 1799098 h 2473299"/>
                <a:gd name="connsiteX60" fmla="*/ 313136 w 2459618"/>
                <a:gd name="connsiteY60" fmla="*/ 1617760 h 2473299"/>
                <a:gd name="connsiteX61" fmla="*/ 287667 w 2459618"/>
                <a:gd name="connsiteY61" fmla="*/ 1559128 h 2473299"/>
                <a:gd name="connsiteX62" fmla="*/ 282245 w 2459618"/>
                <a:gd name="connsiteY62" fmla="*/ 1537672 h 2473299"/>
                <a:gd name="connsiteX63" fmla="*/ 24676 w 2459618"/>
                <a:gd name="connsiteY63" fmla="*/ 1518148 h 2473299"/>
                <a:gd name="connsiteX64" fmla="*/ 2268 w 2459618"/>
                <a:gd name="connsiteY64" fmla="*/ 1391069 h 2473299"/>
                <a:gd name="connsiteX65" fmla="*/ 238274 w 2459618"/>
                <a:gd name="connsiteY65" fmla="*/ 1284335 h 2473299"/>
                <a:gd name="connsiteX66" fmla="*/ 234329 w 2459618"/>
                <a:gd name="connsiteY66" fmla="*/ 1236649 h 2473299"/>
                <a:gd name="connsiteX67" fmla="*/ 235870 w 2459618"/>
                <a:gd name="connsiteY67" fmla="*/ 1201769 h 2473299"/>
                <a:gd name="connsiteX68" fmla="*/ 0 w 2459618"/>
                <a:gd name="connsiteY68" fmla="*/ 1095097 h 2473299"/>
                <a:gd name="connsiteX69" fmla="*/ 22408 w 2459618"/>
                <a:gd name="connsiteY69" fmla="*/ 968017 h 2473299"/>
                <a:gd name="connsiteX70" fmla="*/ 280086 w 2459618"/>
                <a:gd name="connsiteY70" fmla="*/ 948485 h 2473299"/>
                <a:gd name="connsiteX71" fmla="*/ 294792 w 2459618"/>
                <a:gd name="connsiteY71" fmla="*/ 894040 h 2473299"/>
                <a:gd name="connsiteX72" fmla="*/ 310816 w 2459618"/>
                <a:gd name="connsiteY72" fmla="*/ 857696 h 2473299"/>
                <a:gd name="connsiteX73" fmla="*/ 125904 w 2459618"/>
                <a:gd name="connsiteY73" fmla="*/ 677029 h 2473299"/>
                <a:gd name="connsiteX74" fmla="*/ 190424 w 2459618"/>
                <a:gd name="connsiteY74" fmla="*/ 565277 h 2473299"/>
                <a:gd name="connsiteX75" fmla="*/ 438731 w 2459618"/>
                <a:gd name="connsiteY75" fmla="*/ 634910 h 2473299"/>
                <a:gd name="connsiteX76" fmla="*/ 488364 w 2459618"/>
                <a:gd name="connsiteY76" fmla="*/ 572132 h 2473299"/>
                <a:gd name="connsiteX77" fmla="*/ 376431 w 2459618"/>
                <a:gd name="connsiteY77" fmla="*/ 339191 h 2473299"/>
                <a:gd name="connsiteX78" fmla="*/ 475281 w 2459618"/>
                <a:gd name="connsiteY78" fmla="*/ 256246 h 2473299"/>
                <a:gd name="connsiteX79" fmla="*/ 684657 w 2459618"/>
                <a:gd name="connsiteY79" fmla="*/ 406505 h 2473299"/>
                <a:gd name="connsiteX80" fmla="*/ 732177 w 2459618"/>
                <a:gd name="connsiteY80" fmla="*/ 373731 h 2473299"/>
                <a:gd name="connsiteX81" fmla="*/ 769711 w 2459618"/>
                <a:gd name="connsiteY81" fmla="*/ 355834 h 2473299"/>
                <a:gd name="connsiteX82" fmla="*/ 744110 w 2459618"/>
                <a:gd name="connsiteY82" fmla="*/ 97764 h 2473299"/>
                <a:gd name="connsiteX83" fmla="*/ 865368 w 2459618"/>
                <a:gd name="connsiteY83" fmla="*/ 53629 h 2473299"/>
                <a:gd name="connsiteX84" fmla="*/ 1010506 w 2459618"/>
                <a:gd name="connsiteY84" fmla="*/ 266116 h 2473299"/>
                <a:gd name="connsiteX85" fmla="*/ 1029950 w 2459618"/>
                <a:gd name="connsiteY85" fmla="*/ 260455 h 2473299"/>
                <a:gd name="connsiteX86" fmla="*/ 1099121 w 2459618"/>
                <a:gd name="connsiteY86" fmla="*/ 249898 h 2473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459618" h="2473299">
                  <a:moveTo>
                    <a:pt x="1162981" y="0"/>
                  </a:moveTo>
                  <a:lnTo>
                    <a:pt x="1292021" y="0"/>
                  </a:lnTo>
                  <a:lnTo>
                    <a:pt x="1355616" y="248861"/>
                  </a:lnTo>
                  <a:lnTo>
                    <a:pt x="1431584" y="260455"/>
                  </a:lnTo>
                  <a:lnTo>
                    <a:pt x="1447881" y="265295"/>
                  </a:lnTo>
                  <a:lnTo>
                    <a:pt x="1590925" y="55873"/>
                  </a:lnTo>
                  <a:lnTo>
                    <a:pt x="1712183" y="100008"/>
                  </a:lnTo>
                  <a:lnTo>
                    <a:pt x="1686945" y="354421"/>
                  </a:lnTo>
                  <a:lnTo>
                    <a:pt x="1747456" y="384469"/>
                  </a:lnTo>
                  <a:lnTo>
                    <a:pt x="1766274" y="397595"/>
                  </a:lnTo>
                  <a:lnTo>
                    <a:pt x="1975753" y="247261"/>
                  </a:lnTo>
                  <a:lnTo>
                    <a:pt x="2074603" y="330206"/>
                  </a:lnTo>
                  <a:lnTo>
                    <a:pt x="1962860" y="562752"/>
                  </a:lnTo>
                  <a:lnTo>
                    <a:pt x="2022282" y="631770"/>
                  </a:lnTo>
                  <a:lnTo>
                    <a:pt x="2269476" y="562449"/>
                  </a:lnTo>
                  <a:lnTo>
                    <a:pt x="2333996" y="674201"/>
                  </a:lnTo>
                  <a:lnTo>
                    <a:pt x="2148398" y="855539"/>
                  </a:lnTo>
                  <a:lnTo>
                    <a:pt x="2173867" y="914171"/>
                  </a:lnTo>
                  <a:lnTo>
                    <a:pt x="2186075" y="962482"/>
                  </a:lnTo>
                  <a:lnTo>
                    <a:pt x="2443892" y="995669"/>
                  </a:lnTo>
                  <a:lnTo>
                    <a:pt x="2459618" y="1123747"/>
                  </a:lnTo>
                  <a:lnTo>
                    <a:pt x="2225432" y="1215216"/>
                  </a:lnTo>
                  <a:lnTo>
                    <a:pt x="2227205" y="1236649"/>
                  </a:lnTo>
                  <a:lnTo>
                    <a:pt x="2224763" y="1285015"/>
                  </a:lnTo>
                  <a:lnTo>
                    <a:pt x="2459266" y="1391069"/>
                  </a:lnTo>
                  <a:lnTo>
                    <a:pt x="2436858" y="1518148"/>
                  </a:lnTo>
                  <a:lnTo>
                    <a:pt x="2180722" y="1537563"/>
                  </a:lnTo>
                  <a:lnTo>
                    <a:pt x="2148900" y="1624508"/>
                  </a:lnTo>
                  <a:lnTo>
                    <a:pt x="2143487" y="1635081"/>
                  </a:lnTo>
                  <a:lnTo>
                    <a:pt x="2325831" y="1813240"/>
                  </a:lnTo>
                  <a:lnTo>
                    <a:pt x="2261311" y="1924992"/>
                  </a:lnTo>
                  <a:lnTo>
                    <a:pt x="2010846" y="1854753"/>
                  </a:lnTo>
                  <a:lnTo>
                    <a:pt x="1999667" y="1870476"/>
                  </a:lnTo>
                  <a:lnTo>
                    <a:pt x="1961045" y="1912466"/>
                  </a:lnTo>
                  <a:lnTo>
                    <a:pt x="2072593" y="2144605"/>
                  </a:lnTo>
                  <a:lnTo>
                    <a:pt x="1973743" y="2227550"/>
                  </a:lnTo>
                  <a:lnTo>
                    <a:pt x="1764753" y="2077568"/>
                  </a:lnTo>
                  <a:lnTo>
                    <a:pt x="1757688" y="2082528"/>
                  </a:lnTo>
                  <a:lnTo>
                    <a:pt x="1682781" y="2122471"/>
                  </a:lnTo>
                  <a:lnTo>
                    <a:pt x="1708217" y="2378887"/>
                  </a:lnTo>
                  <a:lnTo>
                    <a:pt x="1586959" y="2423021"/>
                  </a:lnTo>
                  <a:lnTo>
                    <a:pt x="1440421" y="2208484"/>
                  </a:lnTo>
                  <a:lnTo>
                    <a:pt x="1373224" y="2222981"/>
                  </a:lnTo>
                  <a:lnTo>
                    <a:pt x="1355670" y="2224226"/>
                  </a:lnTo>
                  <a:lnTo>
                    <a:pt x="1292021" y="2473299"/>
                  </a:lnTo>
                  <a:lnTo>
                    <a:pt x="1162981" y="2473299"/>
                  </a:lnTo>
                  <a:lnTo>
                    <a:pt x="1099121" y="2223400"/>
                  </a:lnTo>
                  <a:lnTo>
                    <a:pt x="1029950" y="2212843"/>
                  </a:lnTo>
                  <a:lnTo>
                    <a:pt x="1010571" y="2207088"/>
                  </a:lnTo>
                  <a:lnTo>
                    <a:pt x="865368" y="2419670"/>
                  </a:lnTo>
                  <a:lnTo>
                    <a:pt x="744110" y="2375536"/>
                  </a:lnTo>
                  <a:lnTo>
                    <a:pt x="769806" y="2116503"/>
                  </a:lnTo>
                  <a:lnTo>
                    <a:pt x="714077" y="2088830"/>
                  </a:lnTo>
                  <a:lnTo>
                    <a:pt x="694596" y="2075241"/>
                  </a:lnTo>
                  <a:lnTo>
                    <a:pt x="485289" y="2225451"/>
                  </a:lnTo>
                  <a:lnTo>
                    <a:pt x="386439" y="2142506"/>
                  </a:lnTo>
                  <a:lnTo>
                    <a:pt x="498177" y="1909970"/>
                  </a:lnTo>
                  <a:lnTo>
                    <a:pt x="439253" y="1841529"/>
                  </a:lnTo>
                  <a:lnTo>
                    <a:pt x="192057" y="1910850"/>
                  </a:lnTo>
                  <a:lnTo>
                    <a:pt x="127537" y="1799098"/>
                  </a:lnTo>
                  <a:lnTo>
                    <a:pt x="313136" y="1617760"/>
                  </a:lnTo>
                  <a:lnTo>
                    <a:pt x="287667" y="1559128"/>
                  </a:lnTo>
                  <a:lnTo>
                    <a:pt x="282245" y="1537672"/>
                  </a:lnTo>
                  <a:lnTo>
                    <a:pt x="24676" y="1518148"/>
                  </a:lnTo>
                  <a:lnTo>
                    <a:pt x="2268" y="1391069"/>
                  </a:lnTo>
                  <a:lnTo>
                    <a:pt x="238274" y="1284335"/>
                  </a:lnTo>
                  <a:lnTo>
                    <a:pt x="234329" y="1236649"/>
                  </a:lnTo>
                  <a:lnTo>
                    <a:pt x="235870" y="1201769"/>
                  </a:lnTo>
                  <a:lnTo>
                    <a:pt x="0" y="1095097"/>
                  </a:lnTo>
                  <a:lnTo>
                    <a:pt x="22408" y="968017"/>
                  </a:lnTo>
                  <a:lnTo>
                    <a:pt x="280086" y="948485"/>
                  </a:lnTo>
                  <a:lnTo>
                    <a:pt x="294792" y="894040"/>
                  </a:lnTo>
                  <a:lnTo>
                    <a:pt x="310816" y="857696"/>
                  </a:lnTo>
                  <a:lnTo>
                    <a:pt x="125904" y="677029"/>
                  </a:lnTo>
                  <a:lnTo>
                    <a:pt x="190424" y="565277"/>
                  </a:lnTo>
                  <a:lnTo>
                    <a:pt x="438731" y="634910"/>
                  </a:lnTo>
                  <a:lnTo>
                    <a:pt x="488364" y="572132"/>
                  </a:lnTo>
                  <a:lnTo>
                    <a:pt x="376431" y="339191"/>
                  </a:lnTo>
                  <a:lnTo>
                    <a:pt x="475281" y="256246"/>
                  </a:lnTo>
                  <a:lnTo>
                    <a:pt x="684657" y="406505"/>
                  </a:lnTo>
                  <a:lnTo>
                    <a:pt x="732177" y="373731"/>
                  </a:lnTo>
                  <a:lnTo>
                    <a:pt x="769711" y="355834"/>
                  </a:lnTo>
                  <a:lnTo>
                    <a:pt x="744110" y="97764"/>
                  </a:lnTo>
                  <a:lnTo>
                    <a:pt x="865368" y="53629"/>
                  </a:lnTo>
                  <a:lnTo>
                    <a:pt x="1010506" y="266116"/>
                  </a:lnTo>
                  <a:lnTo>
                    <a:pt x="1029950" y="260455"/>
                  </a:lnTo>
                  <a:lnTo>
                    <a:pt x="1099121" y="249898"/>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700" dirty="0">
                <a:solidFill>
                  <a:prstClr val="white"/>
                </a:solidFill>
                <a:latin typeface="Arial" panose="020B0604020202020204"/>
              </a:endParaRPr>
            </a:p>
          </p:txBody>
        </p:sp>
        <p:sp>
          <p:nvSpPr>
            <p:cNvPr id="17" name="Donut 9">
              <a:extLst>
                <a:ext uri="{FF2B5EF4-FFF2-40B4-BE49-F238E27FC236}">
                  <a16:creationId xmlns:a16="http://schemas.microsoft.com/office/drawing/2014/main" id="{7D9E11AA-731B-8383-402D-98F253107C67}"/>
                </a:ext>
              </a:extLst>
            </p:cNvPr>
            <p:cNvSpPr>
              <a:spLocks noChangeAspect="1"/>
            </p:cNvSpPr>
            <p:nvPr/>
          </p:nvSpPr>
          <p:spPr>
            <a:xfrm>
              <a:off x="8304392" y="1700851"/>
              <a:ext cx="1453896" cy="1453896"/>
            </a:xfrm>
            <a:prstGeom prst="donut">
              <a:avLst>
                <a:gd name="adj" fmla="val 594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700" dirty="0">
                <a:solidFill>
                  <a:srgbClr val="53565A"/>
                </a:solidFill>
                <a:latin typeface="Arial" panose="020B0604020202020204"/>
              </a:endParaRPr>
            </a:p>
          </p:txBody>
        </p:sp>
      </p:grpSp>
      <p:grpSp>
        <p:nvGrpSpPr>
          <p:cNvPr id="18" name="Group 17">
            <a:extLst>
              <a:ext uri="{FF2B5EF4-FFF2-40B4-BE49-F238E27FC236}">
                <a16:creationId xmlns:a16="http://schemas.microsoft.com/office/drawing/2014/main" id="{F7C7C99E-A6EB-8F2B-AE3B-AD4E497A05EF}"/>
              </a:ext>
            </a:extLst>
          </p:cNvPr>
          <p:cNvGrpSpPr/>
          <p:nvPr/>
        </p:nvGrpSpPr>
        <p:grpSpPr>
          <a:xfrm>
            <a:off x="6906976" y="826878"/>
            <a:ext cx="1077395" cy="1077452"/>
            <a:chOff x="4307632" y="1715246"/>
            <a:chExt cx="1170432" cy="1170494"/>
          </a:xfrm>
        </p:grpSpPr>
        <p:sp>
          <p:nvSpPr>
            <p:cNvPr id="19" name="Freeform 14">
              <a:extLst>
                <a:ext uri="{FF2B5EF4-FFF2-40B4-BE49-F238E27FC236}">
                  <a16:creationId xmlns:a16="http://schemas.microsoft.com/office/drawing/2014/main" id="{3EAE2BFE-523E-B354-1BCC-04E2ED3906BE}"/>
                </a:ext>
              </a:extLst>
            </p:cNvPr>
            <p:cNvSpPr/>
            <p:nvPr/>
          </p:nvSpPr>
          <p:spPr>
            <a:xfrm>
              <a:off x="4307632" y="1715246"/>
              <a:ext cx="1170432" cy="1170494"/>
            </a:xfrm>
            <a:custGeom>
              <a:avLst/>
              <a:gdLst>
                <a:gd name="connsiteX0" fmla="*/ 1162981 w 2459618"/>
                <a:gd name="connsiteY0" fmla="*/ 0 h 2473299"/>
                <a:gd name="connsiteX1" fmla="*/ 1292021 w 2459618"/>
                <a:gd name="connsiteY1" fmla="*/ 0 h 2473299"/>
                <a:gd name="connsiteX2" fmla="*/ 1355616 w 2459618"/>
                <a:gd name="connsiteY2" fmla="*/ 248861 h 2473299"/>
                <a:gd name="connsiteX3" fmla="*/ 1431584 w 2459618"/>
                <a:gd name="connsiteY3" fmla="*/ 260455 h 2473299"/>
                <a:gd name="connsiteX4" fmla="*/ 1447881 w 2459618"/>
                <a:gd name="connsiteY4" fmla="*/ 265295 h 2473299"/>
                <a:gd name="connsiteX5" fmla="*/ 1590925 w 2459618"/>
                <a:gd name="connsiteY5" fmla="*/ 55873 h 2473299"/>
                <a:gd name="connsiteX6" fmla="*/ 1712183 w 2459618"/>
                <a:gd name="connsiteY6" fmla="*/ 100008 h 2473299"/>
                <a:gd name="connsiteX7" fmla="*/ 1686945 w 2459618"/>
                <a:gd name="connsiteY7" fmla="*/ 354421 h 2473299"/>
                <a:gd name="connsiteX8" fmla="*/ 1747456 w 2459618"/>
                <a:gd name="connsiteY8" fmla="*/ 384469 h 2473299"/>
                <a:gd name="connsiteX9" fmla="*/ 1766274 w 2459618"/>
                <a:gd name="connsiteY9" fmla="*/ 397595 h 2473299"/>
                <a:gd name="connsiteX10" fmla="*/ 1975753 w 2459618"/>
                <a:gd name="connsiteY10" fmla="*/ 247261 h 2473299"/>
                <a:gd name="connsiteX11" fmla="*/ 2074603 w 2459618"/>
                <a:gd name="connsiteY11" fmla="*/ 330206 h 2473299"/>
                <a:gd name="connsiteX12" fmla="*/ 1962860 w 2459618"/>
                <a:gd name="connsiteY12" fmla="*/ 562752 h 2473299"/>
                <a:gd name="connsiteX13" fmla="*/ 2022282 w 2459618"/>
                <a:gd name="connsiteY13" fmla="*/ 631770 h 2473299"/>
                <a:gd name="connsiteX14" fmla="*/ 2269476 w 2459618"/>
                <a:gd name="connsiteY14" fmla="*/ 562449 h 2473299"/>
                <a:gd name="connsiteX15" fmla="*/ 2333996 w 2459618"/>
                <a:gd name="connsiteY15" fmla="*/ 674201 h 2473299"/>
                <a:gd name="connsiteX16" fmla="*/ 2148398 w 2459618"/>
                <a:gd name="connsiteY16" fmla="*/ 855539 h 2473299"/>
                <a:gd name="connsiteX17" fmla="*/ 2173867 w 2459618"/>
                <a:gd name="connsiteY17" fmla="*/ 914171 h 2473299"/>
                <a:gd name="connsiteX18" fmla="*/ 2186075 w 2459618"/>
                <a:gd name="connsiteY18" fmla="*/ 962482 h 2473299"/>
                <a:gd name="connsiteX19" fmla="*/ 2443892 w 2459618"/>
                <a:gd name="connsiteY19" fmla="*/ 995669 h 2473299"/>
                <a:gd name="connsiteX20" fmla="*/ 2459618 w 2459618"/>
                <a:gd name="connsiteY20" fmla="*/ 1123747 h 2473299"/>
                <a:gd name="connsiteX21" fmla="*/ 2225432 w 2459618"/>
                <a:gd name="connsiteY21" fmla="*/ 1215216 h 2473299"/>
                <a:gd name="connsiteX22" fmla="*/ 2227205 w 2459618"/>
                <a:gd name="connsiteY22" fmla="*/ 1236649 h 2473299"/>
                <a:gd name="connsiteX23" fmla="*/ 2224763 w 2459618"/>
                <a:gd name="connsiteY23" fmla="*/ 1285015 h 2473299"/>
                <a:gd name="connsiteX24" fmla="*/ 2459266 w 2459618"/>
                <a:gd name="connsiteY24" fmla="*/ 1391069 h 2473299"/>
                <a:gd name="connsiteX25" fmla="*/ 2436858 w 2459618"/>
                <a:gd name="connsiteY25" fmla="*/ 1518148 h 2473299"/>
                <a:gd name="connsiteX26" fmla="*/ 2180722 w 2459618"/>
                <a:gd name="connsiteY26" fmla="*/ 1537563 h 2473299"/>
                <a:gd name="connsiteX27" fmla="*/ 2148900 w 2459618"/>
                <a:gd name="connsiteY27" fmla="*/ 1624508 h 2473299"/>
                <a:gd name="connsiteX28" fmla="*/ 2143487 w 2459618"/>
                <a:gd name="connsiteY28" fmla="*/ 1635081 h 2473299"/>
                <a:gd name="connsiteX29" fmla="*/ 2325831 w 2459618"/>
                <a:gd name="connsiteY29" fmla="*/ 1813240 h 2473299"/>
                <a:gd name="connsiteX30" fmla="*/ 2261311 w 2459618"/>
                <a:gd name="connsiteY30" fmla="*/ 1924992 h 2473299"/>
                <a:gd name="connsiteX31" fmla="*/ 2010846 w 2459618"/>
                <a:gd name="connsiteY31" fmla="*/ 1854753 h 2473299"/>
                <a:gd name="connsiteX32" fmla="*/ 1999667 w 2459618"/>
                <a:gd name="connsiteY32" fmla="*/ 1870476 h 2473299"/>
                <a:gd name="connsiteX33" fmla="*/ 1961045 w 2459618"/>
                <a:gd name="connsiteY33" fmla="*/ 1912466 h 2473299"/>
                <a:gd name="connsiteX34" fmla="*/ 2072593 w 2459618"/>
                <a:gd name="connsiteY34" fmla="*/ 2144605 h 2473299"/>
                <a:gd name="connsiteX35" fmla="*/ 1973743 w 2459618"/>
                <a:gd name="connsiteY35" fmla="*/ 2227550 h 2473299"/>
                <a:gd name="connsiteX36" fmla="*/ 1764753 w 2459618"/>
                <a:gd name="connsiteY36" fmla="*/ 2077568 h 2473299"/>
                <a:gd name="connsiteX37" fmla="*/ 1757688 w 2459618"/>
                <a:gd name="connsiteY37" fmla="*/ 2082528 h 2473299"/>
                <a:gd name="connsiteX38" fmla="*/ 1682781 w 2459618"/>
                <a:gd name="connsiteY38" fmla="*/ 2122471 h 2473299"/>
                <a:gd name="connsiteX39" fmla="*/ 1708217 w 2459618"/>
                <a:gd name="connsiteY39" fmla="*/ 2378887 h 2473299"/>
                <a:gd name="connsiteX40" fmla="*/ 1586959 w 2459618"/>
                <a:gd name="connsiteY40" fmla="*/ 2423021 h 2473299"/>
                <a:gd name="connsiteX41" fmla="*/ 1440421 w 2459618"/>
                <a:gd name="connsiteY41" fmla="*/ 2208484 h 2473299"/>
                <a:gd name="connsiteX42" fmla="*/ 1373224 w 2459618"/>
                <a:gd name="connsiteY42" fmla="*/ 2222981 h 2473299"/>
                <a:gd name="connsiteX43" fmla="*/ 1355670 w 2459618"/>
                <a:gd name="connsiteY43" fmla="*/ 2224226 h 2473299"/>
                <a:gd name="connsiteX44" fmla="*/ 1292021 w 2459618"/>
                <a:gd name="connsiteY44" fmla="*/ 2473299 h 2473299"/>
                <a:gd name="connsiteX45" fmla="*/ 1162981 w 2459618"/>
                <a:gd name="connsiteY45" fmla="*/ 2473299 h 2473299"/>
                <a:gd name="connsiteX46" fmla="*/ 1099121 w 2459618"/>
                <a:gd name="connsiteY46" fmla="*/ 2223400 h 2473299"/>
                <a:gd name="connsiteX47" fmla="*/ 1029950 w 2459618"/>
                <a:gd name="connsiteY47" fmla="*/ 2212843 h 2473299"/>
                <a:gd name="connsiteX48" fmla="*/ 1010571 w 2459618"/>
                <a:gd name="connsiteY48" fmla="*/ 2207088 h 2473299"/>
                <a:gd name="connsiteX49" fmla="*/ 865368 w 2459618"/>
                <a:gd name="connsiteY49" fmla="*/ 2419670 h 2473299"/>
                <a:gd name="connsiteX50" fmla="*/ 744110 w 2459618"/>
                <a:gd name="connsiteY50" fmla="*/ 2375536 h 2473299"/>
                <a:gd name="connsiteX51" fmla="*/ 769806 w 2459618"/>
                <a:gd name="connsiteY51" fmla="*/ 2116503 h 2473299"/>
                <a:gd name="connsiteX52" fmla="*/ 714077 w 2459618"/>
                <a:gd name="connsiteY52" fmla="*/ 2088830 h 2473299"/>
                <a:gd name="connsiteX53" fmla="*/ 694596 w 2459618"/>
                <a:gd name="connsiteY53" fmla="*/ 2075241 h 2473299"/>
                <a:gd name="connsiteX54" fmla="*/ 485289 w 2459618"/>
                <a:gd name="connsiteY54" fmla="*/ 2225451 h 2473299"/>
                <a:gd name="connsiteX55" fmla="*/ 386439 w 2459618"/>
                <a:gd name="connsiteY55" fmla="*/ 2142506 h 2473299"/>
                <a:gd name="connsiteX56" fmla="*/ 498177 w 2459618"/>
                <a:gd name="connsiteY56" fmla="*/ 1909970 h 2473299"/>
                <a:gd name="connsiteX57" fmla="*/ 439253 w 2459618"/>
                <a:gd name="connsiteY57" fmla="*/ 1841529 h 2473299"/>
                <a:gd name="connsiteX58" fmla="*/ 192057 w 2459618"/>
                <a:gd name="connsiteY58" fmla="*/ 1910850 h 2473299"/>
                <a:gd name="connsiteX59" fmla="*/ 127537 w 2459618"/>
                <a:gd name="connsiteY59" fmla="*/ 1799098 h 2473299"/>
                <a:gd name="connsiteX60" fmla="*/ 313136 w 2459618"/>
                <a:gd name="connsiteY60" fmla="*/ 1617760 h 2473299"/>
                <a:gd name="connsiteX61" fmla="*/ 287667 w 2459618"/>
                <a:gd name="connsiteY61" fmla="*/ 1559128 h 2473299"/>
                <a:gd name="connsiteX62" fmla="*/ 282245 w 2459618"/>
                <a:gd name="connsiteY62" fmla="*/ 1537672 h 2473299"/>
                <a:gd name="connsiteX63" fmla="*/ 24676 w 2459618"/>
                <a:gd name="connsiteY63" fmla="*/ 1518148 h 2473299"/>
                <a:gd name="connsiteX64" fmla="*/ 2268 w 2459618"/>
                <a:gd name="connsiteY64" fmla="*/ 1391069 h 2473299"/>
                <a:gd name="connsiteX65" fmla="*/ 238274 w 2459618"/>
                <a:gd name="connsiteY65" fmla="*/ 1284335 h 2473299"/>
                <a:gd name="connsiteX66" fmla="*/ 234329 w 2459618"/>
                <a:gd name="connsiteY66" fmla="*/ 1236649 h 2473299"/>
                <a:gd name="connsiteX67" fmla="*/ 235870 w 2459618"/>
                <a:gd name="connsiteY67" fmla="*/ 1201769 h 2473299"/>
                <a:gd name="connsiteX68" fmla="*/ 0 w 2459618"/>
                <a:gd name="connsiteY68" fmla="*/ 1095097 h 2473299"/>
                <a:gd name="connsiteX69" fmla="*/ 22408 w 2459618"/>
                <a:gd name="connsiteY69" fmla="*/ 968017 h 2473299"/>
                <a:gd name="connsiteX70" fmla="*/ 280086 w 2459618"/>
                <a:gd name="connsiteY70" fmla="*/ 948485 h 2473299"/>
                <a:gd name="connsiteX71" fmla="*/ 294792 w 2459618"/>
                <a:gd name="connsiteY71" fmla="*/ 894040 h 2473299"/>
                <a:gd name="connsiteX72" fmla="*/ 310816 w 2459618"/>
                <a:gd name="connsiteY72" fmla="*/ 857696 h 2473299"/>
                <a:gd name="connsiteX73" fmla="*/ 125904 w 2459618"/>
                <a:gd name="connsiteY73" fmla="*/ 677029 h 2473299"/>
                <a:gd name="connsiteX74" fmla="*/ 190424 w 2459618"/>
                <a:gd name="connsiteY74" fmla="*/ 565277 h 2473299"/>
                <a:gd name="connsiteX75" fmla="*/ 438731 w 2459618"/>
                <a:gd name="connsiteY75" fmla="*/ 634910 h 2473299"/>
                <a:gd name="connsiteX76" fmla="*/ 488364 w 2459618"/>
                <a:gd name="connsiteY76" fmla="*/ 572132 h 2473299"/>
                <a:gd name="connsiteX77" fmla="*/ 376431 w 2459618"/>
                <a:gd name="connsiteY77" fmla="*/ 339191 h 2473299"/>
                <a:gd name="connsiteX78" fmla="*/ 475281 w 2459618"/>
                <a:gd name="connsiteY78" fmla="*/ 256246 h 2473299"/>
                <a:gd name="connsiteX79" fmla="*/ 684657 w 2459618"/>
                <a:gd name="connsiteY79" fmla="*/ 406505 h 2473299"/>
                <a:gd name="connsiteX80" fmla="*/ 732177 w 2459618"/>
                <a:gd name="connsiteY80" fmla="*/ 373731 h 2473299"/>
                <a:gd name="connsiteX81" fmla="*/ 769711 w 2459618"/>
                <a:gd name="connsiteY81" fmla="*/ 355834 h 2473299"/>
                <a:gd name="connsiteX82" fmla="*/ 744110 w 2459618"/>
                <a:gd name="connsiteY82" fmla="*/ 97764 h 2473299"/>
                <a:gd name="connsiteX83" fmla="*/ 865368 w 2459618"/>
                <a:gd name="connsiteY83" fmla="*/ 53629 h 2473299"/>
                <a:gd name="connsiteX84" fmla="*/ 1010506 w 2459618"/>
                <a:gd name="connsiteY84" fmla="*/ 266116 h 2473299"/>
                <a:gd name="connsiteX85" fmla="*/ 1029950 w 2459618"/>
                <a:gd name="connsiteY85" fmla="*/ 260455 h 2473299"/>
                <a:gd name="connsiteX86" fmla="*/ 1099121 w 2459618"/>
                <a:gd name="connsiteY86" fmla="*/ 249898 h 2473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459618" h="2473299">
                  <a:moveTo>
                    <a:pt x="1162981" y="0"/>
                  </a:moveTo>
                  <a:lnTo>
                    <a:pt x="1292021" y="0"/>
                  </a:lnTo>
                  <a:lnTo>
                    <a:pt x="1355616" y="248861"/>
                  </a:lnTo>
                  <a:lnTo>
                    <a:pt x="1431584" y="260455"/>
                  </a:lnTo>
                  <a:lnTo>
                    <a:pt x="1447881" y="265295"/>
                  </a:lnTo>
                  <a:lnTo>
                    <a:pt x="1590925" y="55873"/>
                  </a:lnTo>
                  <a:lnTo>
                    <a:pt x="1712183" y="100008"/>
                  </a:lnTo>
                  <a:lnTo>
                    <a:pt x="1686945" y="354421"/>
                  </a:lnTo>
                  <a:lnTo>
                    <a:pt x="1747456" y="384469"/>
                  </a:lnTo>
                  <a:lnTo>
                    <a:pt x="1766274" y="397595"/>
                  </a:lnTo>
                  <a:lnTo>
                    <a:pt x="1975753" y="247261"/>
                  </a:lnTo>
                  <a:lnTo>
                    <a:pt x="2074603" y="330206"/>
                  </a:lnTo>
                  <a:lnTo>
                    <a:pt x="1962860" y="562752"/>
                  </a:lnTo>
                  <a:lnTo>
                    <a:pt x="2022282" y="631770"/>
                  </a:lnTo>
                  <a:lnTo>
                    <a:pt x="2269476" y="562449"/>
                  </a:lnTo>
                  <a:lnTo>
                    <a:pt x="2333996" y="674201"/>
                  </a:lnTo>
                  <a:lnTo>
                    <a:pt x="2148398" y="855539"/>
                  </a:lnTo>
                  <a:lnTo>
                    <a:pt x="2173867" y="914171"/>
                  </a:lnTo>
                  <a:lnTo>
                    <a:pt x="2186075" y="962482"/>
                  </a:lnTo>
                  <a:lnTo>
                    <a:pt x="2443892" y="995669"/>
                  </a:lnTo>
                  <a:lnTo>
                    <a:pt x="2459618" y="1123747"/>
                  </a:lnTo>
                  <a:lnTo>
                    <a:pt x="2225432" y="1215216"/>
                  </a:lnTo>
                  <a:lnTo>
                    <a:pt x="2227205" y="1236649"/>
                  </a:lnTo>
                  <a:lnTo>
                    <a:pt x="2224763" y="1285015"/>
                  </a:lnTo>
                  <a:lnTo>
                    <a:pt x="2459266" y="1391069"/>
                  </a:lnTo>
                  <a:lnTo>
                    <a:pt x="2436858" y="1518148"/>
                  </a:lnTo>
                  <a:lnTo>
                    <a:pt x="2180722" y="1537563"/>
                  </a:lnTo>
                  <a:lnTo>
                    <a:pt x="2148900" y="1624508"/>
                  </a:lnTo>
                  <a:lnTo>
                    <a:pt x="2143487" y="1635081"/>
                  </a:lnTo>
                  <a:lnTo>
                    <a:pt x="2325831" y="1813240"/>
                  </a:lnTo>
                  <a:lnTo>
                    <a:pt x="2261311" y="1924992"/>
                  </a:lnTo>
                  <a:lnTo>
                    <a:pt x="2010846" y="1854753"/>
                  </a:lnTo>
                  <a:lnTo>
                    <a:pt x="1999667" y="1870476"/>
                  </a:lnTo>
                  <a:lnTo>
                    <a:pt x="1961045" y="1912466"/>
                  </a:lnTo>
                  <a:lnTo>
                    <a:pt x="2072593" y="2144605"/>
                  </a:lnTo>
                  <a:lnTo>
                    <a:pt x="1973743" y="2227550"/>
                  </a:lnTo>
                  <a:lnTo>
                    <a:pt x="1764753" y="2077568"/>
                  </a:lnTo>
                  <a:lnTo>
                    <a:pt x="1757688" y="2082528"/>
                  </a:lnTo>
                  <a:lnTo>
                    <a:pt x="1682781" y="2122471"/>
                  </a:lnTo>
                  <a:lnTo>
                    <a:pt x="1708217" y="2378887"/>
                  </a:lnTo>
                  <a:lnTo>
                    <a:pt x="1586959" y="2423021"/>
                  </a:lnTo>
                  <a:lnTo>
                    <a:pt x="1440421" y="2208484"/>
                  </a:lnTo>
                  <a:lnTo>
                    <a:pt x="1373224" y="2222981"/>
                  </a:lnTo>
                  <a:lnTo>
                    <a:pt x="1355670" y="2224226"/>
                  </a:lnTo>
                  <a:lnTo>
                    <a:pt x="1292021" y="2473299"/>
                  </a:lnTo>
                  <a:lnTo>
                    <a:pt x="1162981" y="2473299"/>
                  </a:lnTo>
                  <a:lnTo>
                    <a:pt x="1099121" y="2223400"/>
                  </a:lnTo>
                  <a:lnTo>
                    <a:pt x="1029950" y="2212843"/>
                  </a:lnTo>
                  <a:lnTo>
                    <a:pt x="1010571" y="2207088"/>
                  </a:lnTo>
                  <a:lnTo>
                    <a:pt x="865368" y="2419670"/>
                  </a:lnTo>
                  <a:lnTo>
                    <a:pt x="744110" y="2375536"/>
                  </a:lnTo>
                  <a:lnTo>
                    <a:pt x="769806" y="2116503"/>
                  </a:lnTo>
                  <a:lnTo>
                    <a:pt x="714077" y="2088830"/>
                  </a:lnTo>
                  <a:lnTo>
                    <a:pt x="694596" y="2075241"/>
                  </a:lnTo>
                  <a:lnTo>
                    <a:pt x="485289" y="2225451"/>
                  </a:lnTo>
                  <a:lnTo>
                    <a:pt x="386439" y="2142506"/>
                  </a:lnTo>
                  <a:lnTo>
                    <a:pt x="498177" y="1909970"/>
                  </a:lnTo>
                  <a:lnTo>
                    <a:pt x="439253" y="1841529"/>
                  </a:lnTo>
                  <a:lnTo>
                    <a:pt x="192057" y="1910850"/>
                  </a:lnTo>
                  <a:lnTo>
                    <a:pt x="127537" y="1799098"/>
                  </a:lnTo>
                  <a:lnTo>
                    <a:pt x="313136" y="1617760"/>
                  </a:lnTo>
                  <a:lnTo>
                    <a:pt x="287667" y="1559128"/>
                  </a:lnTo>
                  <a:lnTo>
                    <a:pt x="282245" y="1537672"/>
                  </a:lnTo>
                  <a:lnTo>
                    <a:pt x="24676" y="1518148"/>
                  </a:lnTo>
                  <a:lnTo>
                    <a:pt x="2268" y="1391069"/>
                  </a:lnTo>
                  <a:lnTo>
                    <a:pt x="238274" y="1284335"/>
                  </a:lnTo>
                  <a:lnTo>
                    <a:pt x="234329" y="1236649"/>
                  </a:lnTo>
                  <a:lnTo>
                    <a:pt x="235870" y="1201769"/>
                  </a:lnTo>
                  <a:lnTo>
                    <a:pt x="0" y="1095097"/>
                  </a:lnTo>
                  <a:lnTo>
                    <a:pt x="22408" y="968017"/>
                  </a:lnTo>
                  <a:lnTo>
                    <a:pt x="280086" y="948485"/>
                  </a:lnTo>
                  <a:lnTo>
                    <a:pt x="294792" y="894040"/>
                  </a:lnTo>
                  <a:lnTo>
                    <a:pt x="310816" y="857696"/>
                  </a:lnTo>
                  <a:lnTo>
                    <a:pt x="125904" y="677029"/>
                  </a:lnTo>
                  <a:lnTo>
                    <a:pt x="190424" y="565277"/>
                  </a:lnTo>
                  <a:lnTo>
                    <a:pt x="438731" y="634910"/>
                  </a:lnTo>
                  <a:lnTo>
                    <a:pt x="488364" y="572132"/>
                  </a:lnTo>
                  <a:lnTo>
                    <a:pt x="376431" y="339191"/>
                  </a:lnTo>
                  <a:lnTo>
                    <a:pt x="475281" y="256246"/>
                  </a:lnTo>
                  <a:lnTo>
                    <a:pt x="684657" y="406505"/>
                  </a:lnTo>
                  <a:lnTo>
                    <a:pt x="732177" y="373731"/>
                  </a:lnTo>
                  <a:lnTo>
                    <a:pt x="769711" y="355834"/>
                  </a:lnTo>
                  <a:lnTo>
                    <a:pt x="744110" y="97764"/>
                  </a:lnTo>
                  <a:lnTo>
                    <a:pt x="865368" y="53629"/>
                  </a:lnTo>
                  <a:lnTo>
                    <a:pt x="1010506" y="266116"/>
                  </a:lnTo>
                  <a:lnTo>
                    <a:pt x="1029950" y="260455"/>
                  </a:lnTo>
                  <a:lnTo>
                    <a:pt x="1099121" y="249898"/>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700" dirty="0">
                <a:solidFill>
                  <a:prstClr val="white"/>
                </a:solidFill>
                <a:latin typeface="Arial" panose="020B0604020202020204"/>
              </a:endParaRPr>
            </a:p>
          </p:txBody>
        </p:sp>
        <p:sp>
          <p:nvSpPr>
            <p:cNvPr id="20" name="Donut 15">
              <a:extLst>
                <a:ext uri="{FF2B5EF4-FFF2-40B4-BE49-F238E27FC236}">
                  <a16:creationId xmlns:a16="http://schemas.microsoft.com/office/drawing/2014/main" id="{075AACC9-39D7-BDFC-C263-1E5A02141A91}"/>
                </a:ext>
              </a:extLst>
            </p:cNvPr>
            <p:cNvSpPr>
              <a:spLocks noChangeAspect="1"/>
            </p:cNvSpPr>
            <p:nvPr/>
          </p:nvSpPr>
          <p:spPr>
            <a:xfrm>
              <a:off x="4548819" y="1956464"/>
              <a:ext cx="688059" cy="688059"/>
            </a:xfrm>
            <a:prstGeom prst="donut">
              <a:avLst>
                <a:gd name="adj" fmla="val 5948"/>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700" dirty="0">
                <a:solidFill>
                  <a:srgbClr val="53565A"/>
                </a:solidFill>
                <a:latin typeface="Arial" panose="020B0604020202020204"/>
              </a:endParaRPr>
            </a:p>
          </p:txBody>
        </p:sp>
      </p:grpSp>
      <p:grpSp>
        <p:nvGrpSpPr>
          <p:cNvPr id="21" name="Group 20">
            <a:extLst>
              <a:ext uri="{FF2B5EF4-FFF2-40B4-BE49-F238E27FC236}">
                <a16:creationId xmlns:a16="http://schemas.microsoft.com/office/drawing/2014/main" id="{74495974-07E8-D66D-A12F-191554371F31}"/>
              </a:ext>
            </a:extLst>
          </p:cNvPr>
          <p:cNvGrpSpPr>
            <a:grpSpLocks noChangeAspect="1"/>
          </p:cNvGrpSpPr>
          <p:nvPr/>
        </p:nvGrpSpPr>
        <p:grpSpPr>
          <a:xfrm>
            <a:off x="6661652" y="3495807"/>
            <a:ext cx="1518704" cy="1515085"/>
            <a:chOff x="7791736" y="1191149"/>
            <a:chExt cx="2479208" cy="2473299"/>
          </a:xfrm>
        </p:grpSpPr>
        <p:sp>
          <p:nvSpPr>
            <p:cNvPr id="22" name="Freeform 17">
              <a:extLst>
                <a:ext uri="{FF2B5EF4-FFF2-40B4-BE49-F238E27FC236}">
                  <a16:creationId xmlns:a16="http://schemas.microsoft.com/office/drawing/2014/main" id="{869F584B-1B77-CD3F-C50E-F26E3E878130}"/>
                </a:ext>
              </a:extLst>
            </p:cNvPr>
            <p:cNvSpPr/>
            <p:nvPr/>
          </p:nvSpPr>
          <p:spPr>
            <a:xfrm>
              <a:off x="7791736" y="1191149"/>
              <a:ext cx="2479208" cy="2473299"/>
            </a:xfrm>
            <a:custGeom>
              <a:avLst/>
              <a:gdLst>
                <a:gd name="connsiteX0" fmla="*/ 1162981 w 2459618"/>
                <a:gd name="connsiteY0" fmla="*/ 0 h 2473299"/>
                <a:gd name="connsiteX1" fmla="*/ 1292021 w 2459618"/>
                <a:gd name="connsiteY1" fmla="*/ 0 h 2473299"/>
                <a:gd name="connsiteX2" fmla="*/ 1355616 w 2459618"/>
                <a:gd name="connsiteY2" fmla="*/ 248861 h 2473299"/>
                <a:gd name="connsiteX3" fmla="*/ 1431584 w 2459618"/>
                <a:gd name="connsiteY3" fmla="*/ 260455 h 2473299"/>
                <a:gd name="connsiteX4" fmla="*/ 1447881 w 2459618"/>
                <a:gd name="connsiteY4" fmla="*/ 265295 h 2473299"/>
                <a:gd name="connsiteX5" fmla="*/ 1590925 w 2459618"/>
                <a:gd name="connsiteY5" fmla="*/ 55873 h 2473299"/>
                <a:gd name="connsiteX6" fmla="*/ 1712183 w 2459618"/>
                <a:gd name="connsiteY6" fmla="*/ 100008 h 2473299"/>
                <a:gd name="connsiteX7" fmla="*/ 1686945 w 2459618"/>
                <a:gd name="connsiteY7" fmla="*/ 354421 h 2473299"/>
                <a:gd name="connsiteX8" fmla="*/ 1747456 w 2459618"/>
                <a:gd name="connsiteY8" fmla="*/ 384469 h 2473299"/>
                <a:gd name="connsiteX9" fmla="*/ 1766274 w 2459618"/>
                <a:gd name="connsiteY9" fmla="*/ 397595 h 2473299"/>
                <a:gd name="connsiteX10" fmla="*/ 1975753 w 2459618"/>
                <a:gd name="connsiteY10" fmla="*/ 247261 h 2473299"/>
                <a:gd name="connsiteX11" fmla="*/ 2074603 w 2459618"/>
                <a:gd name="connsiteY11" fmla="*/ 330206 h 2473299"/>
                <a:gd name="connsiteX12" fmla="*/ 1962860 w 2459618"/>
                <a:gd name="connsiteY12" fmla="*/ 562752 h 2473299"/>
                <a:gd name="connsiteX13" fmla="*/ 2022282 w 2459618"/>
                <a:gd name="connsiteY13" fmla="*/ 631770 h 2473299"/>
                <a:gd name="connsiteX14" fmla="*/ 2269476 w 2459618"/>
                <a:gd name="connsiteY14" fmla="*/ 562449 h 2473299"/>
                <a:gd name="connsiteX15" fmla="*/ 2333996 w 2459618"/>
                <a:gd name="connsiteY15" fmla="*/ 674201 h 2473299"/>
                <a:gd name="connsiteX16" fmla="*/ 2148398 w 2459618"/>
                <a:gd name="connsiteY16" fmla="*/ 855539 h 2473299"/>
                <a:gd name="connsiteX17" fmla="*/ 2173867 w 2459618"/>
                <a:gd name="connsiteY17" fmla="*/ 914171 h 2473299"/>
                <a:gd name="connsiteX18" fmla="*/ 2186075 w 2459618"/>
                <a:gd name="connsiteY18" fmla="*/ 962482 h 2473299"/>
                <a:gd name="connsiteX19" fmla="*/ 2443892 w 2459618"/>
                <a:gd name="connsiteY19" fmla="*/ 995669 h 2473299"/>
                <a:gd name="connsiteX20" fmla="*/ 2459618 w 2459618"/>
                <a:gd name="connsiteY20" fmla="*/ 1123747 h 2473299"/>
                <a:gd name="connsiteX21" fmla="*/ 2225432 w 2459618"/>
                <a:gd name="connsiteY21" fmla="*/ 1215216 h 2473299"/>
                <a:gd name="connsiteX22" fmla="*/ 2227205 w 2459618"/>
                <a:gd name="connsiteY22" fmla="*/ 1236649 h 2473299"/>
                <a:gd name="connsiteX23" fmla="*/ 2224763 w 2459618"/>
                <a:gd name="connsiteY23" fmla="*/ 1285015 h 2473299"/>
                <a:gd name="connsiteX24" fmla="*/ 2459266 w 2459618"/>
                <a:gd name="connsiteY24" fmla="*/ 1391069 h 2473299"/>
                <a:gd name="connsiteX25" fmla="*/ 2436858 w 2459618"/>
                <a:gd name="connsiteY25" fmla="*/ 1518148 h 2473299"/>
                <a:gd name="connsiteX26" fmla="*/ 2180722 w 2459618"/>
                <a:gd name="connsiteY26" fmla="*/ 1537563 h 2473299"/>
                <a:gd name="connsiteX27" fmla="*/ 2148900 w 2459618"/>
                <a:gd name="connsiteY27" fmla="*/ 1624508 h 2473299"/>
                <a:gd name="connsiteX28" fmla="*/ 2143487 w 2459618"/>
                <a:gd name="connsiteY28" fmla="*/ 1635081 h 2473299"/>
                <a:gd name="connsiteX29" fmla="*/ 2325831 w 2459618"/>
                <a:gd name="connsiteY29" fmla="*/ 1813240 h 2473299"/>
                <a:gd name="connsiteX30" fmla="*/ 2261311 w 2459618"/>
                <a:gd name="connsiteY30" fmla="*/ 1924992 h 2473299"/>
                <a:gd name="connsiteX31" fmla="*/ 2010846 w 2459618"/>
                <a:gd name="connsiteY31" fmla="*/ 1854753 h 2473299"/>
                <a:gd name="connsiteX32" fmla="*/ 1999667 w 2459618"/>
                <a:gd name="connsiteY32" fmla="*/ 1870476 h 2473299"/>
                <a:gd name="connsiteX33" fmla="*/ 1961045 w 2459618"/>
                <a:gd name="connsiteY33" fmla="*/ 1912466 h 2473299"/>
                <a:gd name="connsiteX34" fmla="*/ 2072593 w 2459618"/>
                <a:gd name="connsiteY34" fmla="*/ 2144605 h 2473299"/>
                <a:gd name="connsiteX35" fmla="*/ 1973743 w 2459618"/>
                <a:gd name="connsiteY35" fmla="*/ 2227550 h 2473299"/>
                <a:gd name="connsiteX36" fmla="*/ 1764753 w 2459618"/>
                <a:gd name="connsiteY36" fmla="*/ 2077568 h 2473299"/>
                <a:gd name="connsiteX37" fmla="*/ 1757688 w 2459618"/>
                <a:gd name="connsiteY37" fmla="*/ 2082528 h 2473299"/>
                <a:gd name="connsiteX38" fmla="*/ 1682781 w 2459618"/>
                <a:gd name="connsiteY38" fmla="*/ 2122471 h 2473299"/>
                <a:gd name="connsiteX39" fmla="*/ 1708217 w 2459618"/>
                <a:gd name="connsiteY39" fmla="*/ 2378887 h 2473299"/>
                <a:gd name="connsiteX40" fmla="*/ 1586959 w 2459618"/>
                <a:gd name="connsiteY40" fmla="*/ 2423021 h 2473299"/>
                <a:gd name="connsiteX41" fmla="*/ 1440421 w 2459618"/>
                <a:gd name="connsiteY41" fmla="*/ 2208484 h 2473299"/>
                <a:gd name="connsiteX42" fmla="*/ 1373224 w 2459618"/>
                <a:gd name="connsiteY42" fmla="*/ 2222981 h 2473299"/>
                <a:gd name="connsiteX43" fmla="*/ 1355670 w 2459618"/>
                <a:gd name="connsiteY43" fmla="*/ 2224226 h 2473299"/>
                <a:gd name="connsiteX44" fmla="*/ 1292021 w 2459618"/>
                <a:gd name="connsiteY44" fmla="*/ 2473299 h 2473299"/>
                <a:gd name="connsiteX45" fmla="*/ 1162981 w 2459618"/>
                <a:gd name="connsiteY45" fmla="*/ 2473299 h 2473299"/>
                <a:gd name="connsiteX46" fmla="*/ 1099121 w 2459618"/>
                <a:gd name="connsiteY46" fmla="*/ 2223400 h 2473299"/>
                <a:gd name="connsiteX47" fmla="*/ 1029950 w 2459618"/>
                <a:gd name="connsiteY47" fmla="*/ 2212843 h 2473299"/>
                <a:gd name="connsiteX48" fmla="*/ 1010571 w 2459618"/>
                <a:gd name="connsiteY48" fmla="*/ 2207088 h 2473299"/>
                <a:gd name="connsiteX49" fmla="*/ 865368 w 2459618"/>
                <a:gd name="connsiteY49" fmla="*/ 2419670 h 2473299"/>
                <a:gd name="connsiteX50" fmla="*/ 744110 w 2459618"/>
                <a:gd name="connsiteY50" fmla="*/ 2375536 h 2473299"/>
                <a:gd name="connsiteX51" fmla="*/ 769806 w 2459618"/>
                <a:gd name="connsiteY51" fmla="*/ 2116503 h 2473299"/>
                <a:gd name="connsiteX52" fmla="*/ 714077 w 2459618"/>
                <a:gd name="connsiteY52" fmla="*/ 2088830 h 2473299"/>
                <a:gd name="connsiteX53" fmla="*/ 694596 w 2459618"/>
                <a:gd name="connsiteY53" fmla="*/ 2075241 h 2473299"/>
                <a:gd name="connsiteX54" fmla="*/ 485289 w 2459618"/>
                <a:gd name="connsiteY54" fmla="*/ 2225451 h 2473299"/>
                <a:gd name="connsiteX55" fmla="*/ 386439 w 2459618"/>
                <a:gd name="connsiteY55" fmla="*/ 2142506 h 2473299"/>
                <a:gd name="connsiteX56" fmla="*/ 498177 w 2459618"/>
                <a:gd name="connsiteY56" fmla="*/ 1909970 h 2473299"/>
                <a:gd name="connsiteX57" fmla="*/ 439253 w 2459618"/>
                <a:gd name="connsiteY57" fmla="*/ 1841529 h 2473299"/>
                <a:gd name="connsiteX58" fmla="*/ 192057 w 2459618"/>
                <a:gd name="connsiteY58" fmla="*/ 1910850 h 2473299"/>
                <a:gd name="connsiteX59" fmla="*/ 127537 w 2459618"/>
                <a:gd name="connsiteY59" fmla="*/ 1799098 h 2473299"/>
                <a:gd name="connsiteX60" fmla="*/ 313136 w 2459618"/>
                <a:gd name="connsiteY60" fmla="*/ 1617760 h 2473299"/>
                <a:gd name="connsiteX61" fmla="*/ 287667 w 2459618"/>
                <a:gd name="connsiteY61" fmla="*/ 1559128 h 2473299"/>
                <a:gd name="connsiteX62" fmla="*/ 282245 w 2459618"/>
                <a:gd name="connsiteY62" fmla="*/ 1537672 h 2473299"/>
                <a:gd name="connsiteX63" fmla="*/ 24676 w 2459618"/>
                <a:gd name="connsiteY63" fmla="*/ 1518148 h 2473299"/>
                <a:gd name="connsiteX64" fmla="*/ 2268 w 2459618"/>
                <a:gd name="connsiteY64" fmla="*/ 1391069 h 2473299"/>
                <a:gd name="connsiteX65" fmla="*/ 238274 w 2459618"/>
                <a:gd name="connsiteY65" fmla="*/ 1284335 h 2473299"/>
                <a:gd name="connsiteX66" fmla="*/ 234329 w 2459618"/>
                <a:gd name="connsiteY66" fmla="*/ 1236649 h 2473299"/>
                <a:gd name="connsiteX67" fmla="*/ 235870 w 2459618"/>
                <a:gd name="connsiteY67" fmla="*/ 1201769 h 2473299"/>
                <a:gd name="connsiteX68" fmla="*/ 0 w 2459618"/>
                <a:gd name="connsiteY68" fmla="*/ 1095097 h 2473299"/>
                <a:gd name="connsiteX69" fmla="*/ 22408 w 2459618"/>
                <a:gd name="connsiteY69" fmla="*/ 968017 h 2473299"/>
                <a:gd name="connsiteX70" fmla="*/ 280086 w 2459618"/>
                <a:gd name="connsiteY70" fmla="*/ 948485 h 2473299"/>
                <a:gd name="connsiteX71" fmla="*/ 294792 w 2459618"/>
                <a:gd name="connsiteY71" fmla="*/ 894040 h 2473299"/>
                <a:gd name="connsiteX72" fmla="*/ 310816 w 2459618"/>
                <a:gd name="connsiteY72" fmla="*/ 857696 h 2473299"/>
                <a:gd name="connsiteX73" fmla="*/ 125904 w 2459618"/>
                <a:gd name="connsiteY73" fmla="*/ 677029 h 2473299"/>
                <a:gd name="connsiteX74" fmla="*/ 190424 w 2459618"/>
                <a:gd name="connsiteY74" fmla="*/ 565277 h 2473299"/>
                <a:gd name="connsiteX75" fmla="*/ 438731 w 2459618"/>
                <a:gd name="connsiteY75" fmla="*/ 634910 h 2473299"/>
                <a:gd name="connsiteX76" fmla="*/ 488364 w 2459618"/>
                <a:gd name="connsiteY76" fmla="*/ 572132 h 2473299"/>
                <a:gd name="connsiteX77" fmla="*/ 376431 w 2459618"/>
                <a:gd name="connsiteY77" fmla="*/ 339191 h 2473299"/>
                <a:gd name="connsiteX78" fmla="*/ 475281 w 2459618"/>
                <a:gd name="connsiteY78" fmla="*/ 256246 h 2473299"/>
                <a:gd name="connsiteX79" fmla="*/ 684657 w 2459618"/>
                <a:gd name="connsiteY79" fmla="*/ 406505 h 2473299"/>
                <a:gd name="connsiteX80" fmla="*/ 732177 w 2459618"/>
                <a:gd name="connsiteY80" fmla="*/ 373731 h 2473299"/>
                <a:gd name="connsiteX81" fmla="*/ 769711 w 2459618"/>
                <a:gd name="connsiteY81" fmla="*/ 355834 h 2473299"/>
                <a:gd name="connsiteX82" fmla="*/ 744110 w 2459618"/>
                <a:gd name="connsiteY82" fmla="*/ 97764 h 2473299"/>
                <a:gd name="connsiteX83" fmla="*/ 865368 w 2459618"/>
                <a:gd name="connsiteY83" fmla="*/ 53629 h 2473299"/>
                <a:gd name="connsiteX84" fmla="*/ 1010506 w 2459618"/>
                <a:gd name="connsiteY84" fmla="*/ 266116 h 2473299"/>
                <a:gd name="connsiteX85" fmla="*/ 1029950 w 2459618"/>
                <a:gd name="connsiteY85" fmla="*/ 260455 h 2473299"/>
                <a:gd name="connsiteX86" fmla="*/ 1099121 w 2459618"/>
                <a:gd name="connsiteY86" fmla="*/ 249898 h 2473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459618" h="2473299">
                  <a:moveTo>
                    <a:pt x="1162981" y="0"/>
                  </a:moveTo>
                  <a:lnTo>
                    <a:pt x="1292021" y="0"/>
                  </a:lnTo>
                  <a:lnTo>
                    <a:pt x="1355616" y="248861"/>
                  </a:lnTo>
                  <a:lnTo>
                    <a:pt x="1431584" y="260455"/>
                  </a:lnTo>
                  <a:lnTo>
                    <a:pt x="1447881" y="265295"/>
                  </a:lnTo>
                  <a:lnTo>
                    <a:pt x="1590925" y="55873"/>
                  </a:lnTo>
                  <a:lnTo>
                    <a:pt x="1712183" y="100008"/>
                  </a:lnTo>
                  <a:lnTo>
                    <a:pt x="1686945" y="354421"/>
                  </a:lnTo>
                  <a:lnTo>
                    <a:pt x="1747456" y="384469"/>
                  </a:lnTo>
                  <a:lnTo>
                    <a:pt x="1766274" y="397595"/>
                  </a:lnTo>
                  <a:lnTo>
                    <a:pt x="1975753" y="247261"/>
                  </a:lnTo>
                  <a:lnTo>
                    <a:pt x="2074603" y="330206"/>
                  </a:lnTo>
                  <a:lnTo>
                    <a:pt x="1962860" y="562752"/>
                  </a:lnTo>
                  <a:lnTo>
                    <a:pt x="2022282" y="631770"/>
                  </a:lnTo>
                  <a:lnTo>
                    <a:pt x="2269476" y="562449"/>
                  </a:lnTo>
                  <a:lnTo>
                    <a:pt x="2333996" y="674201"/>
                  </a:lnTo>
                  <a:lnTo>
                    <a:pt x="2148398" y="855539"/>
                  </a:lnTo>
                  <a:lnTo>
                    <a:pt x="2173867" y="914171"/>
                  </a:lnTo>
                  <a:lnTo>
                    <a:pt x="2186075" y="962482"/>
                  </a:lnTo>
                  <a:lnTo>
                    <a:pt x="2443892" y="995669"/>
                  </a:lnTo>
                  <a:lnTo>
                    <a:pt x="2459618" y="1123747"/>
                  </a:lnTo>
                  <a:lnTo>
                    <a:pt x="2225432" y="1215216"/>
                  </a:lnTo>
                  <a:lnTo>
                    <a:pt x="2227205" y="1236649"/>
                  </a:lnTo>
                  <a:lnTo>
                    <a:pt x="2224763" y="1285015"/>
                  </a:lnTo>
                  <a:lnTo>
                    <a:pt x="2459266" y="1391069"/>
                  </a:lnTo>
                  <a:lnTo>
                    <a:pt x="2436858" y="1518148"/>
                  </a:lnTo>
                  <a:lnTo>
                    <a:pt x="2180722" y="1537563"/>
                  </a:lnTo>
                  <a:lnTo>
                    <a:pt x="2148900" y="1624508"/>
                  </a:lnTo>
                  <a:lnTo>
                    <a:pt x="2143487" y="1635081"/>
                  </a:lnTo>
                  <a:lnTo>
                    <a:pt x="2325831" y="1813240"/>
                  </a:lnTo>
                  <a:lnTo>
                    <a:pt x="2261311" y="1924992"/>
                  </a:lnTo>
                  <a:lnTo>
                    <a:pt x="2010846" y="1854753"/>
                  </a:lnTo>
                  <a:lnTo>
                    <a:pt x="1999667" y="1870476"/>
                  </a:lnTo>
                  <a:lnTo>
                    <a:pt x="1961045" y="1912466"/>
                  </a:lnTo>
                  <a:lnTo>
                    <a:pt x="2072593" y="2144605"/>
                  </a:lnTo>
                  <a:lnTo>
                    <a:pt x="1973743" y="2227550"/>
                  </a:lnTo>
                  <a:lnTo>
                    <a:pt x="1764753" y="2077568"/>
                  </a:lnTo>
                  <a:lnTo>
                    <a:pt x="1757688" y="2082528"/>
                  </a:lnTo>
                  <a:lnTo>
                    <a:pt x="1682781" y="2122471"/>
                  </a:lnTo>
                  <a:lnTo>
                    <a:pt x="1708217" y="2378887"/>
                  </a:lnTo>
                  <a:lnTo>
                    <a:pt x="1586959" y="2423021"/>
                  </a:lnTo>
                  <a:lnTo>
                    <a:pt x="1440421" y="2208484"/>
                  </a:lnTo>
                  <a:lnTo>
                    <a:pt x="1373224" y="2222981"/>
                  </a:lnTo>
                  <a:lnTo>
                    <a:pt x="1355670" y="2224226"/>
                  </a:lnTo>
                  <a:lnTo>
                    <a:pt x="1292021" y="2473299"/>
                  </a:lnTo>
                  <a:lnTo>
                    <a:pt x="1162981" y="2473299"/>
                  </a:lnTo>
                  <a:lnTo>
                    <a:pt x="1099121" y="2223400"/>
                  </a:lnTo>
                  <a:lnTo>
                    <a:pt x="1029950" y="2212843"/>
                  </a:lnTo>
                  <a:lnTo>
                    <a:pt x="1010571" y="2207088"/>
                  </a:lnTo>
                  <a:lnTo>
                    <a:pt x="865368" y="2419670"/>
                  </a:lnTo>
                  <a:lnTo>
                    <a:pt x="744110" y="2375536"/>
                  </a:lnTo>
                  <a:lnTo>
                    <a:pt x="769806" y="2116503"/>
                  </a:lnTo>
                  <a:lnTo>
                    <a:pt x="714077" y="2088830"/>
                  </a:lnTo>
                  <a:lnTo>
                    <a:pt x="694596" y="2075241"/>
                  </a:lnTo>
                  <a:lnTo>
                    <a:pt x="485289" y="2225451"/>
                  </a:lnTo>
                  <a:lnTo>
                    <a:pt x="386439" y="2142506"/>
                  </a:lnTo>
                  <a:lnTo>
                    <a:pt x="498177" y="1909970"/>
                  </a:lnTo>
                  <a:lnTo>
                    <a:pt x="439253" y="1841529"/>
                  </a:lnTo>
                  <a:lnTo>
                    <a:pt x="192057" y="1910850"/>
                  </a:lnTo>
                  <a:lnTo>
                    <a:pt x="127537" y="1799098"/>
                  </a:lnTo>
                  <a:lnTo>
                    <a:pt x="313136" y="1617760"/>
                  </a:lnTo>
                  <a:lnTo>
                    <a:pt x="287667" y="1559128"/>
                  </a:lnTo>
                  <a:lnTo>
                    <a:pt x="282245" y="1537672"/>
                  </a:lnTo>
                  <a:lnTo>
                    <a:pt x="24676" y="1518148"/>
                  </a:lnTo>
                  <a:lnTo>
                    <a:pt x="2268" y="1391069"/>
                  </a:lnTo>
                  <a:lnTo>
                    <a:pt x="238274" y="1284335"/>
                  </a:lnTo>
                  <a:lnTo>
                    <a:pt x="234329" y="1236649"/>
                  </a:lnTo>
                  <a:lnTo>
                    <a:pt x="235870" y="1201769"/>
                  </a:lnTo>
                  <a:lnTo>
                    <a:pt x="0" y="1095097"/>
                  </a:lnTo>
                  <a:lnTo>
                    <a:pt x="22408" y="968017"/>
                  </a:lnTo>
                  <a:lnTo>
                    <a:pt x="280086" y="948485"/>
                  </a:lnTo>
                  <a:lnTo>
                    <a:pt x="294792" y="894040"/>
                  </a:lnTo>
                  <a:lnTo>
                    <a:pt x="310816" y="857696"/>
                  </a:lnTo>
                  <a:lnTo>
                    <a:pt x="125904" y="677029"/>
                  </a:lnTo>
                  <a:lnTo>
                    <a:pt x="190424" y="565277"/>
                  </a:lnTo>
                  <a:lnTo>
                    <a:pt x="438731" y="634910"/>
                  </a:lnTo>
                  <a:lnTo>
                    <a:pt x="488364" y="572132"/>
                  </a:lnTo>
                  <a:lnTo>
                    <a:pt x="376431" y="339191"/>
                  </a:lnTo>
                  <a:lnTo>
                    <a:pt x="475281" y="256246"/>
                  </a:lnTo>
                  <a:lnTo>
                    <a:pt x="684657" y="406505"/>
                  </a:lnTo>
                  <a:lnTo>
                    <a:pt x="732177" y="373731"/>
                  </a:lnTo>
                  <a:lnTo>
                    <a:pt x="769711" y="355834"/>
                  </a:lnTo>
                  <a:lnTo>
                    <a:pt x="744110" y="97764"/>
                  </a:lnTo>
                  <a:lnTo>
                    <a:pt x="865368" y="53629"/>
                  </a:lnTo>
                  <a:lnTo>
                    <a:pt x="1010506" y="266116"/>
                  </a:lnTo>
                  <a:lnTo>
                    <a:pt x="1029950" y="260455"/>
                  </a:lnTo>
                  <a:lnTo>
                    <a:pt x="1099121" y="249898"/>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700" dirty="0">
                <a:solidFill>
                  <a:prstClr val="white"/>
                </a:solidFill>
                <a:latin typeface="Arial" panose="020B0604020202020204"/>
              </a:endParaRPr>
            </a:p>
          </p:txBody>
        </p:sp>
        <p:sp>
          <p:nvSpPr>
            <p:cNvPr id="23" name="Donut 18">
              <a:extLst>
                <a:ext uri="{FF2B5EF4-FFF2-40B4-BE49-F238E27FC236}">
                  <a16:creationId xmlns:a16="http://schemas.microsoft.com/office/drawing/2014/main" id="{CF9C3EDD-082F-A732-C2A7-5D7A95EDAAAA}"/>
                </a:ext>
              </a:extLst>
            </p:cNvPr>
            <p:cNvSpPr>
              <a:spLocks noChangeAspect="1"/>
            </p:cNvSpPr>
            <p:nvPr/>
          </p:nvSpPr>
          <p:spPr>
            <a:xfrm>
              <a:off x="8304392" y="1700851"/>
              <a:ext cx="1453896" cy="1453896"/>
            </a:xfrm>
            <a:prstGeom prst="donut">
              <a:avLst>
                <a:gd name="adj" fmla="val 594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700" dirty="0">
                <a:solidFill>
                  <a:srgbClr val="53565A"/>
                </a:solidFill>
                <a:latin typeface="Arial" panose="020B0604020202020204"/>
              </a:endParaRPr>
            </a:p>
          </p:txBody>
        </p:sp>
      </p:grpSp>
      <p:sp>
        <p:nvSpPr>
          <p:cNvPr id="24" name="Freeform 19">
            <a:extLst>
              <a:ext uri="{FF2B5EF4-FFF2-40B4-BE49-F238E27FC236}">
                <a16:creationId xmlns:a16="http://schemas.microsoft.com/office/drawing/2014/main" id="{7473FAB6-8D46-A84E-111A-3B8F9AD94F3C}"/>
              </a:ext>
            </a:extLst>
          </p:cNvPr>
          <p:cNvSpPr>
            <a:spLocks noChangeAspect="1"/>
          </p:cNvSpPr>
          <p:nvPr/>
        </p:nvSpPr>
        <p:spPr>
          <a:xfrm flipH="1">
            <a:off x="7918676" y="670184"/>
            <a:ext cx="435657" cy="435657"/>
          </a:xfrm>
          <a:custGeom>
            <a:avLst/>
            <a:gdLst>
              <a:gd name="connsiteX0" fmla="*/ 212598 w 1971297"/>
              <a:gd name="connsiteY0" fmla="*/ 1172544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98126 w 1971297"/>
              <a:gd name="connsiteY6" fmla="*/ 1096370 h 1970826"/>
              <a:gd name="connsiteX7" fmla="*/ 199057 w 1971297"/>
              <a:gd name="connsiteY7" fmla="*/ 1110557 h 1970826"/>
              <a:gd name="connsiteX8" fmla="*/ 200997 w 1971297"/>
              <a:gd name="connsiteY8" fmla="*/ 1119440 h 1970826"/>
              <a:gd name="connsiteX9" fmla="*/ 1658502 w 1971297"/>
              <a:gd name="connsiteY9" fmla="*/ 565633 h 1970826"/>
              <a:gd name="connsiteX10" fmla="*/ 1664864 w 1971297"/>
              <a:gd name="connsiteY10" fmla="*/ 574448 h 1970826"/>
              <a:gd name="connsiteX11" fmla="*/ 1664611 w 1971297"/>
              <a:gd name="connsiteY11" fmla="*/ 573966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0" fmla="*/ 217129 w 1971297"/>
              <a:gd name="connsiteY0" fmla="*/ 1192320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773168 w 1971297"/>
              <a:gd name="connsiteY6" fmla="*/ 1096396 h 1970826"/>
              <a:gd name="connsiteX7" fmla="*/ 198126 w 1971297"/>
              <a:gd name="connsiteY7" fmla="*/ 1096370 h 1970826"/>
              <a:gd name="connsiteX8" fmla="*/ 199057 w 1971297"/>
              <a:gd name="connsiteY8" fmla="*/ 1110557 h 1970826"/>
              <a:gd name="connsiteX9" fmla="*/ 200997 w 1971297"/>
              <a:gd name="connsiteY9" fmla="*/ 1119440 h 1970826"/>
              <a:gd name="connsiteX10" fmla="*/ 198126 w 1971297"/>
              <a:gd name="connsiteY10" fmla="*/ 1096370 h 1970826"/>
              <a:gd name="connsiteX11" fmla="*/ 1658502 w 1971297"/>
              <a:gd name="connsiteY11" fmla="*/ 565633 h 1970826"/>
              <a:gd name="connsiteX12" fmla="*/ 1664864 w 1971297"/>
              <a:gd name="connsiteY12" fmla="*/ 574448 h 1970826"/>
              <a:gd name="connsiteX13" fmla="*/ 1664611 w 1971297"/>
              <a:gd name="connsiteY13" fmla="*/ 573966 h 1970826"/>
              <a:gd name="connsiteX14" fmla="*/ 1658502 w 1971297"/>
              <a:gd name="connsiteY14" fmla="*/ 565633 h 1970826"/>
              <a:gd name="connsiteX15" fmla="*/ 985649 w 1971297"/>
              <a:gd name="connsiteY15" fmla="*/ 323553 h 1970826"/>
              <a:gd name="connsiteX16" fmla="*/ 322581 w 1971297"/>
              <a:gd name="connsiteY16" fmla="*/ 986621 h 1970826"/>
              <a:gd name="connsiteX17" fmla="*/ 985649 w 1971297"/>
              <a:gd name="connsiteY17" fmla="*/ 1649689 h 1970826"/>
              <a:gd name="connsiteX18" fmla="*/ 1648717 w 1971297"/>
              <a:gd name="connsiteY18" fmla="*/ 986621 h 1970826"/>
              <a:gd name="connsiteX19" fmla="*/ 985649 w 1971297"/>
              <a:gd name="connsiteY19" fmla="*/ 323553 h 1970826"/>
              <a:gd name="connsiteX20" fmla="*/ 904928 w 1971297"/>
              <a:gd name="connsiteY20" fmla="*/ 0 h 1970826"/>
              <a:gd name="connsiteX21" fmla="*/ 1066369 w 1971297"/>
              <a:gd name="connsiteY21" fmla="*/ 0 h 1970826"/>
              <a:gd name="connsiteX22" fmla="*/ 1101456 w 1971297"/>
              <a:gd name="connsiteY22" fmla="*/ 199018 h 1970826"/>
              <a:gd name="connsiteX23" fmla="*/ 1149113 w 1971297"/>
              <a:gd name="connsiteY23" fmla="*/ 208521 h 1970826"/>
              <a:gd name="connsiteX24" fmla="*/ 1245734 w 1971297"/>
              <a:gd name="connsiteY24" fmla="*/ 36367 h 1970826"/>
              <a:gd name="connsiteX25" fmla="*/ 1396309 w 1971297"/>
              <a:gd name="connsiteY25" fmla="*/ 90716 h 1970826"/>
              <a:gd name="connsiteX26" fmla="*/ 1364293 w 1971297"/>
              <a:gd name="connsiteY26" fmla="*/ 287523 h 1970826"/>
              <a:gd name="connsiteX27" fmla="*/ 1403197 w 1971297"/>
              <a:gd name="connsiteY27" fmla="*/ 308843 h 1970826"/>
              <a:gd name="connsiteX28" fmla="*/ 1558001 w 1971297"/>
              <a:gd name="connsiteY28" fmla="*/ 178940 h 1970826"/>
              <a:gd name="connsiteX29" fmla="*/ 1681671 w 1971297"/>
              <a:gd name="connsiteY29" fmla="*/ 282712 h 1970826"/>
              <a:gd name="connsiteX30" fmla="*/ 1580623 w 1971297"/>
              <a:gd name="connsiteY30" fmla="*/ 457722 h 1970826"/>
              <a:gd name="connsiteX31" fmla="*/ 1610608 w 1971297"/>
              <a:gd name="connsiteY31" fmla="*/ 499270 h 1970826"/>
              <a:gd name="connsiteX32" fmla="*/ 1802874 w 1971297"/>
              <a:gd name="connsiteY32" fmla="*/ 433067 h 1970826"/>
              <a:gd name="connsiteX33" fmla="*/ 1881963 w 1971297"/>
              <a:gd name="connsiteY33" fmla="*/ 572248 h 1970826"/>
              <a:gd name="connsiteX34" fmla="*/ 1726590 w 1971297"/>
              <a:gd name="connsiteY34" fmla="*/ 698353 h 1970826"/>
              <a:gd name="connsiteX35" fmla="*/ 1741176 w 1971297"/>
              <a:gd name="connsiteY35" fmla="*/ 735808 h 1970826"/>
              <a:gd name="connsiteX36" fmla="*/ 1943264 w 1971297"/>
              <a:gd name="connsiteY36" fmla="*/ 735802 h 1970826"/>
              <a:gd name="connsiteX37" fmla="*/ 1971297 w 1971297"/>
              <a:gd name="connsiteY37" fmla="*/ 894790 h 1970826"/>
              <a:gd name="connsiteX38" fmla="*/ 1781396 w 1971297"/>
              <a:gd name="connsiteY38" fmla="*/ 963903 h 1970826"/>
              <a:gd name="connsiteX39" fmla="*/ 1780264 w 1971297"/>
              <a:gd name="connsiteY39" fmla="*/ 1014677 h 1970826"/>
              <a:gd name="connsiteX40" fmla="*/ 1969010 w 1971297"/>
              <a:gd name="connsiteY40" fmla="*/ 1087130 h 1970826"/>
              <a:gd name="connsiteX41" fmla="*/ 1940132 w 1971297"/>
              <a:gd name="connsiteY41" fmla="*/ 1244586 h 1970826"/>
              <a:gd name="connsiteX42" fmla="*/ 1738798 w 1971297"/>
              <a:gd name="connsiteY42" fmla="*/ 1241295 h 1970826"/>
              <a:gd name="connsiteX43" fmla="*/ 1725636 w 1971297"/>
              <a:gd name="connsiteY43" fmla="*/ 1280130 h 1970826"/>
              <a:gd name="connsiteX44" fmla="*/ 1880447 w 1971297"/>
              <a:gd name="connsiteY44" fmla="*/ 1410026 h 1970826"/>
              <a:gd name="connsiteX45" fmla="*/ 1799727 w 1971297"/>
              <a:gd name="connsiteY45" fmla="*/ 1549837 h 1970826"/>
              <a:gd name="connsiteX46" fmla="*/ 1609829 w 1971297"/>
              <a:gd name="connsiteY46" fmla="*/ 1480714 h 1970826"/>
              <a:gd name="connsiteX47" fmla="*/ 1579151 w 1971297"/>
              <a:gd name="connsiteY47" fmla="*/ 1512281 h 1970826"/>
              <a:gd name="connsiteX48" fmla="*/ 1677610 w 1971297"/>
              <a:gd name="connsiteY48" fmla="*/ 1689905 h 1970826"/>
              <a:gd name="connsiteX49" fmla="*/ 1554277 w 1971297"/>
              <a:gd name="connsiteY49" fmla="*/ 1791961 h 1970826"/>
              <a:gd name="connsiteX50" fmla="*/ 1402854 w 1971297"/>
              <a:gd name="connsiteY50" fmla="*/ 1660626 h 1970826"/>
              <a:gd name="connsiteX51" fmla="*/ 1363848 w 1971297"/>
              <a:gd name="connsiteY51" fmla="*/ 1687117 h 1970826"/>
              <a:gd name="connsiteX52" fmla="*/ 1398945 w 1971297"/>
              <a:gd name="connsiteY52" fmla="*/ 1886133 h 1970826"/>
              <a:gd name="connsiteX53" fmla="*/ 1247240 w 1971297"/>
              <a:gd name="connsiteY53" fmla="*/ 1941349 h 1970826"/>
              <a:gd name="connsiteX54" fmla="*/ 1146202 w 1971297"/>
              <a:gd name="connsiteY54" fmla="*/ 1766334 h 1970826"/>
              <a:gd name="connsiteX55" fmla="*/ 1100680 w 1971297"/>
              <a:gd name="connsiteY55" fmla="*/ 1773318 h 1970826"/>
              <a:gd name="connsiteX56" fmla="*/ 1062288 w 1971297"/>
              <a:gd name="connsiteY56" fmla="*/ 1970826 h 1970826"/>
              <a:gd name="connsiteX57" fmla="*/ 902210 w 1971297"/>
              <a:gd name="connsiteY57" fmla="*/ 1969728 h 1970826"/>
              <a:gd name="connsiteX58" fmla="*/ 870884 w 1971297"/>
              <a:gd name="connsiteY58" fmla="*/ 1773359 h 1970826"/>
              <a:gd name="connsiteX59" fmla="*/ 825096 w 1971297"/>
              <a:gd name="connsiteY59" fmla="*/ 1766334 h 1970826"/>
              <a:gd name="connsiteX60" fmla="*/ 724057 w 1971297"/>
              <a:gd name="connsiteY60" fmla="*/ 1941349 h 1970826"/>
              <a:gd name="connsiteX61" fmla="*/ 572352 w 1971297"/>
              <a:gd name="connsiteY61" fmla="*/ 1886133 h 1970826"/>
              <a:gd name="connsiteX62" fmla="*/ 607450 w 1971297"/>
              <a:gd name="connsiteY62" fmla="*/ 1687117 h 1970826"/>
              <a:gd name="connsiteX63" fmla="*/ 571181 w 1971297"/>
              <a:gd name="connsiteY63" fmla="*/ 1662485 h 1970826"/>
              <a:gd name="connsiteX64" fmla="*/ 421150 w 1971297"/>
              <a:gd name="connsiteY64" fmla="*/ 1792613 h 1970826"/>
              <a:gd name="connsiteX65" fmla="*/ 297817 w 1971297"/>
              <a:gd name="connsiteY65" fmla="*/ 1690557 h 1970826"/>
              <a:gd name="connsiteX66" fmla="*/ 395006 w 1971297"/>
              <a:gd name="connsiteY66" fmla="*/ 1515223 h 1970826"/>
              <a:gd name="connsiteX67" fmla="*/ 361468 w 1971297"/>
              <a:gd name="connsiteY67" fmla="*/ 1480715 h 1970826"/>
              <a:gd name="connsiteX68" fmla="*/ 171570 w 1971297"/>
              <a:gd name="connsiteY68" fmla="*/ 1549837 h 1970826"/>
              <a:gd name="connsiteX69" fmla="*/ 90850 w 1971297"/>
              <a:gd name="connsiteY69" fmla="*/ 1410026 h 1970826"/>
              <a:gd name="connsiteX70" fmla="*/ 245661 w 1971297"/>
              <a:gd name="connsiteY70" fmla="*/ 1280131 h 1970826"/>
              <a:gd name="connsiteX71" fmla="*/ 233972 w 1971297"/>
              <a:gd name="connsiteY71" fmla="*/ 1245643 h 1970826"/>
              <a:gd name="connsiteX72" fmla="*/ 31451 w 1971297"/>
              <a:gd name="connsiteY72" fmla="*/ 1248953 h 1970826"/>
              <a:gd name="connsiteX73" fmla="*/ 2573 w 1971297"/>
              <a:gd name="connsiteY73" fmla="*/ 1091497 h 1970826"/>
              <a:gd name="connsiteX74" fmla="*/ 191133 w 1971297"/>
              <a:gd name="connsiteY74" fmla="*/ 1019115 h 1970826"/>
              <a:gd name="connsiteX75" fmla="*/ 189902 w 1971297"/>
              <a:gd name="connsiteY75" fmla="*/ 963904 h 1970826"/>
              <a:gd name="connsiteX76" fmla="*/ 0 w 1971297"/>
              <a:gd name="connsiteY76" fmla="*/ 894790 h 1970826"/>
              <a:gd name="connsiteX77" fmla="*/ 28034 w 1971297"/>
              <a:gd name="connsiteY77" fmla="*/ 735802 h 1970826"/>
              <a:gd name="connsiteX78" fmla="*/ 230121 w 1971297"/>
              <a:gd name="connsiteY78" fmla="*/ 735808 h 1970826"/>
              <a:gd name="connsiteX79" fmla="*/ 240919 w 1971297"/>
              <a:gd name="connsiteY79" fmla="*/ 708079 h 1970826"/>
              <a:gd name="connsiteX80" fmla="*/ 84936 w 1971297"/>
              <a:gd name="connsiteY80" fmla="*/ 585933 h 1970826"/>
              <a:gd name="connsiteX81" fmla="*/ 161584 w 1971297"/>
              <a:gd name="connsiteY81" fmla="*/ 445393 h 1970826"/>
              <a:gd name="connsiteX82" fmla="*/ 354366 w 1971297"/>
              <a:gd name="connsiteY82" fmla="*/ 508031 h 1970826"/>
              <a:gd name="connsiteX83" fmla="*/ 390674 w 1971297"/>
              <a:gd name="connsiteY83" fmla="*/ 457722 h 1970826"/>
              <a:gd name="connsiteX84" fmla="*/ 289626 w 1971297"/>
              <a:gd name="connsiteY84" fmla="*/ 282712 h 1970826"/>
              <a:gd name="connsiteX85" fmla="*/ 413297 w 1971297"/>
              <a:gd name="connsiteY85" fmla="*/ 178940 h 1970826"/>
              <a:gd name="connsiteX86" fmla="*/ 568101 w 1971297"/>
              <a:gd name="connsiteY86" fmla="*/ 308843 h 1970826"/>
              <a:gd name="connsiteX87" fmla="*/ 611018 w 1971297"/>
              <a:gd name="connsiteY87" fmla="*/ 285324 h 1970826"/>
              <a:gd name="connsiteX88" fmla="*/ 576674 w 1971297"/>
              <a:gd name="connsiteY88" fmla="*/ 89277 h 1970826"/>
              <a:gd name="connsiteX89" fmla="*/ 727674 w 1971297"/>
              <a:gd name="connsiteY89" fmla="*/ 36123 h 1970826"/>
              <a:gd name="connsiteX90" fmla="*/ 826689 w 1971297"/>
              <a:gd name="connsiteY90" fmla="*/ 207623 h 1970826"/>
              <a:gd name="connsiteX91" fmla="*/ 869841 w 1971297"/>
              <a:gd name="connsiteY91" fmla="*/ 199018 h 1970826"/>
              <a:gd name="connsiteX92" fmla="*/ 904928 w 1971297"/>
              <a:gd name="connsiteY92" fmla="*/ 0 h 1970826"/>
              <a:gd name="connsiteX0" fmla="*/ 1773168 w 1971297"/>
              <a:gd name="connsiteY0" fmla="*/ 1096396 h 1970826"/>
              <a:gd name="connsiteX1" fmla="*/ 1771186 w 1971297"/>
              <a:gd name="connsiteY1" fmla="*/ 1112322 h 1970826"/>
              <a:gd name="connsiteX2" fmla="*/ 1772526 w 1971297"/>
              <a:gd name="connsiteY2" fmla="*/ 1106190 h 1970826"/>
              <a:gd name="connsiteX3" fmla="*/ 1773168 w 1971297"/>
              <a:gd name="connsiteY3" fmla="*/ 1096396 h 1970826"/>
              <a:gd name="connsiteX4" fmla="*/ 198126 w 1971297"/>
              <a:gd name="connsiteY4" fmla="*/ 1096370 h 1970826"/>
              <a:gd name="connsiteX5" fmla="*/ 199057 w 1971297"/>
              <a:gd name="connsiteY5" fmla="*/ 1110557 h 1970826"/>
              <a:gd name="connsiteX6" fmla="*/ 200997 w 1971297"/>
              <a:gd name="connsiteY6" fmla="*/ 1119440 h 1970826"/>
              <a:gd name="connsiteX7" fmla="*/ 198126 w 1971297"/>
              <a:gd name="connsiteY7" fmla="*/ 1096370 h 1970826"/>
              <a:gd name="connsiteX8" fmla="*/ 1658502 w 1971297"/>
              <a:gd name="connsiteY8" fmla="*/ 565633 h 1970826"/>
              <a:gd name="connsiteX9" fmla="*/ 1664864 w 1971297"/>
              <a:gd name="connsiteY9" fmla="*/ 574448 h 1970826"/>
              <a:gd name="connsiteX10" fmla="*/ 1664611 w 1971297"/>
              <a:gd name="connsiteY10" fmla="*/ 573966 h 1970826"/>
              <a:gd name="connsiteX11" fmla="*/ 1658502 w 1971297"/>
              <a:gd name="connsiteY11" fmla="*/ 565633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89" fmla="*/ 904928 w 1971297"/>
              <a:gd name="connsiteY89" fmla="*/ 0 h 1970826"/>
              <a:gd name="connsiteX0" fmla="*/ 1772526 w 1971297"/>
              <a:gd name="connsiteY0" fmla="*/ 1106190 h 1970826"/>
              <a:gd name="connsiteX1" fmla="*/ 1771186 w 1971297"/>
              <a:gd name="connsiteY1" fmla="*/ 1112322 h 1970826"/>
              <a:gd name="connsiteX2" fmla="*/ 1772526 w 1971297"/>
              <a:gd name="connsiteY2" fmla="*/ 1106190 h 1970826"/>
              <a:gd name="connsiteX3" fmla="*/ 198126 w 1971297"/>
              <a:gd name="connsiteY3" fmla="*/ 1096370 h 1970826"/>
              <a:gd name="connsiteX4" fmla="*/ 199057 w 1971297"/>
              <a:gd name="connsiteY4" fmla="*/ 1110557 h 1970826"/>
              <a:gd name="connsiteX5" fmla="*/ 200997 w 1971297"/>
              <a:gd name="connsiteY5" fmla="*/ 1119440 h 1970826"/>
              <a:gd name="connsiteX6" fmla="*/ 198126 w 1971297"/>
              <a:gd name="connsiteY6" fmla="*/ 1096370 h 1970826"/>
              <a:gd name="connsiteX7" fmla="*/ 1658502 w 1971297"/>
              <a:gd name="connsiteY7" fmla="*/ 565633 h 1970826"/>
              <a:gd name="connsiteX8" fmla="*/ 1664864 w 1971297"/>
              <a:gd name="connsiteY8" fmla="*/ 574448 h 1970826"/>
              <a:gd name="connsiteX9" fmla="*/ 1664611 w 1971297"/>
              <a:gd name="connsiteY9" fmla="*/ 573966 h 1970826"/>
              <a:gd name="connsiteX10" fmla="*/ 1658502 w 1971297"/>
              <a:gd name="connsiteY10" fmla="*/ 565633 h 1970826"/>
              <a:gd name="connsiteX11" fmla="*/ 985649 w 1971297"/>
              <a:gd name="connsiteY11" fmla="*/ 323553 h 1970826"/>
              <a:gd name="connsiteX12" fmla="*/ 322581 w 1971297"/>
              <a:gd name="connsiteY12" fmla="*/ 986621 h 1970826"/>
              <a:gd name="connsiteX13" fmla="*/ 985649 w 1971297"/>
              <a:gd name="connsiteY13" fmla="*/ 1649689 h 1970826"/>
              <a:gd name="connsiteX14" fmla="*/ 1648717 w 1971297"/>
              <a:gd name="connsiteY14" fmla="*/ 986621 h 1970826"/>
              <a:gd name="connsiteX15" fmla="*/ 985649 w 1971297"/>
              <a:gd name="connsiteY15" fmla="*/ 323553 h 1970826"/>
              <a:gd name="connsiteX16" fmla="*/ 904928 w 1971297"/>
              <a:gd name="connsiteY16" fmla="*/ 0 h 1970826"/>
              <a:gd name="connsiteX17" fmla="*/ 1066369 w 1971297"/>
              <a:gd name="connsiteY17" fmla="*/ 0 h 1970826"/>
              <a:gd name="connsiteX18" fmla="*/ 1101456 w 1971297"/>
              <a:gd name="connsiteY18" fmla="*/ 199018 h 1970826"/>
              <a:gd name="connsiteX19" fmla="*/ 1149113 w 1971297"/>
              <a:gd name="connsiteY19" fmla="*/ 208521 h 1970826"/>
              <a:gd name="connsiteX20" fmla="*/ 1245734 w 1971297"/>
              <a:gd name="connsiteY20" fmla="*/ 36367 h 1970826"/>
              <a:gd name="connsiteX21" fmla="*/ 1396309 w 1971297"/>
              <a:gd name="connsiteY21" fmla="*/ 90716 h 1970826"/>
              <a:gd name="connsiteX22" fmla="*/ 1364293 w 1971297"/>
              <a:gd name="connsiteY22" fmla="*/ 287523 h 1970826"/>
              <a:gd name="connsiteX23" fmla="*/ 1403197 w 1971297"/>
              <a:gd name="connsiteY23" fmla="*/ 308843 h 1970826"/>
              <a:gd name="connsiteX24" fmla="*/ 1558001 w 1971297"/>
              <a:gd name="connsiteY24" fmla="*/ 178940 h 1970826"/>
              <a:gd name="connsiteX25" fmla="*/ 1681671 w 1971297"/>
              <a:gd name="connsiteY25" fmla="*/ 282712 h 1970826"/>
              <a:gd name="connsiteX26" fmla="*/ 1580623 w 1971297"/>
              <a:gd name="connsiteY26" fmla="*/ 457722 h 1970826"/>
              <a:gd name="connsiteX27" fmla="*/ 1610608 w 1971297"/>
              <a:gd name="connsiteY27" fmla="*/ 499270 h 1970826"/>
              <a:gd name="connsiteX28" fmla="*/ 1802874 w 1971297"/>
              <a:gd name="connsiteY28" fmla="*/ 433067 h 1970826"/>
              <a:gd name="connsiteX29" fmla="*/ 1881963 w 1971297"/>
              <a:gd name="connsiteY29" fmla="*/ 572248 h 1970826"/>
              <a:gd name="connsiteX30" fmla="*/ 1726590 w 1971297"/>
              <a:gd name="connsiteY30" fmla="*/ 698353 h 1970826"/>
              <a:gd name="connsiteX31" fmla="*/ 1741176 w 1971297"/>
              <a:gd name="connsiteY31" fmla="*/ 735808 h 1970826"/>
              <a:gd name="connsiteX32" fmla="*/ 1943264 w 1971297"/>
              <a:gd name="connsiteY32" fmla="*/ 735802 h 1970826"/>
              <a:gd name="connsiteX33" fmla="*/ 1971297 w 1971297"/>
              <a:gd name="connsiteY33" fmla="*/ 894790 h 1970826"/>
              <a:gd name="connsiteX34" fmla="*/ 1781396 w 1971297"/>
              <a:gd name="connsiteY34" fmla="*/ 963903 h 1970826"/>
              <a:gd name="connsiteX35" fmla="*/ 1780264 w 1971297"/>
              <a:gd name="connsiteY35" fmla="*/ 1014677 h 1970826"/>
              <a:gd name="connsiteX36" fmla="*/ 1969010 w 1971297"/>
              <a:gd name="connsiteY36" fmla="*/ 1087130 h 1970826"/>
              <a:gd name="connsiteX37" fmla="*/ 1940132 w 1971297"/>
              <a:gd name="connsiteY37" fmla="*/ 1244586 h 1970826"/>
              <a:gd name="connsiteX38" fmla="*/ 1738798 w 1971297"/>
              <a:gd name="connsiteY38" fmla="*/ 1241295 h 1970826"/>
              <a:gd name="connsiteX39" fmla="*/ 1725636 w 1971297"/>
              <a:gd name="connsiteY39" fmla="*/ 1280130 h 1970826"/>
              <a:gd name="connsiteX40" fmla="*/ 1880447 w 1971297"/>
              <a:gd name="connsiteY40" fmla="*/ 1410026 h 1970826"/>
              <a:gd name="connsiteX41" fmla="*/ 1799727 w 1971297"/>
              <a:gd name="connsiteY41" fmla="*/ 1549837 h 1970826"/>
              <a:gd name="connsiteX42" fmla="*/ 1609829 w 1971297"/>
              <a:gd name="connsiteY42" fmla="*/ 1480714 h 1970826"/>
              <a:gd name="connsiteX43" fmla="*/ 1579151 w 1971297"/>
              <a:gd name="connsiteY43" fmla="*/ 1512281 h 1970826"/>
              <a:gd name="connsiteX44" fmla="*/ 1677610 w 1971297"/>
              <a:gd name="connsiteY44" fmla="*/ 1689905 h 1970826"/>
              <a:gd name="connsiteX45" fmla="*/ 1554277 w 1971297"/>
              <a:gd name="connsiteY45" fmla="*/ 1791961 h 1970826"/>
              <a:gd name="connsiteX46" fmla="*/ 1402854 w 1971297"/>
              <a:gd name="connsiteY46" fmla="*/ 1660626 h 1970826"/>
              <a:gd name="connsiteX47" fmla="*/ 1363848 w 1971297"/>
              <a:gd name="connsiteY47" fmla="*/ 1687117 h 1970826"/>
              <a:gd name="connsiteX48" fmla="*/ 1398945 w 1971297"/>
              <a:gd name="connsiteY48" fmla="*/ 1886133 h 1970826"/>
              <a:gd name="connsiteX49" fmla="*/ 1247240 w 1971297"/>
              <a:gd name="connsiteY49" fmla="*/ 1941349 h 1970826"/>
              <a:gd name="connsiteX50" fmla="*/ 1146202 w 1971297"/>
              <a:gd name="connsiteY50" fmla="*/ 1766334 h 1970826"/>
              <a:gd name="connsiteX51" fmla="*/ 1100680 w 1971297"/>
              <a:gd name="connsiteY51" fmla="*/ 1773318 h 1970826"/>
              <a:gd name="connsiteX52" fmla="*/ 1062288 w 1971297"/>
              <a:gd name="connsiteY52" fmla="*/ 1970826 h 1970826"/>
              <a:gd name="connsiteX53" fmla="*/ 902210 w 1971297"/>
              <a:gd name="connsiteY53" fmla="*/ 1969728 h 1970826"/>
              <a:gd name="connsiteX54" fmla="*/ 870884 w 1971297"/>
              <a:gd name="connsiteY54" fmla="*/ 1773359 h 1970826"/>
              <a:gd name="connsiteX55" fmla="*/ 825096 w 1971297"/>
              <a:gd name="connsiteY55" fmla="*/ 1766334 h 1970826"/>
              <a:gd name="connsiteX56" fmla="*/ 724057 w 1971297"/>
              <a:gd name="connsiteY56" fmla="*/ 1941349 h 1970826"/>
              <a:gd name="connsiteX57" fmla="*/ 572352 w 1971297"/>
              <a:gd name="connsiteY57" fmla="*/ 1886133 h 1970826"/>
              <a:gd name="connsiteX58" fmla="*/ 607450 w 1971297"/>
              <a:gd name="connsiteY58" fmla="*/ 1687117 h 1970826"/>
              <a:gd name="connsiteX59" fmla="*/ 571181 w 1971297"/>
              <a:gd name="connsiteY59" fmla="*/ 1662485 h 1970826"/>
              <a:gd name="connsiteX60" fmla="*/ 421150 w 1971297"/>
              <a:gd name="connsiteY60" fmla="*/ 1792613 h 1970826"/>
              <a:gd name="connsiteX61" fmla="*/ 297817 w 1971297"/>
              <a:gd name="connsiteY61" fmla="*/ 1690557 h 1970826"/>
              <a:gd name="connsiteX62" fmla="*/ 395006 w 1971297"/>
              <a:gd name="connsiteY62" fmla="*/ 1515223 h 1970826"/>
              <a:gd name="connsiteX63" fmla="*/ 361468 w 1971297"/>
              <a:gd name="connsiteY63" fmla="*/ 1480715 h 1970826"/>
              <a:gd name="connsiteX64" fmla="*/ 171570 w 1971297"/>
              <a:gd name="connsiteY64" fmla="*/ 1549837 h 1970826"/>
              <a:gd name="connsiteX65" fmla="*/ 90850 w 1971297"/>
              <a:gd name="connsiteY65" fmla="*/ 1410026 h 1970826"/>
              <a:gd name="connsiteX66" fmla="*/ 245661 w 1971297"/>
              <a:gd name="connsiteY66" fmla="*/ 1280131 h 1970826"/>
              <a:gd name="connsiteX67" fmla="*/ 233972 w 1971297"/>
              <a:gd name="connsiteY67" fmla="*/ 1245643 h 1970826"/>
              <a:gd name="connsiteX68" fmla="*/ 31451 w 1971297"/>
              <a:gd name="connsiteY68" fmla="*/ 1248953 h 1970826"/>
              <a:gd name="connsiteX69" fmla="*/ 2573 w 1971297"/>
              <a:gd name="connsiteY69" fmla="*/ 1091497 h 1970826"/>
              <a:gd name="connsiteX70" fmla="*/ 191133 w 1971297"/>
              <a:gd name="connsiteY70" fmla="*/ 1019115 h 1970826"/>
              <a:gd name="connsiteX71" fmla="*/ 189902 w 1971297"/>
              <a:gd name="connsiteY71" fmla="*/ 963904 h 1970826"/>
              <a:gd name="connsiteX72" fmla="*/ 0 w 1971297"/>
              <a:gd name="connsiteY72" fmla="*/ 894790 h 1970826"/>
              <a:gd name="connsiteX73" fmla="*/ 28034 w 1971297"/>
              <a:gd name="connsiteY73" fmla="*/ 735802 h 1970826"/>
              <a:gd name="connsiteX74" fmla="*/ 230121 w 1971297"/>
              <a:gd name="connsiteY74" fmla="*/ 735808 h 1970826"/>
              <a:gd name="connsiteX75" fmla="*/ 240919 w 1971297"/>
              <a:gd name="connsiteY75" fmla="*/ 708079 h 1970826"/>
              <a:gd name="connsiteX76" fmla="*/ 84936 w 1971297"/>
              <a:gd name="connsiteY76" fmla="*/ 585933 h 1970826"/>
              <a:gd name="connsiteX77" fmla="*/ 161584 w 1971297"/>
              <a:gd name="connsiteY77" fmla="*/ 445393 h 1970826"/>
              <a:gd name="connsiteX78" fmla="*/ 354366 w 1971297"/>
              <a:gd name="connsiteY78" fmla="*/ 508031 h 1970826"/>
              <a:gd name="connsiteX79" fmla="*/ 390674 w 1971297"/>
              <a:gd name="connsiteY79" fmla="*/ 457722 h 1970826"/>
              <a:gd name="connsiteX80" fmla="*/ 289626 w 1971297"/>
              <a:gd name="connsiteY80" fmla="*/ 282712 h 1970826"/>
              <a:gd name="connsiteX81" fmla="*/ 413297 w 1971297"/>
              <a:gd name="connsiteY81" fmla="*/ 178940 h 1970826"/>
              <a:gd name="connsiteX82" fmla="*/ 568101 w 1971297"/>
              <a:gd name="connsiteY82" fmla="*/ 308843 h 1970826"/>
              <a:gd name="connsiteX83" fmla="*/ 611018 w 1971297"/>
              <a:gd name="connsiteY83" fmla="*/ 285324 h 1970826"/>
              <a:gd name="connsiteX84" fmla="*/ 576674 w 1971297"/>
              <a:gd name="connsiteY84" fmla="*/ 89277 h 1970826"/>
              <a:gd name="connsiteX85" fmla="*/ 727674 w 1971297"/>
              <a:gd name="connsiteY85" fmla="*/ 36123 h 1970826"/>
              <a:gd name="connsiteX86" fmla="*/ 826689 w 1971297"/>
              <a:gd name="connsiteY86" fmla="*/ 207623 h 1970826"/>
              <a:gd name="connsiteX87" fmla="*/ 869841 w 1971297"/>
              <a:gd name="connsiteY87" fmla="*/ 199018 h 1970826"/>
              <a:gd name="connsiteX88" fmla="*/ 904928 w 1971297"/>
              <a:gd name="connsiteY88" fmla="*/ 0 h 1970826"/>
              <a:gd name="connsiteX0" fmla="*/ 198126 w 1971297"/>
              <a:gd name="connsiteY0" fmla="*/ 1096370 h 1970826"/>
              <a:gd name="connsiteX1" fmla="*/ 199057 w 1971297"/>
              <a:gd name="connsiteY1" fmla="*/ 1110557 h 1970826"/>
              <a:gd name="connsiteX2" fmla="*/ 200997 w 1971297"/>
              <a:gd name="connsiteY2" fmla="*/ 1119440 h 1970826"/>
              <a:gd name="connsiteX3" fmla="*/ 198126 w 1971297"/>
              <a:gd name="connsiteY3" fmla="*/ 1096370 h 1970826"/>
              <a:gd name="connsiteX4" fmla="*/ 1658502 w 1971297"/>
              <a:gd name="connsiteY4" fmla="*/ 565633 h 1970826"/>
              <a:gd name="connsiteX5" fmla="*/ 1664864 w 1971297"/>
              <a:gd name="connsiteY5" fmla="*/ 574448 h 1970826"/>
              <a:gd name="connsiteX6" fmla="*/ 1664611 w 1971297"/>
              <a:gd name="connsiteY6" fmla="*/ 573966 h 1970826"/>
              <a:gd name="connsiteX7" fmla="*/ 1658502 w 1971297"/>
              <a:gd name="connsiteY7" fmla="*/ 565633 h 1970826"/>
              <a:gd name="connsiteX8" fmla="*/ 985649 w 1971297"/>
              <a:gd name="connsiteY8" fmla="*/ 323553 h 1970826"/>
              <a:gd name="connsiteX9" fmla="*/ 322581 w 1971297"/>
              <a:gd name="connsiteY9" fmla="*/ 986621 h 1970826"/>
              <a:gd name="connsiteX10" fmla="*/ 985649 w 1971297"/>
              <a:gd name="connsiteY10" fmla="*/ 1649689 h 1970826"/>
              <a:gd name="connsiteX11" fmla="*/ 1648717 w 1971297"/>
              <a:gd name="connsiteY11" fmla="*/ 986621 h 1970826"/>
              <a:gd name="connsiteX12" fmla="*/ 985649 w 1971297"/>
              <a:gd name="connsiteY12" fmla="*/ 323553 h 1970826"/>
              <a:gd name="connsiteX13" fmla="*/ 904928 w 1971297"/>
              <a:gd name="connsiteY13" fmla="*/ 0 h 1970826"/>
              <a:gd name="connsiteX14" fmla="*/ 1066369 w 1971297"/>
              <a:gd name="connsiteY14" fmla="*/ 0 h 1970826"/>
              <a:gd name="connsiteX15" fmla="*/ 1101456 w 1971297"/>
              <a:gd name="connsiteY15" fmla="*/ 199018 h 1970826"/>
              <a:gd name="connsiteX16" fmla="*/ 1149113 w 1971297"/>
              <a:gd name="connsiteY16" fmla="*/ 208521 h 1970826"/>
              <a:gd name="connsiteX17" fmla="*/ 1245734 w 1971297"/>
              <a:gd name="connsiteY17" fmla="*/ 36367 h 1970826"/>
              <a:gd name="connsiteX18" fmla="*/ 1396309 w 1971297"/>
              <a:gd name="connsiteY18" fmla="*/ 90716 h 1970826"/>
              <a:gd name="connsiteX19" fmla="*/ 1364293 w 1971297"/>
              <a:gd name="connsiteY19" fmla="*/ 287523 h 1970826"/>
              <a:gd name="connsiteX20" fmla="*/ 1403197 w 1971297"/>
              <a:gd name="connsiteY20" fmla="*/ 308843 h 1970826"/>
              <a:gd name="connsiteX21" fmla="*/ 1558001 w 1971297"/>
              <a:gd name="connsiteY21" fmla="*/ 178940 h 1970826"/>
              <a:gd name="connsiteX22" fmla="*/ 1681671 w 1971297"/>
              <a:gd name="connsiteY22" fmla="*/ 282712 h 1970826"/>
              <a:gd name="connsiteX23" fmla="*/ 1580623 w 1971297"/>
              <a:gd name="connsiteY23" fmla="*/ 457722 h 1970826"/>
              <a:gd name="connsiteX24" fmla="*/ 1610608 w 1971297"/>
              <a:gd name="connsiteY24" fmla="*/ 499270 h 1970826"/>
              <a:gd name="connsiteX25" fmla="*/ 1802874 w 1971297"/>
              <a:gd name="connsiteY25" fmla="*/ 433067 h 1970826"/>
              <a:gd name="connsiteX26" fmla="*/ 1881963 w 1971297"/>
              <a:gd name="connsiteY26" fmla="*/ 572248 h 1970826"/>
              <a:gd name="connsiteX27" fmla="*/ 1726590 w 1971297"/>
              <a:gd name="connsiteY27" fmla="*/ 698353 h 1970826"/>
              <a:gd name="connsiteX28" fmla="*/ 1741176 w 1971297"/>
              <a:gd name="connsiteY28" fmla="*/ 735808 h 1970826"/>
              <a:gd name="connsiteX29" fmla="*/ 1943264 w 1971297"/>
              <a:gd name="connsiteY29" fmla="*/ 735802 h 1970826"/>
              <a:gd name="connsiteX30" fmla="*/ 1971297 w 1971297"/>
              <a:gd name="connsiteY30" fmla="*/ 894790 h 1970826"/>
              <a:gd name="connsiteX31" fmla="*/ 1781396 w 1971297"/>
              <a:gd name="connsiteY31" fmla="*/ 963903 h 1970826"/>
              <a:gd name="connsiteX32" fmla="*/ 1780264 w 1971297"/>
              <a:gd name="connsiteY32" fmla="*/ 1014677 h 1970826"/>
              <a:gd name="connsiteX33" fmla="*/ 1969010 w 1971297"/>
              <a:gd name="connsiteY33" fmla="*/ 1087130 h 1970826"/>
              <a:gd name="connsiteX34" fmla="*/ 1940132 w 1971297"/>
              <a:gd name="connsiteY34" fmla="*/ 1244586 h 1970826"/>
              <a:gd name="connsiteX35" fmla="*/ 1738798 w 1971297"/>
              <a:gd name="connsiteY35" fmla="*/ 1241295 h 1970826"/>
              <a:gd name="connsiteX36" fmla="*/ 1725636 w 1971297"/>
              <a:gd name="connsiteY36" fmla="*/ 1280130 h 1970826"/>
              <a:gd name="connsiteX37" fmla="*/ 1880447 w 1971297"/>
              <a:gd name="connsiteY37" fmla="*/ 1410026 h 1970826"/>
              <a:gd name="connsiteX38" fmla="*/ 1799727 w 1971297"/>
              <a:gd name="connsiteY38" fmla="*/ 1549837 h 1970826"/>
              <a:gd name="connsiteX39" fmla="*/ 1609829 w 1971297"/>
              <a:gd name="connsiteY39" fmla="*/ 1480714 h 1970826"/>
              <a:gd name="connsiteX40" fmla="*/ 1579151 w 1971297"/>
              <a:gd name="connsiteY40" fmla="*/ 1512281 h 1970826"/>
              <a:gd name="connsiteX41" fmla="*/ 1677610 w 1971297"/>
              <a:gd name="connsiteY41" fmla="*/ 1689905 h 1970826"/>
              <a:gd name="connsiteX42" fmla="*/ 1554277 w 1971297"/>
              <a:gd name="connsiteY42" fmla="*/ 1791961 h 1970826"/>
              <a:gd name="connsiteX43" fmla="*/ 1402854 w 1971297"/>
              <a:gd name="connsiteY43" fmla="*/ 1660626 h 1970826"/>
              <a:gd name="connsiteX44" fmla="*/ 1363848 w 1971297"/>
              <a:gd name="connsiteY44" fmla="*/ 1687117 h 1970826"/>
              <a:gd name="connsiteX45" fmla="*/ 1398945 w 1971297"/>
              <a:gd name="connsiteY45" fmla="*/ 1886133 h 1970826"/>
              <a:gd name="connsiteX46" fmla="*/ 1247240 w 1971297"/>
              <a:gd name="connsiteY46" fmla="*/ 1941349 h 1970826"/>
              <a:gd name="connsiteX47" fmla="*/ 1146202 w 1971297"/>
              <a:gd name="connsiteY47" fmla="*/ 1766334 h 1970826"/>
              <a:gd name="connsiteX48" fmla="*/ 1100680 w 1971297"/>
              <a:gd name="connsiteY48" fmla="*/ 1773318 h 1970826"/>
              <a:gd name="connsiteX49" fmla="*/ 1062288 w 1971297"/>
              <a:gd name="connsiteY49" fmla="*/ 1970826 h 1970826"/>
              <a:gd name="connsiteX50" fmla="*/ 902210 w 1971297"/>
              <a:gd name="connsiteY50" fmla="*/ 1969728 h 1970826"/>
              <a:gd name="connsiteX51" fmla="*/ 870884 w 1971297"/>
              <a:gd name="connsiteY51" fmla="*/ 1773359 h 1970826"/>
              <a:gd name="connsiteX52" fmla="*/ 825096 w 1971297"/>
              <a:gd name="connsiteY52" fmla="*/ 1766334 h 1970826"/>
              <a:gd name="connsiteX53" fmla="*/ 724057 w 1971297"/>
              <a:gd name="connsiteY53" fmla="*/ 1941349 h 1970826"/>
              <a:gd name="connsiteX54" fmla="*/ 572352 w 1971297"/>
              <a:gd name="connsiteY54" fmla="*/ 1886133 h 1970826"/>
              <a:gd name="connsiteX55" fmla="*/ 607450 w 1971297"/>
              <a:gd name="connsiteY55" fmla="*/ 1687117 h 1970826"/>
              <a:gd name="connsiteX56" fmla="*/ 571181 w 1971297"/>
              <a:gd name="connsiteY56" fmla="*/ 1662485 h 1970826"/>
              <a:gd name="connsiteX57" fmla="*/ 421150 w 1971297"/>
              <a:gd name="connsiteY57" fmla="*/ 1792613 h 1970826"/>
              <a:gd name="connsiteX58" fmla="*/ 297817 w 1971297"/>
              <a:gd name="connsiteY58" fmla="*/ 1690557 h 1970826"/>
              <a:gd name="connsiteX59" fmla="*/ 395006 w 1971297"/>
              <a:gd name="connsiteY59" fmla="*/ 1515223 h 1970826"/>
              <a:gd name="connsiteX60" fmla="*/ 361468 w 1971297"/>
              <a:gd name="connsiteY60" fmla="*/ 1480715 h 1970826"/>
              <a:gd name="connsiteX61" fmla="*/ 171570 w 1971297"/>
              <a:gd name="connsiteY61" fmla="*/ 1549837 h 1970826"/>
              <a:gd name="connsiteX62" fmla="*/ 90850 w 1971297"/>
              <a:gd name="connsiteY62" fmla="*/ 1410026 h 1970826"/>
              <a:gd name="connsiteX63" fmla="*/ 245661 w 1971297"/>
              <a:gd name="connsiteY63" fmla="*/ 1280131 h 1970826"/>
              <a:gd name="connsiteX64" fmla="*/ 233972 w 1971297"/>
              <a:gd name="connsiteY64" fmla="*/ 1245643 h 1970826"/>
              <a:gd name="connsiteX65" fmla="*/ 31451 w 1971297"/>
              <a:gd name="connsiteY65" fmla="*/ 1248953 h 1970826"/>
              <a:gd name="connsiteX66" fmla="*/ 2573 w 1971297"/>
              <a:gd name="connsiteY66" fmla="*/ 1091497 h 1970826"/>
              <a:gd name="connsiteX67" fmla="*/ 191133 w 1971297"/>
              <a:gd name="connsiteY67" fmla="*/ 1019115 h 1970826"/>
              <a:gd name="connsiteX68" fmla="*/ 189902 w 1971297"/>
              <a:gd name="connsiteY68" fmla="*/ 963904 h 1970826"/>
              <a:gd name="connsiteX69" fmla="*/ 0 w 1971297"/>
              <a:gd name="connsiteY69" fmla="*/ 894790 h 1970826"/>
              <a:gd name="connsiteX70" fmla="*/ 28034 w 1971297"/>
              <a:gd name="connsiteY70" fmla="*/ 735802 h 1970826"/>
              <a:gd name="connsiteX71" fmla="*/ 230121 w 1971297"/>
              <a:gd name="connsiteY71" fmla="*/ 735808 h 1970826"/>
              <a:gd name="connsiteX72" fmla="*/ 240919 w 1971297"/>
              <a:gd name="connsiteY72" fmla="*/ 708079 h 1970826"/>
              <a:gd name="connsiteX73" fmla="*/ 84936 w 1971297"/>
              <a:gd name="connsiteY73" fmla="*/ 585933 h 1970826"/>
              <a:gd name="connsiteX74" fmla="*/ 161584 w 1971297"/>
              <a:gd name="connsiteY74" fmla="*/ 445393 h 1970826"/>
              <a:gd name="connsiteX75" fmla="*/ 354366 w 1971297"/>
              <a:gd name="connsiteY75" fmla="*/ 508031 h 1970826"/>
              <a:gd name="connsiteX76" fmla="*/ 390674 w 1971297"/>
              <a:gd name="connsiteY76" fmla="*/ 457722 h 1970826"/>
              <a:gd name="connsiteX77" fmla="*/ 289626 w 1971297"/>
              <a:gd name="connsiteY77" fmla="*/ 282712 h 1970826"/>
              <a:gd name="connsiteX78" fmla="*/ 413297 w 1971297"/>
              <a:gd name="connsiteY78" fmla="*/ 178940 h 1970826"/>
              <a:gd name="connsiteX79" fmla="*/ 568101 w 1971297"/>
              <a:gd name="connsiteY79" fmla="*/ 308843 h 1970826"/>
              <a:gd name="connsiteX80" fmla="*/ 611018 w 1971297"/>
              <a:gd name="connsiteY80" fmla="*/ 285324 h 1970826"/>
              <a:gd name="connsiteX81" fmla="*/ 576674 w 1971297"/>
              <a:gd name="connsiteY81" fmla="*/ 89277 h 1970826"/>
              <a:gd name="connsiteX82" fmla="*/ 727674 w 1971297"/>
              <a:gd name="connsiteY82" fmla="*/ 36123 h 1970826"/>
              <a:gd name="connsiteX83" fmla="*/ 826689 w 1971297"/>
              <a:gd name="connsiteY83" fmla="*/ 207623 h 1970826"/>
              <a:gd name="connsiteX84" fmla="*/ 869841 w 1971297"/>
              <a:gd name="connsiteY84" fmla="*/ 199018 h 1970826"/>
              <a:gd name="connsiteX85" fmla="*/ 904928 w 1971297"/>
              <a:gd name="connsiteY85" fmla="*/ 0 h 1970826"/>
              <a:gd name="connsiteX0" fmla="*/ 198126 w 1971297"/>
              <a:gd name="connsiteY0" fmla="*/ 1096370 h 1970826"/>
              <a:gd name="connsiteX1" fmla="*/ 199057 w 1971297"/>
              <a:gd name="connsiteY1" fmla="*/ 1110557 h 1970826"/>
              <a:gd name="connsiteX2" fmla="*/ 198126 w 1971297"/>
              <a:gd name="connsiteY2" fmla="*/ 1096370 h 1970826"/>
              <a:gd name="connsiteX3" fmla="*/ 1658502 w 1971297"/>
              <a:gd name="connsiteY3" fmla="*/ 565633 h 1970826"/>
              <a:gd name="connsiteX4" fmla="*/ 1664864 w 1971297"/>
              <a:gd name="connsiteY4" fmla="*/ 574448 h 1970826"/>
              <a:gd name="connsiteX5" fmla="*/ 1664611 w 1971297"/>
              <a:gd name="connsiteY5" fmla="*/ 573966 h 1970826"/>
              <a:gd name="connsiteX6" fmla="*/ 1658502 w 1971297"/>
              <a:gd name="connsiteY6" fmla="*/ 565633 h 1970826"/>
              <a:gd name="connsiteX7" fmla="*/ 985649 w 1971297"/>
              <a:gd name="connsiteY7" fmla="*/ 323553 h 1970826"/>
              <a:gd name="connsiteX8" fmla="*/ 322581 w 1971297"/>
              <a:gd name="connsiteY8" fmla="*/ 986621 h 1970826"/>
              <a:gd name="connsiteX9" fmla="*/ 985649 w 1971297"/>
              <a:gd name="connsiteY9" fmla="*/ 1649689 h 1970826"/>
              <a:gd name="connsiteX10" fmla="*/ 1648717 w 1971297"/>
              <a:gd name="connsiteY10" fmla="*/ 986621 h 1970826"/>
              <a:gd name="connsiteX11" fmla="*/ 985649 w 1971297"/>
              <a:gd name="connsiteY11" fmla="*/ 323553 h 1970826"/>
              <a:gd name="connsiteX12" fmla="*/ 904928 w 1971297"/>
              <a:gd name="connsiteY12" fmla="*/ 0 h 1970826"/>
              <a:gd name="connsiteX13" fmla="*/ 1066369 w 1971297"/>
              <a:gd name="connsiteY13" fmla="*/ 0 h 1970826"/>
              <a:gd name="connsiteX14" fmla="*/ 1101456 w 1971297"/>
              <a:gd name="connsiteY14" fmla="*/ 199018 h 1970826"/>
              <a:gd name="connsiteX15" fmla="*/ 1149113 w 1971297"/>
              <a:gd name="connsiteY15" fmla="*/ 208521 h 1970826"/>
              <a:gd name="connsiteX16" fmla="*/ 1245734 w 1971297"/>
              <a:gd name="connsiteY16" fmla="*/ 36367 h 1970826"/>
              <a:gd name="connsiteX17" fmla="*/ 1396309 w 1971297"/>
              <a:gd name="connsiteY17" fmla="*/ 90716 h 1970826"/>
              <a:gd name="connsiteX18" fmla="*/ 1364293 w 1971297"/>
              <a:gd name="connsiteY18" fmla="*/ 287523 h 1970826"/>
              <a:gd name="connsiteX19" fmla="*/ 1403197 w 1971297"/>
              <a:gd name="connsiteY19" fmla="*/ 308843 h 1970826"/>
              <a:gd name="connsiteX20" fmla="*/ 1558001 w 1971297"/>
              <a:gd name="connsiteY20" fmla="*/ 178940 h 1970826"/>
              <a:gd name="connsiteX21" fmla="*/ 1681671 w 1971297"/>
              <a:gd name="connsiteY21" fmla="*/ 282712 h 1970826"/>
              <a:gd name="connsiteX22" fmla="*/ 1580623 w 1971297"/>
              <a:gd name="connsiteY22" fmla="*/ 457722 h 1970826"/>
              <a:gd name="connsiteX23" fmla="*/ 1610608 w 1971297"/>
              <a:gd name="connsiteY23" fmla="*/ 499270 h 1970826"/>
              <a:gd name="connsiteX24" fmla="*/ 1802874 w 1971297"/>
              <a:gd name="connsiteY24" fmla="*/ 433067 h 1970826"/>
              <a:gd name="connsiteX25" fmla="*/ 1881963 w 1971297"/>
              <a:gd name="connsiteY25" fmla="*/ 572248 h 1970826"/>
              <a:gd name="connsiteX26" fmla="*/ 1726590 w 1971297"/>
              <a:gd name="connsiteY26" fmla="*/ 698353 h 1970826"/>
              <a:gd name="connsiteX27" fmla="*/ 1741176 w 1971297"/>
              <a:gd name="connsiteY27" fmla="*/ 735808 h 1970826"/>
              <a:gd name="connsiteX28" fmla="*/ 1943264 w 1971297"/>
              <a:gd name="connsiteY28" fmla="*/ 735802 h 1970826"/>
              <a:gd name="connsiteX29" fmla="*/ 1971297 w 1971297"/>
              <a:gd name="connsiteY29" fmla="*/ 894790 h 1970826"/>
              <a:gd name="connsiteX30" fmla="*/ 1781396 w 1971297"/>
              <a:gd name="connsiteY30" fmla="*/ 963903 h 1970826"/>
              <a:gd name="connsiteX31" fmla="*/ 1780264 w 1971297"/>
              <a:gd name="connsiteY31" fmla="*/ 1014677 h 1970826"/>
              <a:gd name="connsiteX32" fmla="*/ 1969010 w 1971297"/>
              <a:gd name="connsiteY32" fmla="*/ 1087130 h 1970826"/>
              <a:gd name="connsiteX33" fmla="*/ 1940132 w 1971297"/>
              <a:gd name="connsiteY33" fmla="*/ 1244586 h 1970826"/>
              <a:gd name="connsiteX34" fmla="*/ 1738798 w 1971297"/>
              <a:gd name="connsiteY34" fmla="*/ 1241295 h 1970826"/>
              <a:gd name="connsiteX35" fmla="*/ 1725636 w 1971297"/>
              <a:gd name="connsiteY35" fmla="*/ 1280130 h 1970826"/>
              <a:gd name="connsiteX36" fmla="*/ 1880447 w 1971297"/>
              <a:gd name="connsiteY36" fmla="*/ 1410026 h 1970826"/>
              <a:gd name="connsiteX37" fmla="*/ 1799727 w 1971297"/>
              <a:gd name="connsiteY37" fmla="*/ 1549837 h 1970826"/>
              <a:gd name="connsiteX38" fmla="*/ 1609829 w 1971297"/>
              <a:gd name="connsiteY38" fmla="*/ 1480714 h 1970826"/>
              <a:gd name="connsiteX39" fmla="*/ 1579151 w 1971297"/>
              <a:gd name="connsiteY39" fmla="*/ 1512281 h 1970826"/>
              <a:gd name="connsiteX40" fmla="*/ 1677610 w 1971297"/>
              <a:gd name="connsiteY40" fmla="*/ 1689905 h 1970826"/>
              <a:gd name="connsiteX41" fmla="*/ 1554277 w 1971297"/>
              <a:gd name="connsiteY41" fmla="*/ 1791961 h 1970826"/>
              <a:gd name="connsiteX42" fmla="*/ 1402854 w 1971297"/>
              <a:gd name="connsiteY42" fmla="*/ 1660626 h 1970826"/>
              <a:gd name="connsiteX43" fmla="*/ 1363848 w 1971297"/>
              <a:gd name="connsiteY43" fmla="*/ 1687117 h 1970826"/>
              <a:gd name="connsiteX44" fmla="*/ 1398945 w 1971297"/>
              <a:gd name="connsiteY44" fmla="*/ 1886133 h 1970826"/>
              <a:gd name="connsiteX45" fmla="*/ 1247240 w 1971297"/>
              <a:gd name="connsiteY45" fmla="*/ 1941349 h 1970826"/>
              <a:gd name="connsiteX46" fmla="*/ 1146202 w 1971297"/>
              <a:gd name="connsiteY46" fmla="*/ 1766334 h 1970826"/>
              <a:gd name="connsiteX47" fmla="*/ 1100680 w 1971297"/>
              <a:gd name="connsiteY47" fmla="*/ 1773318 h 1970826"/>
              <a:gd name="connsiteX48" fmla="*/ 1062288 w 1971297"/>
              <a:gd name="connsiteY48" fmla="*/ 1970826 h 1970826"/>
              <a:gd name="connsiteX49" fmla="*/ 902210 w 1971297"/>
              <a:gd name="connsiteY49" fmla="*/ 1969728 h 1970826"/>
              <a:gd name="connsiteX50" fmla="*/ 870884 w 1971297"/>
              <a:gd name="connsiteY50" fmla="*/ 1773359 h 1970826"/>
              <a:gd name="connsiteX51" fmla="*/ 825096 w 1971297"/>
              <a:gd name="connsiteY51" fmla="*/ 1766334 h 1970826"/>
              <a:gd name="connsiteX52" fmla="*/ 724057 w 1971297"/>
              <a:gd name="connsiteY52" fmla="*/ 1941349 h 1970826"/>
              <a:gd name="connsiteX53" fmla="*/ 572352 w 1971297"/>
              <a:gd name="connsiteY53" fmla="*/ 1886133 h 1970826"/>
              <a:gd name="connsiteX54" fmla="*/ 607450 w 1971297"/>
              <a:gd name="connsiteY54" fmla="*/ 1687117 h 1970826"/>
              <a:gd name="connsiteX55" fmla="*/ 571181 w 1971297"/>
              <a:gd name="connsiteY55" fmla="*/ 1662485 h 1970826"/>
              <a:gd name="connsiteX56" fmla="*/ 421150 w 1971297"/>
              <a:gd name="connsiteY56" fmla="*/ 1792613 h 1970826"/>
              <a:gd name="connsiteX57" fmla="*/ 297817 w 1971297"/>
              <a:gd name="connsiteY57" fmla="*/ 1690557 h 1970826"/>
              <a:gd name="connsiteX58" fmla="*/ 395006 w 1971297"/>
              <a:gd name="connsiteY58" fmla="*/ 1515223 h 1970826"/>
              <a:gd name="connsiteX59" fmla="*/ 361468 w 1971297"/>
              <a:gd name="connsiteY59" fmla="*/ 1480715 h 1970826"/>
              <a:gd name="connsiteX60" fmla="*/ 171570 w 1971297"/>
              <a:gd name="connsiteY60" fmla="*/ 1549837 h 1970826"/>
              <a:gd name="connsiteX61" fmla="*/ 90850 w 1971297"/>
              <a:gd name="connsiteY61" fmla="*/ 1410026 h 1970826"/>
              <a:gd name="connsiteX62" fmla="*/ 245661 w 1971297"/>
              <a:gd name="connsiteY62" fmla="*/ 1280131 h 1970826"/>
              <a:gd name="connsiteX63" fmla="*/ 233972 w 1971297"/>
              <a:gd name="connsiteY63" fmla="*/ 1245643 h 1970826"/>
              <a:gd name="connsiteX64" fmla="*/ 31451 w 1971297"/>
              <a:gd name="connsiteY64" fmla="*/ 1248953 h 1970826"/>
              <a:gd name="connsiteX65" fmla="*/ 2573 w 1971297"/>
              <a:gd name="connsiteY65" fmla="*/ 1091497 h 1970826"/>
              <a:gd name="connsiteX66" fmla="*/ 191133 w 1971297"/>
              <a:gd name="connsiteY66" fmla="*/ 1019115 h 1970826"/>
              <a:gd name="connsiteX67" fmla="*/ 189902 w 1971297"/>
              <a:gd name="connsiteY67" fmla="*/ 963904 h 1970826"/>
              <a:gd name="connsiteX68" fmla="*/ 0 w 1971297"/>
              <a:gd name="connsiteY68" fmla="*/ 894790 h 1970826"/>
              <a:gd name="connsiteX69" fmla="*/ 28034 w 1971297"/>
              <a:gd name="connsiteY69" fmla="*/ 735802 h 1970826"/>
              <a:gd name="connsiteX70" fmla="*/ 230121 w 1971297"/>
              <a:gd name="connsiteY70" fmla="*/ 735808 h 1970826"/>
              <a:gd name="connsiteX71" fmla="*/ 240919 w 1971297"/>
              <a:gd name="connsiteY71" fmla="*/ 708079 h 1970826"/>
              <a:gd name="connsiteX72" fmla="*/ 84936 w 1971297"/>
              <a:gd name="connsiteY72" fmla="*/ 585933 h 1970826"/>
              <a:gd name="connsiteX73" fmla="*/ 161584 w 1971297"/>
              <a:gd name="connsiteY73" fmla="*/ 445393 h 1970826"/>
              <a:gd name="connsiteX74" fmla="*/ 354366 w 1971297"/>
              <a:gd name="connsiteY74" fmla="*/ 508031 h 1970826"/>
              <a:gd name="connsiteX75" fmla="*/ 390674 w 1971297"/>
              <a:gd name="connsiteY75" fmla="*/ 457722 h 1970826"/>
              <a:gd name="connsiteX76" fmla="*/ 289626 w 1971297"/>
              <a:gd name="connsiteY76" fmla="*/ 282712 h 1970826"/>
              <a:gd name="connsiteX77" fmla="*/ 413297 w 1971297"/>
              <a:gd name="connsiteY77" fmla="*/ 178940 h 1970826"/>
              <a:gd name="connsiteX78" fmla="*/ 568101 w 1971297"/>
              <a:gd name="connsiteY78" fmla="*/ 308843 h 1970826"/>
              <a:gd name="connsiteX79" fmla="*/ 611018 w 1971297"/>
              <a:gd name="connsiteY79" fmla="*/ 285324 h 1970826"/>
              <a:gd name="connsiteX80" fmla="*/ 576674 w 1971297"/>
              <a:gd name="connsiteY80" fmla="*/ 89277 h 1970826"/>
              <a:gd name="connsiteX81" fmla="*/ 727674 w 1971297"/>
              <a:gd name="connsiteY81" fmla="*/ 36123 h 1970826"/>
              <a:gd name="connsiteX82" fmla="*/ 826689 w 1971297"/>
              <a:gd name="connsiteY82" fmla="*/ 207623 h 1970826"/>
              <a:gd name="connsiteX83" fmla="*/ 869841 w 1971297"/>
              <a:gd name="connsiteY83" fmla="*/ 199018 h 1970826"/>
              <a:gd name="connsiteX84" fmla="*/ 904928 w 1971297"/>
              <a:gd name="connsiteY84" fmla="*/ 0 h 1970826"/>
              <a:gd name="connsiteX0" fmla="*/ 1658502 w 1971297"/>
              <a:gd name="connsiteY0" fmla="*/ 565633 h 1970826"/>
              <a:gd name="connsiteX1" fmla="*/ 1664864 w 1971297"/>
              <a:gd name="connsiteY1" fmla="*/ 574448 h 1970826"/>
              <a:gd name="connsiteX2" fmla="*/ 1664611 w 1971297"/>
              <a:gd name="connsiteY2" fmla="*/ 573966 h 1970826"/>
              <a:gd name="connsiteX3" fmla="*/ 1658502 w 1971297"/>
              <a:gd name="connsiteY3" fmla="*/ 565633 h 1970826"/>
              <a:gd name="connsiteX4" fmla="*/ 985649 w 1971297"/>
              <a:gd name="connsiteY4" fmla="*/ 323553 h 1970826"/>
              <a:gd name="connsiteX5" fmla="*/ 322581 w 1971297"/>
              <a:gd name="connsiteY5" fmla="*/ 986621 h 1970826"/>
              <a:gd name="connsiteX6" fmla="*/ 985649 w 1971297"/>
              <a:gd name="connsiteY6" fmla="*/ 1649689 h 1970826"/>
              <a:gd name="connsiteX7" fmla="*/ 1648717 w 1971297"/>
              <a:gd name="connsiteY7" fmla="*/ 986621 h 1970826"/>
              <a:gd name="connsiteX8" fmla="*/ 985649 w 1971297"/>
              <a:gd name="connsiteY8" fmla="*/ 323553 h 1970826"/>
              <a:gd name="connsiteX9" fmla="*/ 904928 w 1971297"/>
              <a:gd name="connsiteY9" fmla="*/ 0 h 1970826"/>
              <a:gd name="connsiteX10" fmla="*/ 1066369 w 1971297"/>
              <a:gd name="connsiteY10" fmla="*/ 0 h 1970826"/>
              <a:gd name="connsiteX11" fmla="*/ 1101456 w 1971297"/>
              <a:gd name="connsiteY11" fmla="*/ 199018 h 1970826"/>
              <a:gd name="connsiteX12" fmla="*/ 1149113 w 1971297"/>
              <a:gd name="connsiteY12" fmla="*/ 208521 h 1970826"/>
              <a:gd name="connsiteX13" fmla="*/ 1245734 w 1971297"/>
              <a:gd name="connsiteY13" fmla="*/ 36367 h 1970826"/>
              <a:gd name="connsiteX14" fmla="*/ 1396309 w 1971297"/>
              <a:gd name="connsiteY14" fmla="*/ 90716 h 1970826"/>
              <a:gd name="connsiteX15" fmla="*/ 1364293 w 1971297"/>
              <a:gd name="connsiteY15" fmla="*/ 287523 h 1970826"/>
              <a:gd name="connsiteX16" fmla="*/ 1403197 w 1971297"/>
              <a:gd name="connsiteY16" fmla="*/ 308843 h 1970826"/>
              <a:gd name="connsiteX17" fmla="*/ 1558001 w 1971297"/>
              <a:gd name="connsiteY17" fmla="*/ 178940 h 1970826"/>
              <a:gd name="connsiteX18" fmla="*/ 1681671 w 1971297"/>
              <a:gd name="connsiteY18" fmla="*/ 282712 h 1970826"/>
              <a:gd name="connsiteX19" fmla="*/ 1580623 w 1971297"/>
              <a:gd name="connsiteY19" fmla="*/ 457722 h 1970826"/>
              <a:gd name="connsiteX20" fmla="*/ 1610608 w 1971297"/>
              <a:gd name="connsiteY20" fmla="*/ 499270 h 1970826"/>
              <a:gd name="connsiteX21" fmla="*/ 1802874 w 1971297"/>
              <a:gd name="connsiteY21" fmla="*/ 433067 h 1970826"/>
              <a:gd name="connsiteX22" fmla="*/ 1881963 w 1971297"/>
              <a:gd name="connsiteY22" fmla="*/ 572248 h 1970826"/>
              <a:gd name="connsiteX23" fmla="*/ 1726590 w 1971297"/>
              <a:gd name="connsiteY23" fmla="*/ 698353 h 1970826"/>
              <a:gd name="connsiteX24" fmla="*/ 1741176 w 1971297"/>
              <a:gd name="connsiteY24" fmla="*/ 735808 h 1970826"/>
              <a:gd name="connsiteX25" fmla="*/ 1943264 w 1971297"/>
              <a:gd name="connsiteY25" fmla="*/ 735802 h 1970826"/>
              <a:gd name="connsiteX26" fmla="*/ 1971297 w 1971297"/>
              <a:gd name="connsiteY26" fmla="*/ 894790 h 1970826"/>
              <a:gd name="connsiteX27" fmla="*/ 1781396 w 1971297"/>
              <a:gd name="connsiteY27" fmla="*/ 963903 h 1970826"/>
              <a:gd name="connsiteX28" fmla="*/ 1780264 w 1971297"/>
              <a:gd name="connsiteY28" fmla="*/ 1014677 h 1970826"/>
              <a:gd name="connsiteX29" fmla="*/ 1969010 w 1971297"/>
              <a:gd name="connsiteY29" fmla="*/ 1087130 h 1970826"/>
              <a:gd name="connsiteX30" fmla="*/ 1940132 w 1971297"/>
              <a:gd name="connsiteY30" fmla="*/ 1244586 h 1970826"/>
              <a:gd name="connsiteX31" fmla="*/ 1738798 w 1971297"/>
              <a:gd name="connsiteY31" fmla="*/ 1241295 h 1970826"/>
              <a:gd name="connsiteX32" fmla="*/ 1725636 w 1971297"/>
              <a:gd name="connsiteY32" fmla="*/ 1280130 h 1970826"/>
              <a:gd name="connsiteX33" fmla="*/ 1880447 w 1971297"/>
              <a:gd name="connsiteY33" fmla="*/ 1410026 h 1970826"/>
              <a:gd name="connsiteX34" fmla="*/ 1799727 w 1971297"/>
              <a:gd name="connsiteY34" fmla="*/ 1549837 h 1970826"/>
              <a:gd name="connsiteX35" fmla="*/ 1609829 w 1971297"/>
              <a:gd name="connsiteY35" fmla="*/ 1480714 h 1970826"/>
              <a:gd name="connsiteX36" fmla="*/ 1579151 w 1971297"/>
              <a:gd name="connsiteY36" fmla="*/ 1512281 h 1970826"/>
              <a:gd name="connsiteX37" fmla="*/ 1677610 w 1971297"/>
              <a:gd name="connsiteY37" fmla="*/ 1689905 h 1970826"/>
              <a:gd name="connsiteX38" fmla="*/ 1554277 w 1971297"/>
              <a:gd name="connsiteY38" fmla="*/ 1791961 h 1970826"/>
              <a:gd name="connsiteX39" fmla="*/ 1402854 w 1971297"/>
              <a:gd name="connsiteY39" fmla="*/ 1660626 h 1970826"/>
              <a:gd name="connsiteX40" fmla="*/ 1363848 w 1971297"/>
              <a:gd name="connsiteY40" fmla="*/ 1687117 h 1970826"/>
              <a:gd name="connsiteX41" fmla="*/ 1398945 w 1971297"/>
              <a:gd name="connsiteY41" fmla="*/ 1886133 h 1970826"/>
              <a:gd name="connsiteX42" fmla="*/ 1247240 w 1971297"/>
              <a:gd name="connsiteY42" fmla="*/ 1941349 h 1970826"/>
              <a:gd name="connsiteX43" fmla="*/ 1146202 w 1971297"/>
              <a:gd name="connsiteY43" fmla="*/ 1766334 h 1970826"/>
              <a:gd name="connsiteX44" fmla="*/ 1100680 w 1971297"/>
              <a:gd name="connsiteY44" fmla="*/ 1773318 h 1970826"/>
              <a:gd name="connsiteX45" fmla="*/ 1062288 w 1971297"/>
              <a:gd name="connsiteY45" fmla="*/ 1970826 h 1970826"/>
              <a:gd name="connsiteX46" fmla="*/ 902210 w 1971297"/>
              <a:gd name="connsiteY46" fmla="*/ 1969728 h 1970826"/>
              <a:gd name="connsiteX47" fmla="*/ 870884 w 1971297"/>
              <a:gd name="connsiteY47" fmla="*/ 1773359 h 1970826"/>
              <a:gd name="connsiteX48" fmla="*/ 825096 w 1971297"/>
              <a:gd name="connsiteY48" fmla="*/ 1766334 h 1970826"/>
              <a:gd name="connsiteX49" fmla="*/ 724057 w 1971297"/>
              <a:gd name="connsiteY49" fmla="*/ 1941349 h 1970826"/>
              <a:gd name="connsiteX50" fmla="*/ 572352 w 1971297"/>
              <a:gd name="connsiteY50" fmla="*/ 1886133 h 1970826"/>
              <a:gd name="connsiteX51" fmla="*/ 607450 w 1971297"/>
              <a:gd name="connsiteY51" fmla="*/ 1687117 h 1970826"/>
              <a:gd name="connsiteX52" fmla="*/ 571181 w 1971297"/>
              <a:gd name="connsiteY52" fmla="*/ 1662485 h 1970826"/>
              <a:gd name="connsiteX53" fmla="*/ 421150 w 1971297"/>
              <a:gd name="connsiteY53" fmla="*/ 1792613 h 1970826"/>
              <a:gd name="connsiteX54" fmla="*/ 297817 w 1971297"/>
              <a:gd name="connsiteY54" fmla="*/ 1690557 h 1970826"/>
              <a:gd name="connsiteX55" fmla="*/ 395006 w 1971297"/>
              <a:gd name="connsiteY55" fmla="*/ 1515223 h 1970826"/>
              <a:gd name="connsiteX56" fmla="*/ 361468 w 1971297"/>
              <a:gd name="connsiteY56" fmla="*/ 1480715 h 1970826"/>
              <a:gd name="connsiteX57" fmla="*/ 171570 w 1971297"/>
              <a:gd name="connsiteY57" fmla="*/ 1549837 h 1970826"/>
              <a:gd name="connsiteX58" fmla="*/ 90850 w 1971297"/>
              <a:gd name="connsiteY58" fmla="*/ 1410026 h 1970826"/>
              <a:gd name="connsiteX59" fmla="*/ 245661 w 1971297"/>
              <a:gd name="connsiteY59" fmla="*/ 1280131 h 1970826"/>
              <a:gd name="connsiteX60" fmla="*/ 233972 w 1971297"/>
              <a:gd name="connsiteY60" fmla="*/ 1245643 h 1970826"/>
              <a:gd name="connsiteX61" fmla="*/ 31451 w 1971297"/>
              <a:gd name="connsiteY61" fmla="*/ 1248953 h 1970826"/>
              <a:gd name="connsiteX62" fmla="*/ 2573 w 1971297"/>
              <a:gd name="connsiteY62" fmla="*/ 1091497 h 1970826"/>
              <a:gd name="connsiteX63" fmla="*/ 191133 w 1971297"/>
              <a:gd name="connsiteY63" fmla="*/ 1019115 h 1970826"/>
              <a:gd name="connsiteX64" fmla="*/ 189902 w 1971297"/>
              <a:gd name="connsiteY64" fmla="*/ 963904 h 1970826"/>
              <a:gd name="connsiteX65" fmla="*/ 0 w 1971297"/>
              <a:gd name="connsiteY65" fmla="*/ 894790 h 1970826"/>
              <a:gd name="connsiteX66" fmla="*/ 28034 w 1971297"/>
              <a:gd name="connsiteY66" fmla="*/ 735802 h 1970826"/>
              <a:gd name="connsiteX67" fmla="*/ 230121 w 1971297"/>
              <a:gd name="connsiteY67" fmla="*/ 735808 h 1970826"/>
              <a:gd name="connsiteX68" fmla="*/ 240919 w 1971297"/>
              <a:gd name="connsiteY68" fmla="*/ 708079 h 1970826"/>
              <a:gd name="connsiteX69" fmla="*/ 84936 w 1971297"/>
              <a:gd name="connsiteY69" fmla="*/ 585933 h 1970826"/>
              <a:gd name="connsiteX70" fmla="*/ 161584 w 1971297"/>
              <a:gd name="connsiteY70" fmla="*/ 445393 h 1970826"/>
              <a:gd name="connsiteX71" fmla="*/ 354366 w 1971297"/>
              <a:gd name="connsiteY71" fmla="*/ 508031 h 1970826"/>
              <a:gd name="connsiteX72" fmla="*/ 390674 w 1971297"/>
              <a:gd name="connsiteY72" fmla="*/ 457722 h 1970826"/>
              <a:gd name="connsiteX73" fmla="*/ 289626 w 1971297"/>
              <a:gd name="connsiteY73" fmla="*/ 282712 h 1970826"/>
              <a:gd name="connsiteX74" fmla="*/ 413297 w 1971297"/>
              <a:gd name="connsiteY74" fmla="*/ 178940 h 1970826"/>
              <a:gd name="connsiteX75" fmla="*/ 568101 w 1971297"/>
              <a:gd name="connsiteY75" fmla="*/ 308843 h 1970826"/>
              <a:gd name="connsiteX76" fmla="*/ 611018 w 1971297"/>
              <a:gd name="connsiteY76" fmla="*/ 285324 h 1970826"/>
              <a:gd name="connsiteX77" fmla="*/ 576674 w 1971297"/>
              <a:gd name="connsiteY77" fmla="*/ 89277 h 1970826"/>
              <a:gd name="connsiteX78" fmla="*/ 727674 w 1971297"/>
              <a:gd name="connsiteY78" fmla="*/ 36123 h 1970826"/>
              <a:gd name="connsiteX79" fmla="*/ 826689 w 1971297"/>
              <a:gd name="connsiteY79" fmla="*/ 207623 h 1970826"/>
              <a:gd name="connsiteX80" fmla="*/ 869841 w 1971297"/>
              <a:gd name="connsiteY80" fmla="*/ 199018 h 1970826"/>
              <a:gd name="connsiteX81" fmla="*/ 904928 w 1971297"/>
              <a:gd name="connsiteY81" fmla="*/ 0 h 1970826"/>
              <a:gd name="connsiteX0" fmla="*/ 1664611 w 1971297"/>
              <a:gd name="connsiteY0" fmla="*/ 573966 h 1970826"/>
              <a:gd name="connsiteX1" fmla="*/ 1664864 w 1971297"/>
              <a:gd name="connsiteY1" fmla="*/ 574448 h 1970826"/>
              <a:gd name="connsiteX2" fmla="*/ 1664611 w 1971297"/>
              <a:gd name="connsiteY2" fmla="*/ 573966 h 1970826"/>
              <a:gd name="connsiteX3" fmla="*/ 985649 w 1971297"/>
              <a:gd name="connsiteY3" fmla="*/ 323553 h 1970826"/>
              <a:gd name="connsiteX4" fmla="*/ 322581 w 1971297"/>
              <a:gd name="connsiteY4" fmla="*/ 986621 h 1970826"/>
              <a:gd name="connsiteX5" fmla="*/ 985649 w 1971297"/>
              <a:gd name="connsiteY5" fmla="*/ 1649689 h 1970826"/>
              <a:gd name="connsiteX6" fmla="*/ 1648717 w 1971297"/>
              <a:gd name="connsiteY6" fmla="*/ 986621 h 1970826"/>
              <a:gd name="connsiteX7" fmla="*/ 985649 w 1971297"/>
              <a:gd name="connsiteY7" fmla="*/ 323553 h 1970826"/>
              <a:gd name="connsiteX8" fmla="*/ 904928 w 1971297"/>
              <a:gd name="connsiteY8" fmla="*/ 0 h 1970826"/>
              <a:gd name="connsiteX9" fmla="*/ 1066369 w 1971297"/>
              <a:gd name="connsiteY9" fmla="*/ 0 h 1970826"/>
              <a:gd name="connsiteX10" fmla="*/ 1101456 w 1971297"/>
              <a:gd name="connsiteY10" fmla="*/ 199018 h 1970826"/>
              <a:gd name="connsiteX11" fmla="*/ 1149113 w 1971297"/>
              <a:gd name="connsiteY11" fmla="*/ 208521 h 1970826"/>
              <a:gd name="connsiteX12" fmla="*/ 1245734 w 1971297"/>
              <a:gd name="connsiteY12" fmla="*/ 36367 h 1970826"/>
              <a:gd name="connsiteX13" fmla="*/ 1396309 w 1971297"/>
              <a:gd name="connsiteY13" fmla="*/ 90716 h 1970826"/>
              <a:gd name="connsiteX14" fmla="*/ 1364293 w 1971297"/>
              <a:gd name="connsiteY14" fmla="*/ 287523 h 1970826"/>
              <a:gd name="connsiteX15" fmla="*/ 1403197 w 1971297"/>
              <a:gd name="connsiteY15" fmla="*/ 308843 h 1970826"/>
              <a:gd name="connsiteX16" fmla="*/ 1558001 w 1971297"/>
              <a:gd name="connsiteY16" fmla="*/ 178940 h 1970826"/>
              <a:gd name="connsiteX17" fmla="*/ 1681671 w 1971297"/>
              <a:gd name="connsiteY17" fmla="*/ 282712 h 1970826"/>
              <a:gd name="connsiteX18" fmla="*/ 1580623 w 1971297"/>
              <a:gd name="connsiteY18" fmla="*/ 457722 h 1970826"/>
              <a:gd name="connsiteX19" fmla="*/ 1610608 w 1971297"/>
              <a:gd name="connsiteY19" fmla="*/ 499270 h 1970826"/>
              <a:gd name="connsiteX20" fmla="*/ 1802874 w 1971297"/>
              <a:gd name="connsiteY20" fmla="*/ 433067 h 1970826"/>
              <a:gd name="connsiteX21" fmla="*/ 1881963 w 1971297"/>
              <a:gd name="connsiteY21" fmla="*/ 572248 h 1970826"/>
              <a:gd name="connsiteX22" fmla="*/ 1726590 w 1971297"/>
              <a:gd name="connsiteY22" fmla="*/ 698353 h 1970826"/>
              <a:gd name="connsiteX23" fmla="*/ 1741176 w 1971297"/>
              <a:gd name="connsiteY23" fmla="*/ 735808 h 1970826"/>
              <a:gd name="connsiteX24" fmla="*/ 1943264 w 1971297"/>
              <a:gd name="connsiteY24" fmla="*/ 735802 h 1970826"/>
              <a:gd name="connsiteX25" fmla="*/ 1971297 w 1971297"/>
              <a:gd name="connsiteY25" fmla="*/ 894790 h 1970826"/>
              <a:gd name="connsiteX26" fmla="*/ 1781396 w 1971297"/>
              <a:gd name="connsiteY26" fmla="*/ 963903 h 1970826"/>
              <a:gd name="connsiteX27" fmla="*/ 1780264 w 1971297"/>
              <a:gd name="connsiteY27" fmla="*/ 1014677 h 1970826"/>
              <a:gd name="connsiteX28" fmla="*/ 1969010 w 1971297"/>
              <a:gd name="connsiteY28" fmla="*/ 1087130 h 1970826"/>
              <a:gd name="connsiteX29" fmla="*/ 1940132 w 1971297"/>
              <a:gd name="connsiteY29" fmla="*/ 1244586 h 1970826"/>
              <a:gd name="connsiteX30" fmla="*/ 1738798 w 1971297"/>
              <a:gd name="connsiteY30" fmla="*/ 1241295 h 1970826"/>
              <a:gd name="connsiteX31" fmla="*/ 1725636 w 1971297"/>
              <a:gd name="connsiteY31" fmla="*/ 1280130 h 1970826"/>
              <a:gd name="connsiteX32" fmla="*/ 1880447 w 1971297"/>
              <a:gd name="connsiteY32" fmla="*/ 1410026 h 1970826"/>
              <a:gd name="connsiteX33" fmla="*/ 1799727 w 1971297"/>
              <a:gd name="connsiteY33" fmla="*/ 1549837 h 1970826"/>
              <a:gd name="connsiteX34" fmla="*/ 1609829 w 1971297"/>
              <a:gd name="connsiteY34" fmla="*/ 1480714 h 1970826"/>
              <a:gd name="connsiteX35" fmla="*/ 1579151 w 1971297"/>
              <a:gd name="connsiteY35" fmla="*/ 1512281 h 1970826"/>
              <a:gd name="connsiteX36" fmla="*/ 1677610 w 1971297"/>
              <a:gd name="connsiteY36" fmla="*/ 1689905 h 1970826"/>
              <a:gd name="connsiteX37" fmla="*/ 1554277 w 1971297"/>
              <a:gd name="connsiteY37" fmla="*/ 1791961 h 1970826"/>
              <a:gd name="connsiteX38" fmla="*/ 1402854 w 1971297"/>
              <a:gd name="connsiteY38" fmla="*/ 1660626 h 1970826"/>
              <a:gd name="connsiteX39" fmla="*/ 1363848 w 1971297"/>
              <a:gd name="connsiteY39" fmla="*/ 1687117 h 1970826"/>
              <a:gd name="connsiteX40" fmla="*/ 1398945 w 1971297"/>
              <a:gd name="connsiteY40" fmla="*/ 1886133 h 1970826"/>
              <a:gd name="connsiteX41" fmla="*/ 1247240 w 1971297"/>
              <a:gd name="connsiteY41" fmla="*/ 1941349 h 1970826"/>
              <a:gd name="connsiteX42" fmla="*/ 1146202 w 1971297"/>
              <a:gd name="connsiteY42" fmla="*/ 1766334 h 1970826"/>
              <a:gd name="connsiteX43" fmla="*/ 1100680 w 1971297"/>
              <a:gd name="connsiteY43" fmla="*/ 1773318 h 1970826"/>
              <a:gd name="connsiteX44" fmla="*/ 1062288 w 1971297"/>
              <a:gd name="connsiteY44" fmla="*/ 1970826 h 1970826"/>
              <a:gd name="connsiteX45" fmla="*/ 902210 w 1971297"/>
              <a:gd name="connsiteY45" fmla="*/ 1969728 h 1970826"/>
              <a:gd name="connsiteX46" fmla="*/ 870884 w 1971297"/>
              <a:gd name="connsiteY46" fmla="*/ 1773359 h 1970826"/>
              <a:gd name="connsiteX47" fmla="*/ 825096 w 1971297"/>
              <a:gd name="connsiteY47" fmla="*/ 1766334 h 1970826"/>
              <a:gd name="connsiteX48" fmla="*/ 724057 w 1971297"/>
              <a:gd name="connsiteY48" fmla="*/ 1941349 h 1970826"/>
              <a:gd name="connsiteX49" fmla="*/ 572352 w 1971297"/>
              <a:gd name="connsiteY49" fmla="*/ 1886133 h 1970826"/>
              <a:gd name="connsiteX50" fmla="*/ 607450 w 1971297"/>
              <a:gd name="connsiteY50" fmla="*/ 1687117 h 1970826"/>
              <a:gd name="connsiteX51" fmla="*/ 571181 w 1971297"/>
              <a:gd name="connsiteY51" fmla="*/ 1662485 h 1970826"/>
              <a:gd name="connsiteX52" fmla="*/ 421150 w 1971297"/>
              <a:gd name="connsiteY52" fmla="*/ 1792613 h 1970826"/>
              <a:gd name="connsiteX53" fmla="*/ 297817 w 1971297"/>
              <a:gd name="connsiteY53" fmla="*/ 1690557 h 1970826"/>
              <a:gd name="connsiteX54" fmla="*/ 395006 w 1971297"/>
              <a:gd name="connsiteY54" fmla="*/ 1515223 h 1970826"/>
              <a:gd name="connsiteX55" fmla="*/ 361468 w 1971297"/>
              <a:gd name="connsiteY55" fmla="*/ 1480715 h 1970826"/>
              <a:gd name="connsiteX56" fmla="*/ 171570 w 1971297"/>
              <a:gd name="connsiteY56" fmla="*/ 1549837 h 1970826"/>
              <a:gd name="connsiteX57" fmla="*/ 90850 w 1971297"/>
              <a:gd name="connsiteY57" fmla="*/ 1410026 h 1970826"/>
              <a:gd name="connsiteX58" fmla="*/ 245661 w 1971297"/>
              <a:gd name="connsiteY58" fmla="*/ 1280131 h 1970826"/>
              <a:gd name="connsiteX59" fmla="*/ 233972 w 1971297"/>
              <a:gd name="connsiteY59" fmla="*/ 1245643 h 1970826"/>
              <a:gd name="connsiteX60" fmla="*/ 31451 w 1971297"/>
              <a:gd name="connsiteY60" fmla="*/ 1248953 h 1970826"/>
              <a:gd name="connsiteX61" fmla="*/ 2573 w 1971297"/>
              <a:gd name="connsiteY61" fmla="*/ 1091497 h 1970826"/>
              <a:gd name="connsiteX62" fmla="*/ 191133 w 1971297"/>
              <a:gd name="connsiteY62" fmla="*/ 1019115 h 1970826"/>
              <a:gd name="connsiteX63" fmla="*/ 189902 w 1971297"/>
              <a:gd name="connsiteY63" fmla="*/ 963904 h 1970826"/>
              <a:gd name="connsiteX64" fmla="*/ 0 w 1971297"/>
              <a:gd name="connsiteY64" fmla="*/ 894790 h 1970826"/>
              <a:gd name="connsiteX65" fmla="*/ 28034 w 1971297"/>
              <a:gd name="connsiteY65" fmla="*/ 735802 h 1970826"/>
              <a:gd name="connsiteX66" fmla="*/ 230121 w 1971297"/>
              <a:gd name="connsiteY66" fmla="*/ 735808 h 1970826"/>
              <a:gd name="connsiteX67" fmla="*/ 240919 w 1971297"/>
              <a:gd name="connsiteY67" fmla="*/ 708079 h 1970826"/>
              <a:gd name="connsiteX68" fmla="*/ 84936 w 1971297"/>
              <a:gd name="connsiteY68" fmla="*/ 585933 h 1970826"/>
              <a:gd name="connsiteX69" fmla="*/ 161584 w 1971297"/>
              <a:gd name="connsiteY69" fmla="*/ 445393 h 1970826"/>
              <a:gd name="connsiteX70" fmla="*/ 354366 w 1971297"/>
              <a:gd name="connsiteY70" fmla="*/ 508031 h 1970826"/>
              <a:gd name="connsiteX71" fmla="*/ 390674 w 1971297"/>
              <a:gd name="connsiteY71" fmla="*/ 457722 h 1970826"/>
              <a:gd name="connsiteX72" fmla="*/ 289626 w 1971297"/>
              <a:gd name="connsiteY72" fmla="*/ 282712 h 1970826"/>
              <a:gd name="connsiteX73" fmla="*/ 413297 w 1971297"/>
              <a:gd name="connsiteY73" fmla="*/ 178940 h 1970826"/>
              <a:gd name="connsiteX74" fmla="*/ 568101 w 1971297"/>
              <a:gd name="connsiteY74" fmla="*/ 308843 h 1970826"/>
              <a:gd name="connsiteX75" fmla="*/ 611018 w 1971297"/>
              <a:gd name="connsiteY75" fmla="*/ 285324 h 1970826"/>
              <a:gd name="connsiteX76" fmla="*/ 576674 w 1971297"/>
              <a:gd name="connsiteY76" fmla="*/ 89277 h 1970826"/>
              <a:gd name="connsiteX77" fmla="*/ 727674 w 1971297"/>
              <a:gd name="connsiteY77" fmla="*/ 36123 h 1970826"/>
              <a:gd name="connsiteX78" fmla="*/ 826689 w 1971297"/>
              <a:gd name="connsiteY78" fmla="*/ 207623 h 1970826"/>
              <a:gd name="connsiteX79" fmla="*/ 869841 w 1971297"/>
              <a:gd name="connsiteY79" fmla="*/ 199018 h 1970826"/>
              <a:gd name="connsiteX80" fmla="*/ 904928 w 1971297"/>
              <a:gd name="connsiteY80"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1648717 w 1971297"/>
              <a:gd name="connsiteY3" fmla="*/ 986621 h 1970826"/>
              <a:gd name="connsiteX4" fmla="*/ 985649 w 1971297"/>
              <a:gd name="connsiteY4" fmla="*/ 323553 h 1970826"/>
              <a:gd name="connsiteX5" fmla="*/ 904928 w 1971297"/>
              <a:gd name="connsiteY5" fmla="*/ 0 h 1970826"/>
              <a:gd name="connsiteX6" fmla="*/ 1066369 w 1971297"/>
              <a:gd name="connsiteY6" fmla="*/ 0 h 1970826"/>
              <a:gd name="connsiteX7" fmla="*/ 1101456 w 1971297"/>
              <a:gd name="connsiteY7" fmla="*/ 199018 h 1970826"/>
              <a:gd name="connsiteX8" fmla="*/ 1149113 w 1971297"/>
              <a:gd name="connsiteY8" fmla="*/ 208521 h 1970826"/>
              <a:gd name="connsiteX9" fmla="*/ 1245734 w 1971297"/>
              <a:gd name="connsiteY9" fmla="*/ 36367 h 1970826"/>
              <a:gd name="connsiteX10" fmla="*/ 1396309 w 1971297"/>
              <a:gd name="connsiteY10" fmla="*/ 90716 h 1970826"/>
              <a:gd name="connsiteX11" fmla="*/ 1364293 w 1971297"/>
              <a:gd name="connsiteY11" fmla="*/ 287523 h 1970826"/>
              <a:gd name="connsiteX12" fmla="*/ 1403197 w 1971297"/>
              <a:gd name="connsiteY12" fmla="*/ 308843 h 1970826"/>
              <a:gd name="connsiteX13" fmla="*/ 1558001 w 1971297"/>
              <a:gd name="connsiteY13" fmla="*/ 178940 h 1970826"/>
              <a:gd name="connsiteX14" fmla="*/ 1681671 w 1971297"/>
              <a:gd name="connsiteY14" fmla="*/ 282712 h 1970826"/>
              <a:gd name="connsiteX15" fmla="*/ 1580623 w 1971297"/>
              <a:gd name="connsiteY15" fmla="*/ 457722 h 1970826"/>
              <a:gd name="connsiteX16" fmla="*/ 1610608 w 1971297"/>
              <a:gd name="connsiteY16" fmla="*/ 499270 h 1970826"/>
              <a:gd name="connsiteX17" fmla="*/ 1802874 w 1971297"/>
              <a:gd name="connsiteY17" fmla="*/ 433067 h 1970826"/>
              <a:gd name="connsiteX18" fmla="*/ 1881963 w 1971297"/>
              <a:gd name="connsiteY18" fmla="*/ 572248 h 1970826"/>
              <a:gd name="connsiteX19" fmla="*/ 1726590 w 1971297"/>
              <a:gd name="connsiteY19" fmla="*/ 698353 h 1970826"/>
              <a:gd name="connsiteX20" fmla="*/ 1741176 w 1971297"/>
              <a:gd name="connsiteY20" fmla="*/ 735808 h 1970826"/>
              <a:gd name="connsiteX21" fmla="*/ 1943264 w 1971297"/>
              <a:gd name="connsiteY21" fmla="*/ 735802 h 1970826"/>
              <a:gd name="connsiteX22" fmla="*/ 1971297 w 1971297"/>
              <a:gd name="connsiteY22" fmla="*/ 894790 h 1970826"/>
              <a:gd name="connsiteX23" fmla="*/ 1781396 w 1971297"/>
              <a:gd name="connsiteY23" fmla="*/ 963903 h 1970826"/>
              <a:gd name="connsiteX24" fmla="*/ 1780264 w 1971297"/>
              <a:gd name="connsiteY24" fmla="*/ 1014677 h 1970826"/>
              <a:gd name="connsiteX25" fmla="*/ 1969010 w 1971297"/>
              <a:gd name="connsiteY25" fmla="*/ 1087130 h 1970826"/>
              <a:gd name="connsiteX26" fmla="*/ 1940132 w 1971297"/>
              <a:gd name="connsiteY26" fmla="*/ 1244586 h 1970826"/>
              <a:gd name="connsiteX27" fmla="*/ 1738798 w 1971297"/>
              <a:gd name="connsiteY27" fmla="*/ 1241295 h 1970826"/>
              <a:gd name="connsiteX28" fmla="*/ 1725636 w 1971297"/>
              <a:gd name="connsiteY28" fmla="*/ 1280130 h 1970826"/>
              <a:gd name="connsiteX29" fmla="*/ 1880447 w 1971297"/>
              <a:gd name="connsiteY29" fmla="*/ 1410026 h 1970826"/>
              <a:gd name="connsiteX30" fmla="*/ 1799727 w 1971297"/>
              <a:gd name="connsiteY30" fmla="*/ 1549837 h 1970826"/>
              <a:gd name="connsiteX31" fmla="*/ 1609829 w 1971297"/>
              <a:gd name="connsiteY31" fmla="*/ 1480714 h 1970826"/>
              <a:gd name="connsiteX32" fmla="*/ 1579151 w 1971297"/>
              <a:gd name="connsiteY32" fmla="*/ 1512281 h 1970826"/>
              <a:gd name="connsiteX33" fmla="*/ 1677610 w 1971297"/>
              <a:gd name="connsiteY33" fmla="*/ 1689905 h 1970826"/>
              <a:gd name="connsiteX34" fmla="*/ 1554277 w 1971297"/>
              <a:gd name="connsiteY34" fmla="*/ 1791961 h 1970826"/>
              <a:gd name="connsiteX35" fmla="*/ 1402854 w 1971297"/>
              <a:gd name="connsiteY35" fmla="*/ 1660626 h 1970826"/>
              <a:gd name="connsiteX36" fmla="*/ 1363848 w 1971297"/>
              <a:gd name="connsiteY36" fmla="*/ 1687117 h 1970826"/>
              <a:gd name="connsiteX37" fmla="*/ 1398945 w 1971297"/>
              <a:gd name="connsiteY37" fmla="*/ 1886133 h 1970826"/>
              <a:gd name="connsiteX38" fmla="*/ 1247240 w 1971297"/>
              <a:gd name="connsiteY38" fmla="*/ 1941349 h 1970826"/>
              <a:gd name="connsiteX39" fmla="*/ 1146202 w 1971297"/>
              <a:gd name="connsiteY39" fmla="*/ 1766334 h 1970826"/>
              <a:gd name="connsiteX40" fmla="*/ 1100680 w 1971297"/>
              <a:gd name="connsiteY40" fmla="*/ 1773318 h 1970826"/>
              <a:gd name="connsiteX41" fmla="*/ 1062288 w 1971297"/>
              <a:gd name="connsiteY41" fmla="*/ 1970826 h 1970826"/>
              <a:gd name="connsiteX42" fmla="*/ 902210 w 1971297"/>
              <a:gd name="connsiteY42" fmla="*/ 1969728 h 1970826"/>
              <a:gd name="connsiteX43" fmla="*/ 870884 w 1971297"/>
              <a:gd name="connsiteY43" fmla="*/ 1773359 h 1970826"/>
              <a:gd name="connsiteX44" fmla="*/ 825096 w 1971297"/>
              <a:gd name="connsiteY44" fmla="*/ 1766334 h 1970826"/>
              <a:gd name="connsiteX45" fmla="*/ 724057 w 1971297"/>
              <a:gd name="connsiteY45" fmla="*/ 1941349 h 1970826"/>
              <a:gd name="connsiteX46" fmla="*/ 572352 w 1971297"/>
              <a:gd name="connsiteY46" fmla="*/ 1886133 h 1970826"/>
              <a:gd name="connsiteX47" fmla="*/ 607450 w 1971297"/>
              <a:gd name="connsiteY47" fmla="*/ 1687117 h 1970826"/>
              <a:gd name="connsiteX48" fmla="*/ 571181 w 1971297"/>
              <a:gd name="connsiteY48" fmla="*/ 1662485 h 1970826"/>
              <a:gd name="connsiteX49" fmla="*/ 421150 w 1971297"/>
              <a:gd name="connsiteY49" fmla="*/ 1792613 h 1970826"/>
              <a:gd name="connsiteX50" fmla="*/ 297817 w 1971297"/>
              <a:gd name="connsiteY50" fmla="*/ 1690557 h 1970826"/>
              <a:gd name="connsiteX51" fmla="*/ 395006 w 1971297"/>
              <a:gd name="connsiteY51" fmla="*/ 1515223 h 1970826"/>
              <a:gd name="connsiteX52" fmla="*/ 361468 w 1971297"/>
              <a:gd name="connsiteY52" fmla="*/ 1480715 h 1970826"/>
              <a:gd name="connsiteX53" fmla="*/ 171570 w 1971297"/>
              <a:gd name="connsiteY53" fmla="*/ 1549837 h 1970826"/>
              <a:gd name="connsiteX54" fmla="*/ 90850 w 1971297"/>
              <a:gd name="connsiteY54" fmla="*/ 1410026 h 1970826"/>
              <a:gd name="connsiteX55" fmla="*/ 245661 w 1971297"/>
              <a:gd name="connsiteY55" fmla="*/ 1280131 h 1970826"/>
              <a:gd name="connsiteX56" fmla="*/ 233972 w 1971297"/>
              <a:gd name="connsiteY56" fmla="*/ 1245643 h 1970826"/>
              <a:gd name="connsiteX57" fmla="*/ 31451 w 1971297"/>
              <a:gd name="connsiteY57" fmla="*/ 1248953 h 1970826"/>
              <a:gd name="connsiteX58" fmla="*/ 2573 w 1971297"/>
              <a:gd name="connsiteY58" fmla="*/ 1091497 h 1970826"/>
              <a:gd name="connsiteX59" fmla="*/ 191133 w 1971297"/>
              <a:gd name="connsiteY59" fmla="*/ 1019115 h 1970826"/>
              <a:gd name="connsiteX60" fmla="*/ 189902 w 1971297"/>
              <a:gd name="connsiteY60" fmla="*/ 963904 h 1970826"/>
              <a:gd name="connsiteX61" fmla="*/ 0 w 1971297"/>
              <a:gd name="connsiteY61" fmla="*/ 894790 h 1970826"/>
              <a:gd name="connsiteX62" fmla="*/ 28034 w 1971297"/>
              <a:gd name="connsiteY62" fmla="*/ 735802 h 1970826"/>
              <a:gd name="connsiteX63" fmla="*/ 230121 w 1971297"/>
              <a:gd name="connsiteY63" fmla="*/ 735808 h 1970826"/>
              <a:gd name="connsiteX64" fmla="*/ 240919 w 1971297"/>
              <a:gd name="connsiteY64" fmla="*/ 708079 h 1970826"/>
              <a:gd name="connsiteX65" fmla="*/ 84936 w 1971297"/>
              <a:gd name="connsiteY65" fmla="*/ 585933 h 1970826"/>
              <a:gd name="connsiteX66" fmla="*/ 161584 w 1971297"/>
              <a:gd name="connsiteY66" fmla="*/ 445393 h 1970826"/>
              <a:gd name="connsiteX67" fmla="*/ 354366 w 1971297"/>
              <a:gd name="connsiteY67" fmla="*/ 508031 h 1970826"/>
              <a:gd name="connsiteX68" fmla="*/ 390674 w 1971297"/>
              <a:gd name="connsiteY68" fmla="*/ 457722 h 1970826"/>
              <a:gd name="connsiteX69" fmla="*/ 289626 w 1971297"/>
              <a:gd name="connsiteY69" fmla="*/ 282712 h 1970826"/>
              <a:gd name="connsiteX70" fmla="*/ 413297 w 1971297"/>
              <a:gd name="connsiteY70" fmla="*/ 178940 h 1970826"/>
              <a:gd name="connsiteX71" fmla="*/ 568101 w 1971297"/>
              <a:gd name="connsiteY71" fmla="*/ 308843 h 1970826"/>
              <a:gd name="connsiteX72" fmla="*/ 611018 w 1971297"/>
              <a:gd name="connsiteY72" fmla="*/ 285324 h 1970826"/>
              <a:gd name="connsiteX73" fmla="*/ 576674 w 1971297"/>
              <a:gd name="connsiteY73" fmla="*/ 89277 h 1970826"/>
              <a:gd name="connsiteX74" fmla="*/ 727674 w 1971297"/>
              <a:gd name="connsiteY74" fmla="*/ 36123 h 1970826"/>
              <a:gd name="connsiteX75" fmla="*/ 826689 w 1971297"/>
              <a:gd name="connsiteY75" fmla="*/ 207623 h 1970826"/>
              <a:gd name="connsiteX76" fmla="*/ 869841 w 1971297"/>
              <a:gd name="connsiteY76" fmla="*/ 199018 h 1970826"/>
              <a:gd name="connsiteX77" fmla="*/ 904928 w 1971297"/>
              <a:gd name="connsiteY77"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985649 w 1971297"/>
              <a:gd name="connsiteY3" fmla="*/ 323553 h 1970826"/>
              <a:gd name="connsiteX4" fmla="*/ 904928 w 1971297"/>
              <a:gd name="connsiteY4" fmla="*/ 0 h 1970826"/>
              <a:gd name="connsiteX5" fmla="*/ 1066369 w 1971297"/>
              <a:gd name="connsiteY5" fmla="*/ 0 h 1970826"/>
              <a:gd name="connsiteX6" fmla="*/ 1101456 w 1971297"/>
              <a:gd name="connsiteY6" fmla="*/ 199018 h 1970826"/>
              <a:gd name="connsiteX7" fmla="*/ 1149113 w 1971297"/>
              <a:gd name="connsiteY7" fmla="*/ 208521 h 1970826"/>
              <a:gd name="connsiteX8" fmla="*/ 1245734 w 1971297"/>
              <a:gd name="connsiteY8" fmla="*/ 36367 h 1970826"/>
              <a:gd name="connsiteX9" fmla="*/ 1396309 w 1971297"/>
              <a:gd name="connsiteY9" fmla="*/ 90716 h 1970826"/>
              <a:gd name="connsiteX10" fmla="*/ 1364293 w 1971297"/>
              <a:gd name="connsiteY10" fmla="*/ 287523 h 1970826"/>
              <a:gd name="connsiteX11" fmla="*/ 1403197 w 1971297"/>
              <a:gd name="connsiteY11" fmla="*/ 308843 h 1970826"/>
              <a:gd name="connsiteX12" fmla="*/ 1558001 w 1971297"/>
              <a:gd name="connsiteY12" fmla="*/ 178940 h 1970826"/>
              <a:gd name="connsiteX13" fmla="*/ 1681671 w 1971297"/>
              <a:gd name="connsiteY13" fmla="*/ 282712 h 1970826"/>
              <a:gd name="connsiteX14" fmla="*/ 1580623 w 1971297"/>
              <a:gd name="connsiteY14" fmla="*/ 457722 h 1970826"/>
              <a:gd name="connsiteX15" fmla="*/ 1610608 w 1971297"/>
              <a:gd name="connsiteY15" fmla="*/ 499270 h 1970826"/>
              <a:gd name="connsiteX16" fmla="*/ 1802874 w 1971297"/>
              <a:gd name="connsiteY16" fmla="*/ 433067 h 1970826"/>
              <a:gd name="connsiteX17" fmla="*/ 1881963 w 1971297"/>
              <a:gd name="connsiteY17" fmla="*/ 572248 h 1970826"/>
              <a:gd name="connsiteX18" fmla="*/ 1726590 w 1971297"/>
              <a:gd name="connsiteY18" fmla="*/ 698353 h 1970826"/>
              <a:gd name="connsiteX19" fmla="*/ 1741176 w 1971297"/>
              <a:gd name="connsiteY19" fmla="*/ 735808 h 1970826"/>
              <a:gd name="connsiteX20" fmla="*/ 1943264 w 1971297"/>
              <a:gd name="connsiteY20" fmla="*/ 735802 h 1970826"/>
              <a:gd name="connsiteX21" fmla="*/ 1971297 w 1971297"/>
              <a:gd name="connsiteY21" fmla="*/ 894790 h 1970826"/>
              <a:gd name="connsiteX22" fmla="*/ 1781396 w 1971297"/>
              <a:gd name="connsiteY22" fmla="*/ 963903 h 1970826"/>
              <a:gd name="connsiteX23" fmla="*/ 1780264 w 1971297"/>
              <a:gd name="connsiteY23" fmla="*/ 1014677 h 1970826"/>
              <a:gd name="connsiteX24" fmla="*/ 1969010 w 1971297"/>
              <a:gd name="connsiteY24" fmla="*/ 1087130 h 1970826"/>
              <a:gd name="connsiteX25" fmla="*/ 1940132 w 1971297"/>
              <a:gd name="connsiteY25" fmla="*/ 1244586 h 1970826"/>
              <a:gd name="connsiteX26" fmla="*/ 1738798 w 1971297"/>
              <a:gd name="connsiteY26" fmla="*/ 1241295 h 1970826"/>
              <a:gd name="connsiteX27" fmla="*/ 1725636 w 1971297"/>
              <a:gd name="connsiteY27" fmla="*/ 1280130 h 1970826"/>
              <a:gd name="connsiteX28" fmla="*/ 1880447 w 1971297"/>
              <a:gd name="connsiteY28" fmla="*/ 1410026 h 1970826"/>
              <a:gd name="connsiteX29" fmla="*/ 1799727 w 1971297"/>
              <a:gd name="connsiteY29" fmla="*/ 1549837 h 1970826"/>
              <a:gd name="connsiteX30" fmla="*/ 1609829 w 1971297"/>
              <a:gd name="connsiteY30" fmla="*/ 1480714 h 1970826"/>
              <a:gd name="connsiteX31" fmla="*/ 1579151 w 1971297"/>
              <a:gd name="connsiteY31" fmla="*/ 1512281 h 1970826"/>
              <a:gd name="connsiteX32" fmla="*/ 1677610 w 1971297"/>
              <a:gd name="connsiteY32" fmla="*/ 1689905 h 1970826"/>
              <a:gd name="connsiteX33" fmla="*/ 1554277 w 1971297"/>
              <a:gd name="connsiteY33" fmla="*/ 1791961 h 1970826"/>
              <a:gd name="connsiteX34" fmla="*/ 1402854 w 1971297"/>
              <a:gd name="connsiteY34" fmla="*/ 1660626 h 1970826"/>
              <a:gd name="connsiteX35" fmla="*/ 1363848 w 1971297"/>
              <a:gd name="connsiteY35" fmla="*/ 1687117 h 1970826"/>
              <a:gd name="connsiteX36" fmla="*/ 1398945 w 1971297"/>
              <a:gd name="connsiteY36" fmla="*/ 1886133 h 1970826"/>
              <a:gd name="connsiteX37" fmla="*/ 1247240 w 1971297"/>
              <a:gd name="connsiteY37" fmla="*/ 1941349 h 1970826"/>
              <a:gd name="connsiteX38" fmla="*/ 1146202 w 1971297"/>
              <a:gd name="connsiteY38" fmla="*/ 1766334 h 1970826"/>
              <a:gd name="connsiteX39" fmla="*/ 1100680 w 1971297"/>
              <a:gd name="connsiteY39" fmla="*/ 1773318 h 1970826"/>
              <a:gd name="connsiteX40" fmla="*/ 1062288 w 1971297"/>
              <a:gd name="connsiteY40" fmla="*/ 1970826 h 1970826"/>
              <a:gd name="connsiteX41" fmla="*/ 902210 w 1971297"/>
              <a:gd name="connsiteY41" fmla="*/ 1969728 h 1970826"/>
              <a:gd name="connsiteX42" fmla="*/ 870884 w 1971297"/>
              <a:gd name="connsiteY42" fmla="*/ 1773359 h 1970826"/>
              <a:gd name="connsiteX43" fmla="*/ 825096 w 1971297"/>
              <a:gd name="connsiteY43" fmla="*/ 1766334 h 1970826"/>
              <a:gd name="connsiteX44" fmla="*/ 724057 w 1971297"/>
              <a:gd name="connsiteY44" fmla="*/ 1941349 h 1970826"/>
              <a:gd name="connsiteX45" fmla="*/ 572352 w 1971297"/>
              <a:gd name="connsiteY45" fmla="*/ 1886133 h 1970826"/>
              <a:gd name="connsiteX46" fmla="*/ 607450 w 1971297"/>
              <a:gd name="connsiteY46" fmla="*/ 1687117 h 1970826"/>
              <a:gd name="connsiteX47" fmla="*/ 571181 w 1971297"/>
              <a:gd name="connsiteY47" fmla="*/ 1662485 h 1970826"/>
              <a:gd name="connsiteX48" fmla="*/ 421150 w 1971297"/>
              <a:gd name="connsiteY48" fmla="*/ 1792613 h 1970826"/>
              <a:gd name="connsiteX49" fmla="*/ 297817 w 1971297"/>
              <a:gd name="connsiteY49" fmla="*/ 1690557 h 1970826"/>
              <a:gd name="connsiteX50" fmla="*/ 395006 w 1971297"/>
              <a:gd name="connsiteY50" fmla="*/ 1515223 h 1970826"/>
              <a:gd name="connsiteX51" fmla="*/ 361468 w 1971297"/>
              <a:gd name="connsiteY51" fmla="*/ 1480715 h 1970826"/>
              <a:gd name="connsiteX52" fmla="*/ 171570 w 1971297"/>
              <a:gd name="connsiteY52" fmla="*/ 1549837 h 1970826"/>
              <a:gd name="connsiteX53" fmla="*/ 90850 w 1971297"/>
              <a:gd name="connsiteY53" fmla="*/ 1410026 h 1970826"/>
              <a:gd name="connsiteX54" fmla="*/ 245661 w 1971297"/>
              <a:gd name="connsiteY54" fmla="*/ 1280131 h 1970826"/>
              <a:gd name="connsiteX55" fmla="*/ 233972 w 1971297"/>
              <a:gd name="connsiteY55" fmla="*/ 1245643 h 1970826"/>
              <a:gd name="connsiteX56" fmla="*/ 31451 w 1971297"/>
              <a:gd name="connsiteY56" fmla="*/ 1248953 h 1970826"/>
              <a:gd name="connsiteX57" fmla="*/ 2573 w 1971297"/>
              <a:gd name="connsiteY57" fmla="*/ 1091497 h 1970826"/>
              <a:gd name="connsiteX58" fmla="*/ 191133 w 1971297"/>
              <a:gd name="connsiteY58" fmla="*/ 1019115 h 1970826"/>
              <a:gd name="connsiteX59" fmla="*/ 189902 w 1971297"/>
              <a:gd name="connsiteY59" fmla="*/ 963904 h 1970826"/>
              <a:gd name="connsiteX60" fmla="*/ 0 w 1971297"/>
              <a:gd name="connsiteY60" fmla="*/ 894790 h 1970826"/>
              <a:gd name="connsiteX61" fmla="*/ 28034 w 1971297"/>
              <a:gd name="connsiteY61" fmla="*/ 735802 h 1970826"/>
              <a:gd name="connsiteX62" fmla="*/ 230121 w 1971297"/>
              <a:gd name="connsiteY62" fmla="*/ 735808 h 1970826"/>
              <a:gd name="connsiteX63" fmla="*/ 240919 w 1971297"/>
              <a:gd name="connsiteY63" fmla="*/ 708079 h 1970826"/>
              <a:gd name="connsiteX64" fmla="*/ 84936 w 1971297"/>
              <a:gd name="connsiteY64" fmla="*/ 585933 h 1970826"/>
              <a:gd name="connsiteX65" fmla="*/ 161584 w 1971297"/>
              <a:gd name="connsiteY65" fmla="*/ 445393 h 1970826"/>
              <a:gd name="connsiteX66" fmla="*/ 354366 w 1971297"/>
              <a:gd name="connsiteY66" fmla="*/ 508031 h 1970826"/>
              <a:gd name="connsiteX67" fmla="*/ 390674 w 1971297"/>
              <a:gd name="connsiteY67" fmla="*/ 457722 h 1970826"/>
              <a:gd name="connsiteX68" fmla="*/ 289626 w 1971297"/>
              <a:gd name="connsiteY68" fmla="*/ 282712 h 1970826"/>
              <a:gd name="connsiteX69" fmla="*/ 413297 w 1971297"/>
              <a:gd name="connsiteY69" fmla="*/ 178940 h 1970826"/>
              <a:gd name="connsiteX70" fmla="*/ 568101 w 1971297"/>
              <a:gd name="connsiteY70" fmla="*/ 308843 h 1970826"/>
              <a:gd name="connsiteX71" fmla="*/ 611018 w 1971297"/>
              <a:gd name="connsiteY71" fmla="*/ 285324 h 1970826"/>
              <a:gd name="connsiteX72" fmla="*/ 576674 w 1971297"/>
              <a:gd name="connsiteY72" fmla="*/ 89277 h 1970826"/>
              <a:gd name="connsiteX73" fmla="*/ 727674 w 1971297"/>
              <a:gd name="connsiteY73" fmla="*/ 36123 h 1970826"/>
              <a:gd name="connsiteX74" fmla="*/ 826689 w 1971297"/>
              <a:gd name="connsiteY74" fmla="*/ 207623 h 1970826"/>
              <a:gd name="connsiteX75" fmla="*/ 869841 w 1971297"/>
              <a:gd name="connsiteY75" fmla="*/ 199018 h 1970826"/>
              <a:gd name="connsiteX76" fmla="*/ 904928 w 1971297"/>
              <a:gd name="connsiteY76" fmla="*/ 0 h 1970826"/>
              <a:gd name="connsiteX0" fmla="*/ 985649 w 1971297"/>
              <a:gd name="connsiteY0" fmla="*/ 323553 h 1970826"/>
              <a:gd name="connsiteX1" fmla="*/ 322581 w 1971297"/>
              <a:gd name="connsiteY1" fmla="*/ 986621 h 1970826"/>
              <a:gd name="connsiteX2" fmla="*/ 985649 w 1971297"/>
              <a:gd name="connsiteY2" fmla="*/ 323553 h 1970826"/>
              <a:gd name="connsiteX3" fmla="*/ 904928 w 1971297"/>
              <a:gd name="connsiteY3" fmla="*/ 0 h 1970826"/>
              <a:gd name="connsiteX4" fmla="*/ 1066369 w 1971297"/>
              <a:gd name="connsiteY4" fmla="*/ 0 h 1970826"/>
              <a:gd name="connsiteX5" fmla="*/ 1101456 w 1971297"/>
              <a:gd name="connsiteY5" fmla="*/ 199018 h 1970826"/>
              <a:gd name="connsiteX6" fmla="*/ 1149113 w 1971297"/>
              <a:gd name="connsiteY6" fmla="*/ 208521 h 1970826"/>
              <a:gd name="connsiteX7" fmla="*/ 1245734 w 1971297"/>
              <a:gd name="connsiteY7" fmla="*/ 36367 h 1970826"/>
              <a:gd name="connsiteX8" fmla="*/ 1396309 w 1971297"/>
              <a:gd name="connsiteY8" fmla="*/ 90716 h 1970826"/>
              <a:gd name="connsiteX9" fmla="*/ 1364293 w 1971297"/>
              <a:gd name="connsiteY9" fmla="*/ 287523 h 1970826"/>
              <a:gd name="connsiteX10" fmla="*/ 1403197 w 1971297"/>
              <a:gd name="connsiteY10" fmla="*/ 308843 h 1970826"/>
              <a:gd name="connsiteX11" fmla="*/ 1558001 w 1971297"/>
              <a:gd name="connsiteY11" fmla="*/ 178940 h 1970826"/>
              <a:gd name="connsiteX12" fmla="*/ 1681671 w 1971297"/>
              <a:gd name="connsiteY12" fmla="*/ 282712 h 1970826"/>
              <a:gd name="connsiteX13" fmla="*/ 1580623 w 1971297"/>
              <a:gd name="connsiteY13" fmla="*/ 457722 h 1970826"/>
              <a:gd name="connsiteX14" fmla="*/ 1610608 w 1971297"/>
              <a:gd name="connsiteY14" fmla="*/ 499270 h 1970826"/>
              <a:gd name="connsiteX15" fmla="*/ 1802874 w 1971297"/>
              <a:gd name="connsiteY15" fmla="*/ 433067 h 1970826"/>
              <a:gd name="connsiteX16" fmla="*/ 1881963 w 1971297"/>
              <a:gd name="connsiteY16" fmla="*/ 572248 h 1970826"/>
              <a:gd name="connsiteX17" fmla="*/ 1726590 w 1971297"/>
              <a:gd name="connsiteY17" fmla="*/ 698353 h 1970826"/>
              <a:gd name="connsiteX18" fmla="*/ 1741176 w 1971297"/>
              <a:gd name="connsiteY18" fmla="*/ 735808 h 1970826"/>
              <a:gd name="connsiteX19" fmla="*/ 1943264 w 1971297"/>
              <a:gd name="connsiteY19" fmla="*/ 735802 h 1970826"/>
              <a:gd name="connsiteX20" fmla="*/ 1971297 w 1971297"/>
              <a:gd name="connsiteY20" fmla="*/ 894790 h 1970826"/>
              <a:gd name="connsiteX21" fmla="*/ 1781396 w 1971297"/>
              <a:gd name="connsiteY21" fmla="*/ 963903 h 1970826"/>
              <a:gd name="connsiteX22" fmla="*/ 1780264 w 1971297"/>
              <a:gd name="connsiteY22" fmla="*/ 1014677 h 1970826"/>
              <a:gd name="connsiteX23" fmla="*/ 1969010 w 1971297"/>
              <a:gd name="connsiteY23" fmla="*/ 1087130 h 1970826"/>
              <a:gd name="connsiteX24" fmla="*/ 1940132 w 1971297"/>
              <a:gd name="connsiteY24" fmla="*/ 1244586 h 1970826"/>
              <a:gd name="connsiteX25" fmla="*/ 1738798 w 1971297"/>
              <a:gd name="connsiteY25" fmla="*/ 1241295 h 1970826"/>
              <a:gd name="connsiteX26" fmla="*/ 1725636 w 1971297"/>
              <a:gd name="connsiteY26" fmla="*/ 1280130 h 1970826"/>
              <a:gd name="connsiteX27" fmla="*/ 1880447 w 1971297"/>
              <a:gd name="connsiteY27" fmla="*/ 1410026 h 1970826"/>
              <a:gd name="connsiteX28" fmla="*/ 1799727 w 1971297"/>
              <a:gd name="connsiteY28" fmla="*/ 1549837 h 1970826"/>
              <a:gd name="connsiteX29" fmla="*/ 1609829 w 1971297"/>
              <a:gd name="connsiteY29" fmla="*/ 1480714 h 1970826"/>
              <a:gd name="connsiteX30" fmla="*/ 1579151 w 1971297"/>
              <a:gd name="connsiteY30" fmla="*/ 1512281 h 1970826"/>
              <a:gd name="connsiteX31" fmla="*/ 1677610 w 1971297"/>
              <a:gd name="connsiteY31" fmla="*/ 1689905 h 1970826"/>
              <a:gd name="connsiteX32" fmla="*/ 1554277 w 1971297"/>
              <a:gd name="connsiteY32" fmla="*/ 1791961 h 1970826"/>
              <a:gd name="connsiteX33" fmla="*/ 1402854 w 1971297"/>
              <a:gd name="connsiteY33" fmla="*/ 1660626 h 1970826"/>
              <a:gd name="connsiteX34" fmla="*/ 1363848 w 1971297"/>
              <a:gd name="connsiteY34" fmla="*/ 1687117 h 1970826"/>
              <a:gd name="connsiteX35" fmla="*/ 1398945 w 1971297"/>
              <a:gd name="connsiteY35" fmla="*/ 1886133 h 1970826"/>
              <a:gd name="connsiteX36" fmla="*/ 1247240 w 1971297"/>
              <a:gd name="connsiteY36" fmla="*/ 1941349 h 1970826"/>
              <a:gd name="connsiteX37" fmla="*/ 1146202 w 1971297"/>
              <a:gd name="connsiteY37" fmla="*/ 1766334 h 1970826"/>
              <a:gd name="connsiteX38" fmla="*/ 1100680 w 1971297"/>
              <a:gd name="connsiteY38" fmla="*/ 1773318 h 1970826"/>
              <a:gd name="connsiteX39" fmla="*/ 1062288 w 1971297"/>
              <a:gd name="connsiteY39" fmla="*/ 1970826 h 1970826"/>
              <a:gd name="connsiteX40" fmla="*/ 902210 w 1971297"/>
              <a:gd name="connsiteY40" fmla="*/ 1969728 h 1970826"/>
              <a:gd name="connsiteX41" fmla="*/ 870884 w 1971297"/>
              <a:gd name="connsiteY41" fmla="*/ 1773359 h 1970826"/>
              <a:gd name="connsiteX42" fmla="*/ 825096 w 1971297"/>
              <a:gd name="connsiteY42" fmla="*/ 1766334 h 1970826"/>
              <a:gd name="connsiteX43" fmla="*/ 724057 w 1971297"/>
              <a:gd name="connsiteY43" fmla="*/ 1941349 h 1970826"/>
              <a:gd name="connsiteX44" fmla="*/ 572352 w 1971297"/>
              <a:gd name="connsiteY44" fmla="*/ 1886133 h 1970826"/>
              <a:gd name="connsiteX45" fmla="*/ 607450 w 1971297"/>
              <a:gd name="connsiteY45" fmla="*/ 1687117 h 1970826"/>
              <a:gd name="connsiteX46" fmla="*/ 571181 w 1971297"/>
              <a:gd name="connsiteY46" fmla="*/ 1662485 h 1970826"/>
              <a:gd name="connsiteX47" fmla="*/ 421150 w 1971297"/>
              <a:gd name="connsiteY47" fmla="*/ 1792613 h 1970826"/>
              <a:gd name="connsiteX48" fmla="*/ 297817 w 1971297"/>
              <a:gd name="connsiteY48" fmla="*/ 1690557 h 1970826"/>
              <a:gd name="connsiteX49" fmla="*/ 395006 w 1971297"/>
              <a:gd name="connsiteY49" fmla="*/ 1515223 h 1970826"/>
              <a:gd name="connsiteX50" fmla="*/ 361468 w 1971297"/>
              <a:gd name="connsiteY50" fmla="*/ 1480715 h 1970826"/>
              <a:gd name="connsiteX51" fmla="*/ 171570 w 1971297"/>
              <a:gd name="connsiteY51" fmla="*/ 1549837 h 1970826"/>
              <a:gd name="connsiteX52" fmla="*/ 90850 w 1971297"/>
              <a:gd name="connsiteY52" fmla="*/ 1410026 h 1970826"/>
              <a:gd name="connsiteX53" fmla="*/ 245661 w 1971297"/>
              <a:gd name="connsiteY53" fmla="*/ 1280131 h 1970826"/>
              <a:gd name="connsiteX54" fmla="*/ 233972 w 1971297"/>
              <a:gd name="connsiteY54" fmla="*/ 1245643 h 1970826"/>
              <a:gd name="connsiteX55" fmla="*/ 31451 w 1971297"/>
              <a:gd name="connsiteY55" fmla="*/ 1248953 h 1970826"/>
              <a:gd name="connsiteX56" fmla="*/ 2573 w 1971297"/>
              <a:gd name="connsiteY56" fmla="*/ 1091497 h 1970826"/>
              <a:gd name="connsiteX57" fmla="*/ 191133 w 1971297"/>
              <a:gd name="connsiteY57" fmla="*/ 1019115 h 1970826"/>
              <a:gd name="connsiteX58" fmla="*/ 189902 w 1971297"/>
              <a:gd name="connsiteY58" fmla="*/ 963904 h 1970826"/>
              <a:gd name="connsiteX59" fmla="*/ 0 w 1971297"/>
              <a:gd name="connsiteY59" fmla="*/ 894790 h 1970826"/>
              <a:gd name="connsiteX60" fmla="*/ 28034 w 1971297"/>
              <a:gd name="connsiteY60" fmla="*/ 735802 h 1970826"/>
              <a:gd name="connsiteX61" fmla="*/ 230121 w 1971297"/>
              <a:gd name="connsiteY61" fmla="*/ 735808 h 1970826"/>
              <a:gd name="connsiteX62" fmla="*/ 240919 w 1971297"/>
              <a:gd name="connsiteY62" fmla="*/ 708079 h 1970826"/>
              <a:gd name="connsiteX63" fmla="*/ 84936 w 1971297"/>
              <a:gd name="connsiteY63" fmla="*/ 585933 h 1970826"/>
              <a:gd name="connsiteX64" fmla="*/ 161584 w 1971297"/>
              <a:gd name="connsiteY64" fmla="*/ 445393 h 1970826"/>
              <a:gd name="connsiteX65" fmla="*/ 354366 w 1971297"/>
              <a:gd name="connsiteY65" fmla="*/ 508031 h 1970826"/>
              <a:gd name="connsiteX66" fmla="*/ 390674 w 1971297"/>
              <a:gd name="connsiteY66" fmla="*/ 457722 h 1970826"/>
              <a:gd name="connsiteX67" fmla="*/ 289626 w 1971297"/>
              <a:gd name="connsiteY67" fmla="*/ 282712 h 1970826"/>
              <a:gd name="connsiteX68" fmla="*/ 413297 w 1971297"/>
              <a:gd name="connsiteY68" fmla="*/ 178940 h 1970826"/>
              <a:gd name="connsiteX69" fmla="*/ 568101 w 1971297"/>
              <a:gd name="connsiteY69" fmla="*/ 308843 h 1970826"/>
              <a:gd name="connsiteX70" fmla="*/ 611018 w 1971297"/>
              <a:gd name="connsiteY70" fmla="*/ 285324 h 1970826"/>
              <a:gd name="connsiteX71" fmla="*/ 576674 w 1971297"/>
              <a:gd name="connsiteY71" fmla="*/ 89277 h 1970826"/>
              <a:gd name="connsiteX72" fmla="*/ 727674 w 1971297"/>
              <a:gd name="connsiteY72" fmla="*/ 36123 h 1970826"/>
              <a:gd name="connsiteX73" fmla="*/ 826689 w 1971297"/>
              <a:gd name="connsiteY73" fmla="*/ 207623 h 1970826"/>
              <a:gd name="connsiteX74" fmla="*/ 869841 w 1971297"/>
              <a:gd name="connsiteY74" fmla="*/ 199018 h 1970826"/>
              <a:gd name="connsiteX75" fmla="*/ 904928 w 1971297"/>
              <a:gd name="connsiteY75" fmla="*/ 0 h 1970826"/>
              <a:gd name="connsiteX0" fmla="*/ 904928 w 1971297"/>
              <a:gd name="connsiteY0" fmla="*/ 0 h 1970826"/>
              <a:gd name="connsiteX1" fmla="*/ 1066369 w 1971297"/>
              <a:gd name="connsiteY1" fmla="*/ 0 h 1970826"/>
              <a:gd name="connsiteX2" fmla="*/ 1101456 w 1971297"/>
              <a:gd name="connsiteY2" fmla="*/ 199018 h 1970826"/>
              <a:gd name="connsiteX3" fmla="*/ 1149113 w 1971297"/>
              <a:gd name="connsiteY3" fmla="*/ 208521 h 1970826"/>
              <a:gd name="connsiteX4" fmla="*/ 1245734 w 1971297"/>
              <a:gd name="connsiteY4" fmla="*/ 36367 h 1970826"/>
              <a:gd name="connsiteX5" fmla="*/ 1396309 w 1971297"/>
              <a:gd name="connsiteY5" fmla="*/ 90716 h 1970826"/>
              <a:gd name="connsiteX6" fmla="*/ 1364293 w 1971297"/>
              <a:gd name="connsiteY6" fmla="*/ 287523 h 1970826"/>
              <a:gd name="connsiteX7" fmla="*/ 1403197 w 1971297"/>
              <a:gd name="connsiteY7" fmla="*/ 308843 h 1970826"/>
              <a:gd name="connsiteX8" fmla="*/ 1558001 w 1971297"/>
              <a:gd name="connsiteY8" fmla="*/ 178940 h 1970826"/>
              <a:gd name="connsiteX9" fmla="*/ 1681671 w 1971297"/>
              <a:gd name="connsiteY9" fmla="*/ 282712 h 1970826"/>
              <a:gd name="connsiteX10" fmla="*/ 1580623 w 1971297"/>
              <a:gd name="connsiteY10" fmla="*/ 457722 h 1970826"/>
              <a:gd name="connsiteX11" fmla="*/ 1610608 w 1971297"/>
              <a:gd name="connsiteY11" fmla="*/ 499270 h 1970826"/>
              <a:gd name="connsiteX12" fmla="*/ 1802874 w 1971297"/>
              <a:gd name="connsiteY12" fmla="*/ 433067 h 1970826"/>
              <a:gd name="connsiteX13" fmla="*/ 1881963 w 1971297"/>
              <a:gd name="connsiteY13" fmla="*/ 572248 h 1970826"/>
              <a:gd name="connsiteX14" fmla="*/ 1726590 w 1971297"/>
              <a:gd name="connsiteY14" fmla="*/ 698353 h 1970826"/>
              <a:gd name="connsiteX15" fmla="*/ 1741176 w 1971297"/>
              <a:gd name="connsiteY15" fmla="*/ 735808 h 1970826"/>
              <a:gd name="connsiteX16" fmla="*/ 1943264 w 1971297"/>
              <a:gd name="connsiteY16" fmla="*/ 735802 h 1970826"/>
              <a:gd name="connsiteX17" fmla="*/ 1971297 w 1971297"/>
              <a:gd name="connsiteY17" fmla="*/ 894790 h 1970826"/>
              <a:gd name="connsiteX18" fmla="*/ 1781396 w 1971297"/>
              <a:gd name="connsiteY18" fmla="*/ 963903 h 1970826"/>
              <a:gd name="connsiteX19" fmla="*/ 1780264 w 1971297"/>
              <a:gd name="connsiteY19" fmla="*/ 1014677 h 1970826"/>
              <a:gd name="connsiteX20" fmla="*/ 1969010 w 1971297"/>
              <a:gd name="connsiteY20" fmla="*/ 1087130 h 1970826"/>
              <a:gd name="connsiteX21" fmla="*/ 1940132 w 1971297"/>
              <a:gd name="connsiteY21" fmla="*/ 1244586 h 1970826"/>
              <a:gd name="connsiteX22" fmla="*/ 1738798 w 1971297"/>
              <a:gd name="connsiteY22" fmla="*/ 1241295 h 1970826"/>
              <a:gd name="connsiteX23" fmla="*/ 1725636 w 1971297"/>
              <a:gd name="connsiteY23" fmla="*/ 1280130 h 1970826"/>
              <a:gd name="connsiteX24" fmla="*/ 1880447 w 1971297"/>
              <a:gd name="connsiteY24" fmla="*/ 1410026 h 1970826"/>
              <a:gd name="connsiteX25" fmla="*/ 1799727 w 1971297"/>
              <a:gd name="connsiteY25" fmla="*/ 1549837 h 1970826"/>
              <a:gd name="connsiteX26" fmla="*/ 1609829 w 1971297"/>
              <a:gd name="connsiteY26" fmla="*/ 1480714 h 1970826"/>
              <a:gd name="connsiteX27" fmla="*/ 1579151 w 1971297"/>
              <a:gd name="connsiteY27" fmla="*/ 1512281 h 1970826"/>
              <a:gd name="connsiteX28" fmla="*/ 1677610 w 1971297"/>
              <a:gd name="connsiteY28" fmla="*/ 1689905 h 1970826"/>
              <a:gd name="connsiteX29" fmla="*/ 1554277 w 1971297"/>
              <a:gd name="connsiteY29" fmla="*/ 1791961 h 1970826"/>
              <a:gd name="connsiteX30" fmla="*/ 1402854 w 1971297"/>
              <a:gd name="connsiteY30" fmla="*/ 1660626 h 1970826"/>
              <a:gd name="connsiteX31" fmla="*/ 1363848 w 1971297"/>
              <a:gd name="connsiteY31" fmla="*/ 1687117 h 1970826"/>
              <a:gd name="connsiteX32" fmla="*/ 1398945 w 1971297"/>
              <a:gd name="connsiteY32" fmla="*/ 1886133 h 1970826"/>
              <a:gd name="connsiteX33" fmla="*/ 1247240 w 1971297"/>
              <a:gd name="connsiteY33" fmla="*/ 1941349 h 1970826"/>
              <a:gd name="connsiteX34" fmla="*/ 1146202 w 1971297"/>
              <a:gd name="connsiteY34" fmla="*/ 1766334 h 1970826"/>
              <a:gd name="connsiteX35" fmla="*/ 1100680 w 1971297"/>
              <a:gd name="connsiteY35" fmla="*/ 1773318 h 1970826"/>
              <a:gd name="connsiteX36" fmla="*/ 1062288 w 1971297"/>
              <a:gd name="connsiteY36" fmla="*/ 1970826 h 1970826"/>
              <a:gd name="connsiteX37" fmla="*/ 902210 w 1971297"/>
              <a:gd name="connsiteY37" fmla="*/ 1969728 h 1970826"/>
              <a:gd name="connsiteX38" fmla="*/ 870884 w 1971297"/>
              <a:gd name="connsiteY38" fmla="*/ 1773359 h 1970826"/>
              <a:gd name="connsiteX39" fmla="*/ 825096 w 1971297"/>
              <a:gd name="connsiteY39" fmla="*/ 1766334 h 1970826"/>
              <a:gd name="connsiteX40" fmla="*/ 724057 w 1971297"/>
              <a:gd name="connsiteY40" fmla="*/ 1941349 h 1970826"/>
              <a:gd name="connsiteX41" fmla="*/ 572352 w 1971297"/>
              <a:gd name="connsiteY41" fmla="*/ 1886133 h 1970826"/>
              <a:gd name="connsiteX42" fmla="*/ 607450 w 1971297"/>
              <a:gd name="connsiteY42" fmla="*/ 1687117 h 1970826"/>
              <a:gd name="connsiteX43" fmla="*/ 571181 w 1971297"/>
              <a:gd name="connsiteY43" fmla="*/ 1662485 h 1970826"/>
              <a:gd name="connsiteX44" fmla="*/ 421150 w 1971297"/>
              <a:gd name="connsiteY44" fmla="*/ 1792613 h 1970826"/>
              <a:gd name="connsiteX45" fmla="*/ 297817 w 1971297"/>
              <a:gd name="connsiteY45" fmla="*/ 1690557 h 1970826"/>
              <a:gd name="connsiteX46" fmla="*/ 395006 w 1971297"/>
              <a:gd name="connsiteY46" fmla="*/ 1515223 h 1970826"/>
              <a:gd name="connsiteX47" fmla="*/ 361468 w 1971297"/>
              <a:gd name="connsiteY47" fmla="*/ 1480715 h 1970826"/>
              <a:gd name="connsiteX48" fmla="*/ 171570 w 1971297"/>
              <a:gd name="connsiteY48" fmla="*/ 1549837 h 1970826"/>
              <a:gd name="connsiteX49" fmla="*/ 90850 w 1971297"/>
              <a:gd name="connsiteY49" fmla="*/ 1410026 h 1970826"/>
              <a:gd name="connsiteX50" fmla="*/ 245661 w 1971297"/>
              <a:gd name="connsiteY50" fmla="*/ 1280131 h 1970826"/>
              <a:gd name="connsiteX51" fmla="*/ 233972 w 1971297"/>
              <a:gd name="connsiteY51" fmla="*/ 1245643 h 1970826"/>
              <a:gd name="connsiteX52" fmla="*/ 31451 w 1971297"/>
              <a:gd name="connsiteY52" fmla="*/ 1248953 h 1970826"/>
              <a:gd name="connsiteX53" fmla="*/ 2573 w 1971297"/>
              <a:gd name="connsiteY53" fmla="*/ 1091497 h 1970826"/>
              <a:gd name="connsiteX54" fmla="*/ 191133 w 1971297"/>
              <a:gd name="connsiteY54" fmla="*/ 1019115 h 1970826"/>
              <a:gd name="connsiteX55" fmla="*/ 189902 w 1971297"/>
              <a:gd name="connsiteY55" fmla="*/ 963904 h 1970826"/>
              <a:gd name="connsiteX56" fmla="*/ 0 w 1971297"/>
              <a:gd name="connsiteY56" fmla="*/ 894790 h 1970826"/>
              <a:gd name="connsiteX57" fmla="*/ 28034 w 1971297"/>
              <a:gd name="connsiteY57" fmla="*/ 735802 h 1970826"/>
              <a:gd name="connsiteX58" fmla="*/ 230121 w 1971297"/>
              <a:gd name="connsiteY58" fmla="*/ 735808 h 1970826"/>
              <a:gd name="connsiteX59" fmla="*/ 240919 w 1971297"/>
              <a:gd name="connsiteY59" fmla="*/ 708079 h 1970826"/>
              <a:gd name="connsiteX60" fmla="*/ 84936 w 1971297"/>
              <a:gd name="connsiteY60" fmla="*/ 585933 h 1970826"/>
              <a:gd name="connsiteX61" fmla="*/ 161584 w 1971297"/>
              <a:gd name="connsiteY61" fmla="*/ 445393 h 1970826"/>
              <a:gd name="connsiteX62" fmla="*/ 354366 w 1971297"/>
              <a:gd name="connsiteY62" fmla="*/ 508031 h 1970826"/>
              <a:gd name="connsiteX63" fmla="*/ 390674 w 1971297"/>
              <a:gd name="connsiteY63" fmla="*/ 457722 h 1970826"/>
              <a:gd name="connsiteX64" fmla="*/ 289626 w 1971297"/>
              <a:gd name="connsiteY64" fmla="*/ 282712 h 1970826"/>
              <a:gd name="connsiteX65" fmla="*/ 413297 w 1971297"/>
              <a:gd name="connsiteY65" fmla="*/ 178940 h 1970826"/>
              <a:gd name="connsiteX66" fmla="*/ 568101 w 1971297"/>
              <a:gd name="connsiteY66" fmla="*/ 308843 h 1970826"/>
              <a:gd name="connsiteX67" fmla="*/ 611018 w 1971297"/>
              <a:gd name="connsiteY67" fmla="*/ 285324 h 1970826"/>
              <a:gd name="connsiteX68" fmla="*/ 576674 w 1971297"/>
              <a:gd name="connsiteY68" fmla="*/ 89277 h 1970826"/>
              <a:gd name="connsiteX69" fmla="*/ 727674 w 1971297"/>
              <a:gd name="connsiteY69" fmla="*/ 36123 h 1970826"/>
              <a:gd name="connsiteX70" fmla="*/ 826689 w 1971297"/>
              <a:gd name="connsiteY70" fmla="*/ 207623 h 1970826"/>
              <a:gd name="connsiteX71" fmla="*/ 869841 w 1971297"/>
              <a:gd name="connsiteY71" fmla="*/ 199018 h 1970826"/>
              <a:gd name="connsiteX72" fmla="*/ 904928 w 1971297"/>
              <a:gd name="connsiteY72" fmla="*/ 0 h 197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971297" h="1970826">
                <a:moveTo>
                  <a:pt x="904928" y="0"/>
                </a:moveTo>
                <a:lnTo>
                  <a:pt x="1066369" y="0"/>
                </a:lnTo>
                <a:lnTo>
                  <a:pt x="1101456" y="199018"/>
                </a:lnTo>
                <a:lnTo>
                  <a:pt x="1149113" y="208521"/>
                </a:lnTo>
                <a:lnTo>
                  <a:pt x="1245734" y="36367"/>
                </a:lnTo>
                <a:lnTo>
                  <a:pt x="1396309" y="90716"/>
                </a:lnTo>
                <a:lnTo>
                  <a:pt x="1364293" y="287523"/>
                </a:lnTo>
                <a:lnTo>
                  <a:pt x="1403197" y="308843"/>
                </a:lnTo>
                <a:lnTo>
                  <a:pt x="1558001" y="178940"/>
                </a:lnTo>
                <a:lnTo>
                  <a:pt x="1681671" y="282712"/>
                </a:lnTo>
                <a:lnTo>
                  <a:pt x="1580623" y="457722"/>
                </a:lnTo>
                <a:lnTo>
                  <a:pt x="1610608" y="499270"/>
                </a:lnTo>
                <a:lnTo>
                  <a:pt x="1802874" y="433067"/>
                </a:lnTo>
                <a:lnTo>
                  <a:pt x="1881963" y="572248"/>
                </a:lnTo>
                <a:lnTo>
                  <a:pt x="1726590" y="698353"/>
                </a:lnTo>
                <a:lnTo>
                  <a:pt x="1741176" y="735808"/>
                </a:lnTo>
                <a:lnTo>
                  <a:pt x="1943264" y="735802"/>
                </a:lnTo>
                <a:lnTo>
                  <a:pt x="1971297" y="894790"/>
                </a:lnTo>
                <a:lnTo>
                  <a:pt x="1781396" y="963903"/>
                </a:lnTo>
                <a:cubicBezTo>
                  <a:pt x="1781019" y="980828"/>
                  <a:pt x="1780641" y="997752"/>
                  <a:pt x="1780264" y="1014677"/>
                </a:cubicBezTo>
                <a:lnTo>
                  <a:pt x="1969010" y="1087130"/>
                </a:lnTo>
                <a:lnTo>
                  <a:pt x="1940132" y="1244586"/>
                </a:lnTo>
                <a:lnTo>
                  <a:pt x="1738798" y="1241295"/>
                </a:lnTo>
                <a:lnTo>
                  <a:pt x="1725636" y="1280130"/>
                </a:lnTo>
                <a:lnTo>
                  <a:pt x="1880447" y="1410026"/>
                </a:lnTo>
                <a:lnTo>
                  <a:pt x="1799727" y="1549837"/>
                </a:lnTo>
                <a:lnTo>
                  <a:pt x="1609829" y="1480714"/>
                </a:lnTo>
                <a:lnTo>
                  <a:pt x="1579151" y="1512281"/>
                </a:lnTo>
                <a:lnTo>
                  <a:pt x="1677610" y="1689905"/>
                </a:lnTo>
                <a:lnTo>
                  <a:pt x="1554277" y="1791961"/>
                </a:lnTo>
                <a:lnTo>
                  <a:pt x="1402854" y="1660626"/>
                </a:lnTo>
                <a:lnTo>
                  <a:pt x="1363848" y="1687117"/>
                </a:lnTo>
                <a:lnTo>
                  <a:pt x="1398945" y="1886133"/>
                </a:lnTo>
                <a:lnTo>
                  <a:pt x="1247240" y="1941349"/>
                </a:lnTo>
                <a:lnTo>
                  <a:pt x="1146202" y="1766334"/>
                </a:lnTo>
                <a:lnTo>
                  <a:pt x="1100680" y="1773318"/>
                </a:lnTo>
                <a:lnTo>
                  <a:pt x="1062288" y="1970826"/>
                </a:lnTo>
                <a:lnTo>
                  <a:pt x="902210" y="1969728"/>
                </a:lnTo>
                <a:lnTo>
                  <a:pt x="870884" y="1773359"/>
                </a:lnTo>
                <a:lnTo>
                  <a:pt x="825096" y="1766334"/>
                </a:lnTo>
                <a:lnTo>
                  <a:pt x="724057" y="1941349"/>
                </a:lnTo>
                <a:lnTo>
                  <a:pt x="572352" y="1886133"/>
                </a:lnTo>
                <a:lnTo>
                  <a:pt x="607450" y="1687117"/>
                </a:lnTo>
                <a:lnTo>
                  <a:pt x="571181" y="1662485"/>
                </a:lnTo>
                <a:lnTo>
                  <a:pt x="421150" y="1792613"/>
                </a:lnTo>
                <a:lnTo>
                  <a:pt x="297817" y="1690557"/>
                </a:lnTo>
                <a:lnTo>
                  <a:pt x="395006" y="1515223"/>
                </a:lnTo>
                <a:lnTo>
                  <a:pt x="361468" y="1480715"/>
                </a:lnTo>
                <a:lnTo>
                  <a:pt x="171570" y="1549837"/>
                </a:lnTo>
                <a:lnTo>
                  <a:pt x="90850" y="1410026"/>
                </a:lnTo>
                <a:lnTo>
                  <a:pt x="245661" y="1280131"/>
                </a:lnTo>
                <a:lnTo>
                  <a:pt x="233972" y="1245643"/>
                </a:lnTo>
                <a:lnTo>
                  <a:pt x="31451" y="1248953"/>
                </a:lnTo>
                <a:lnTo>
                  <a:pt x="2573" y="1091497"/>
                </a:lnTo>
                <a:lnTo>
                  <a:pt x="191133" y="1019115"/>
                </a:lnTo>
                <a:cubicBezTo>
                  <a:pt x="190723" y="1000711"/>
                  <a:pt x="190312" y="982308"/>
                  <a:pt x="189902" y="963904"/>
                </a:cubicBezTo>
                <a:lnTo>
                  <a:pt x="0" y="894790"/>
                </a:lnTo>
                <a:lnTo>
                  <a:pt x="28034" y="735802"/>
                </a:lnTo>
                <a:lnTo>
                  <a:pt x="230121" y="735808"/>
                </a:lnTo>
                <a:lnTo>
                  <a:pt x="240919" y="708079"/>
                </a:lnTo>
                <a:lnTo>
                  <a:pt x="84936" y="585933"/>
                </a:lnTo>
                <a:lnTo>
                  <a:pt x="161584" y="445393"/>
                </a:lnTo>
                <a:lnTo>
                  <a:pt x="354366" y="508031"/>
                </a:lnTo>
                <a:lnTo>
                  <a:pt x="390674" y="457722"/>
                </a:lnTo>
                <a:lnTo>
                  <a:pt x="289626" y="282712"/>
                </a:lnTo>
                <a:lnTo>
                  <a:pt x="413297" y="178940"/>
                </a:lnTo>
                <a:lnTo>
                  <a:pt x="568101" y="308843"/>
                </a:lnTo>
                <a:lnTo>
                  <a:pt x="611018" y="285324"/>
                </a:lnTo>
                <a:lnTo>
                  <a:pt x="576674" y="89277"/>
                </a:lnTo>
                <a:lnTo>
                  <a:pt x="727674" y="36123"/>
                </a:lnTo>
                <a:lnTo>
                  <a:pt x="826689" y="207623"/>
                </a:lnTo>
                <a:lnTo>
                  <a:pt x="869841" y="199018"/>
                </a:lnTo>
                <a:lnTo>
                  <a:pt x="904928" y="0"/>
                </a:lnTo>
                <a:close/>
              </a:path>
            </a:pathLst>
          </a:custGeom>
          <a:solidFill>
            <a:schemeClr val="accent1">
              <a:lumMod val="20000"/>
              <a:lumOff val="80000"/>
            </a:scheme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70287" tIns="769233" rIns="670287" bIns="821356" numCol="1" spcCol="1270" anchor="ctr" anchorCtr="0">
            <a:noAutofit/>
          </a:bodyPr>
          <a:lstStyle/>
          <a:p>
            <a:pPr algn="ctr" defTabSz="2489138">
              <a:lnSpc>
                <a:spcPct val="90000"/>
              </a:lnSpc>
              <a:spcBef>
                <a:spcPct val="0"/>
              </a:spcBef>
              <a:spcAft>
                <a:spcPct val="35000"/>
              </a:spcAft>
            </a:pPr>
            <a:endParaRPr lang="en-US" sz="5600" dirty="0">
              <a:solidFill>
                <a:prstClr val="white"/>
              </a:solidFill>
              <a:latin typeface="Arial" panose="020B0604020202020204"/>
            </a:endParaRPr>
          </a:p>
        </p:txBody>
      </p:sp>
      <p:sp>
        <p:nvSpPr>
          <p:cNvPr id="25" name="Freeform 20">
            <a:extLst>
              <a:ext uri="{FF2B5EF4-FFF2-40B4-BE49-F238E27FC236}">
                <a16:creationId xmlns:a16="http://schemas.microsoft.com/office/drawing/2014/main" id="{3BEDD8DB-0094-7488-3C84-6EC34F5DF760}"/>
              </a:ext>
            </a:extLst>
          </p:cNvPr>
          <p:cNvSpPr>
            <a:spLocks noChangeAspect="1"/>
          </p:cNvSpPr>
          <p:nvPr/>
        </p:nvSpPr>
        <p:spPr>
          <a:xfrm flipH="1">
            <a:off x="10013721" y="1325334"/>
            <a:ext cx="435657" cy="435657"/>
          </a:xfrm>
          <a:custGeom>
            <a:avLst/>
            <a:gdLst>
              <a:gd name="connsiteX0" fmla="*/ 212598 w 1971297"/>
              <a:gd name="connsiteY0" fmla="*/ 1172544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98126 w 1971297"/>
              <a:gd name="connsiteY6" fmla="*/ 1096370 h 1970826"/>
              <a:gd name="connsiteX7" fmla="*/ 199057 w 1971297"/>
              <a:gd name="connsiteY7" fmla="*/ 1110557 h 1970826"/>
              <a:gd name="connsiteX8" fmla="*/ 200997 w 1971297"/>
              <a:gd name="connsiteY8" fmla="*/ 1119440 h 1970826"/>
              <a:gd name="connsiteX9" fmla="*/ 1658502 w 1971297"/>
              <a:gd name="connsiteY9" fmla="*/ 565633 h 1970826"/>
              <a:gd name="connsiteX10" fmla="*/ 1664864 w 1971297"/>
              <a:gd name="connsiteY10" fmla="*/ 574448 h 1970826"/>
              <a:gd name="connsiteX11" fmla="*/ 1664611 w 1971297"/>
              <a:gd name="connsiteY11" fmla="*/ 573966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0" fmla="*/ 217129 w 1971297"/>
              <a:gd name="connsiteY0" fmla="*/ 1192320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773168 w 1971297"/>
              <a:gd name="connsiteY6" fmla="*/ 1096396 h 1970826"/>
              <a:gd name="connsiteX7" fmla="*/ 198126 w 1971297"/>
              <a:gd name="connsiteY7" fmla="*/ 1096370 h 1970826"/>
              <a:gd name="connsiteX8" fmla="*/ 199057 w 1971297"/>
              <a:gd name="connsiteY8" fmla="*/ 1110557 h 1970826"/>
              <a:gd name="connsiteX9" fmla="*/ 200997 w 1971297"/>
              <a:gd name="connsiteY9" fmla="*/ 1119440 h 1970826"/>
              <a:gd name="connsiteX10" fmla="*/ 198126 w 1971297"/>
              <a:gd name="connsiteY10" fmla="*/ 1096370 h 1970826"/>
              <a:gd name="connsiteX11" fmla="*/ 1658502 w 1971297"/>
              <a:gd name="connsiteY11" fmla="*/ 565633 h 1970826"/>
              <a:gd name="connsiteX12" fmla="*/ 1664864 w 1971297"/>
              <a:gd name="connsiteY12" fmla="*/ 574448 h 1970826"/>
              <a:gd name="connsiteX13" fmla="*/ 1664611 w 1971297"/>
              <a:gd name="connsiteY13" fmla="*/ 573966 h 1970826"/>
              <a:gd name="connsiteX14" fmla="*/ 1658502 w 1971297"/>
              <a:gd name="connsiteY14" fmla="*/ 565633 h 1970826"/>
              <a:gd name="connsiteX15" fmla="*/ 985649 w 1971297"/>
              <a:gd name="connsiteY15" fmla="*/ 323553 h 1970826"/>
              <a:gd name="connsiteX16" fmla="*/ 322581 w 1971297"/>
              <a:gd name="connsiteY16" fmla="*/ 986621 h 1970826"/>
              <a:gd name="connsiteX17" fmla="*/ 985649 w 1971297"/>
              <a:gd name="connsiteY17" fmla="*/ 1649689 h 1970826"/>
              <a:gd name="connsiteX18" fmla="*/ 1648717 w 1971297"/>
              <a:gd name="connsiteY18" fmla="*/ 986621 h 1970826"/>
              <a:gd name="connsiteX19" fmla="*/ 985649 w 1971297"/>
              <a:gd name="connsiteY19" fmla="*/ 323553 h 1970826"/>
              <a:gd name="connsiteX20" fmla="*/ 904928 w 1971297"/>
              <a:gd name="connsiteY20" fmla="*/ 0 h 1970826"/>
              <a:gd name="connsiteX21" fmla="*/ 1066369 w 1971297"/>
              <a:gd name="connsiteY21" fmla="*/ 0 h 1970826"/>
              <a:gd name="connsiteX22" fmla="*/ 1101456 w 1971297"/>
              <a:gd name="connsiteY22" fmla="*/ 199018 h 1970826"/>
              <a:gd name="connsiteX23" fmla="*/ 1149113 w 1971297"/>
              <a:gd name="connsiteY23" fmla="*/ 208521 h 1970826"/>
              <a:gd name="connsiteX24" fmla="*/ 1245734 w 1971297"/>
              <a:gd name="connsiteY24" fmla="*/ 36367 h 1970826"/>
              <a:gd name="connsiteX25" fmla="*/ 1396309 w 1971297"/>
              <a:gd name="connsiteY25" fmla="*/ 90716 h 1970826"/>
              <a:gd name="connsiteX26" fmla="*/ 1364293 w 1971297"/>
              <a:gd name="connsiteY26" fmla="*/ 287523 h 1970826"/>
              <a:gd name="connsiteX27" fmla="*/ 1403197 w 1971297"/>
              <a:gd name="connsiteY27" fmla="*/ 308843 h 1970826"/>
              <a:gd name="connsiteX28" fmla="*/ 1558001 w 1971297"/>
              <a:gd name="connsiteY28" fmla="*/ 178940 h 1970826"/>
              <a:gd name="connsiteX29" fmla="*/ 1681671 w 1971297"/>
              <a:gd name="connsiteY29" fmla="*/ 282712 h 1970826"/>
              <a:gd name="connsiteX30" fmla="*/ 1580623 w 1971297"/>
              <a:gd name="connsiteY30" fmla="*/ 457722 h 1970826"/>
              <a:gd name="connsiteX31" fmla="*/ 1610608 w 1971297"/>
              <a:gd name="connsiteY31" fmla="*/ 499270 h 1970826"/>
              <a:gd name="connsiteX32" fmla="*/ 1802874 w 1971297"/>
              <a:gd name="connsiteY32" fmla="*/ 433067 h 1970826"/>
              <a:gd name="connsiteX33" fmla="*/ 1881963 w 1971297"/>
              <a:gd name="connsiteY33" fmla="*/ 572248 h 1970826"/>
              <a:gd name="connsiteX34" fmla="*/ 1726590 w 1971297"/>
              <a:gd name="connsiteY34" fmla="*/ 698353 h 1970826"/>
              <a:gd name="connsiteX35" fmla="*/ 1741176 w 1971297"/>
              <a:gd name="connsiteY35" fmla="*/ 735808 h 1970826"/>
              <a:gd name="connsiteX36" fmla="*/ 1943264 w 1971297"/>
              <a:gd name="connsiteY36" fmla="*/ 735802 h 1970826"/>
              <a:gd name="connsiteX37" fmla="*/ 1971297 w 1971297"/>
              <a:gd name="connsiteY37" fmla="*/ 894790 h 1970826"/>
              <a:gd name="connsiteX38" fmla="*/ 1781396 w 1971297"/>
              <a:gd name="connsiteY38" fmla="*/ 963903 h 1970826"/>
              <a:gd name="connsiteX39" fmla="*/ 1780264 w 1971297"/>
              <a:gd name="connsiteY39" fmla="*/ 1014677 h 1970826"/>
              <a:gd name="connsiteX40" fmla="*/ 1969010 w 1971297"/>
              <a:gd name="connsiteY40" fmla="*/ 1087130 h 1970826"/>
              <a:gd name="connsiteX41" fmla="*/ 1940132 w 1971297"/>
              <a:gd name="connsiteY41" fmla="*/ 1244586 h 1970826"/>
              <a:gd name="connsiteX42" fmla="*/ 1738798 w 1971297"/>
              <a:gd name="connsiteY42" fmla="*/ 1241295 h 1970826"/>
              <a:gd name="connsiteX43" fmla="*/ 1725636 w 1971297"/>
              <a:gd name="connsiteY43" fmla="*/ 1280130 h 1970826"/>
              <a:gd name="connsiteX44" fmla="*/ 1880447 w 1971297"/>
              <a:gd name="connsiteY44" fmla="*/ 1410026 h 1970826"/>
              <a:gd name="connsiteX45" fmla="*/ 1799727 w 1971297"/>
              <a:gd name="connsiteY45" fmla="*/ 1549837 h 1970826"/>
              <a:gd name="connsiteX46" fmla="*/ 1609829 w 1971297"/>
              <a:gd name="connsiteY46" fmla="*/ 1480714 h 1970826"/>
              <a:gd name="connsiteX47" fmla="*/ 1579151 w 1971297"/>
              <a:gd name="connsiteY47" fmla="*/ 1512281 h 1970826"/>
              <a:gd name="connsiteX48" fmla="*/ 1677610 w 1971297"/>
              <a:gd name="connsiteY48" fmla="*/ 1689905 h 1970826"/>
              <a:gd name="connsiteX49" fmla="*/ 1554277 w 1971297"/>
              <a:gd name="connsiteY49" fmla="*/ 1791961 h 1970826"/>
              <a:gd name="connsiteX50" fmla="*/ 1402854 w 1971297"/>
              <a:gd name="connsiteY50" fmla="*/ 1660626 h 1970826"/>
              <a:gd name="connsiteX51" fmla="*/ 1363848 w 1971297"/>
              <a:gd name="connsiteY51" fmla="*/ 1687117 h 1970826"/>
              <a:gd name="connsiteX52" fmla="*/ 1398945 w 1971297"/>
              <a:gd name="connsiteY52" fmla="*/ 1886133 h 1970826"/>
              <a:gd name="connsiteX53" fmla="*/ 1247240 w 1971297"/>
              <a:gd name="connsiteY53" fmla="*/ 1941349 h 1970826"/>
              <a:gd name="connsiteX54" fmla="*/ 1146202 w 1971297"/>
              <a:gd name="connsiteY54" fmla="*/ 1766334 h 1970826"/>
              <a:gd name="connsiteX55" fmla="*/ 1100680 w 1971297"/>
              <a:gd name="connsiteY55" fmla="*/ 1773318 h 1970826"/>
              <a:gd name="connsiteX56" fmla="*/ 1062288 w 1971297"/>
              <a:gd name="connsiteY56" fmla="*/ 1970826 h 1970826"/>
              <a:gd name="connsiteX57" fmla="*/ 902210 w 1971297"/>
              <a:gd name="connsiteY57" fmla="*/ 1969728 h 1970826"/>
              <a:gd name="connsiteX58" fmla="*/ 870884 w 1971297"/>
              <a:gd name="connsiteY58" fmla="*/ 1773359 h 1970826"/>
              <a:gd name="connsiteX59" fmla="*/ 825096 w 1971297"/>
              <a:gd name="connsiteY59" fmla="*/ 1766334 h 1970826"/>
              <a:gd name="connsiteX60" fmla="*/ 724057 w 1971297"/>
              <a:gd name="connsiteY60" fmla="*/ 1941349 h 1970826"/>
              <a:gd name="connsiteX61" fmla="*/ 572352 w 1971297"/>
              <a:gd name="connsiteY61" fmla="*/ 1886133 h 1970826"/>
              <a:gd name="connsiteX62" fmla="*/ 607450 w 1971297"/>
              <a:gd name="connsiteY62" fmla="*/ 1687117 h 1970826"/>
              <a:gd name="connsiteX63" fmla="*/ 571181 w 1971297"/>
              <a:gd name="connsiteY63" fmla="*/ 1662485 h 1970826"/>
              <a:gd name="connsiteX64" fmla="*/ 421150 w 1971297"/>
              <a:gd name="connsiteY64" fmla="*/ 1792613 h 1970826"/>
              <a:gd name="connsiteX65" fmla="*/ 297817 w 1971297"/>
              <a:gd name="connsiteY65" fmla="*/ 1690557 h 1970826"/>
              <a:gd name="connsiteX66" fmla="*/ 395006 w 1971297"/>
              <a:gd name="connsiteY66" fmla="*/ 1515223 h 1970826"/>
              <a:gd name="connsiteX67" fmla="*/ 361468 w 1971297"/>
              <a:gd name="connsiteY67" fmla="*/ 1480715 h 1970826"/>
              <a:gd name="connsiteX68" fmla="*/ 171570 w 1971297"/>
              <a:gd name="connsiteY68" fmla="*/ 1549837 h 1970826"/>
              <a:gd name="connsiteX69" fmla="*/ 90850 w 1971297"/>
              <a:gd name="connsiteY69" fmla="*/ 1410026 h 1970826"/>
              <a:gd name="connsiteX70" fmla="*/ 245661 w 1971297"/>
              <a:gd name="connsiteY70" fmla="*/ 1280131 h 1970826"/>
              <a:gd name="connsiteX71" fmla="*/ 233972 w 1971297"/>
              <a:gd name="connsiteY71" fmla="*/ 1245643 h 1970826"/>
              <a:gd name="connsiteX72" fmla="*/ 31451 w 1971297"/>
              <a:gd name="connsiteY72" fmla="*/ 1248953 h 1970826"/>
              <a:gd name="connsiteX73" fmla="*/ 2573 w 1971297"/>
              <a:gd name="connsiteY73" fmla="*/ 1091497 h 1970826"/>
              <a:gd name="connsiteX74" fmla="*/ 191133 w 1971297"/>
              <a:gd name="connsiteY74" fmla="*/ 1019115 h 1970826"/>
              <a:gd name="connsiteX75" fmla="*/ 189902 w 1971297"/>
              <a:gd name="connsiteY75" fmla="*/ 963904 h 1970826"/>
              <a:gd name="connsiteX76" fmla="*/ 0 w 1971297"/>
              <a:gd name="connsiteY76" fmla="*/ 894790 h 1970826"/>
              <a:gd name="connsiteX77" fmla="*/ 28034 w 1971297"/>
              <a:gd name="connsiteY77" fmla="*/ 735802 h 1970826"/>
              <a:gd name="connsiteX78" fmla="*/ 230121 w 1971297"/>
              <a:gd name="connsiteY78" fmla="*/ 735808 h 1970826"/>
              <a:gd name="connsiteX79" fmla="*/ 240919 w 1971297"/>
              <a:gd name="connsiteY79" fmla="*/ 708079 h 1970826"/>
              <a:gd name="connsiteX80" fmla="*/ 84936 w 1971297"/>
              <a:gd name="connsiteY80" fmla="*/ 585933 h 1970826"/>
              <a:gd name="connsiteX81" fmla="*/ 161584 w 1971297"/>
              <a:gd name="connsiteY81" fmla="*/ 445393 h 1970826"/>
              <a:gd name="connsiteX82" fmla="*/ 354366 w 1971297"/>
              <a:gd name="connsiteY82" fmla="*/ 508031 h 1970826"/>
              <a:gd name="connsiteX83" fmla="*/ 390674 w 1971297"/>
              <a:gd name="connsiteY83" fmla="*/ 457722 h 1970826"/>
              <a:gd name="connsiteX84" fmla="*/ 289626 w 1971297"/>
              <a:gd name="connsiteY84" fmla="*/ 282712 h 1970826"/>
              <a:gd name="connsiteX85" fmla="*/ 413297 w 1971297"/>
              <a:gd name="connsiteY85" fmla="*/ 178940 h 1970826"/>
              <a:gd name="connsiteX86" fmla="*/ 568101 w 1971297"/>
              <a:gd name="connsiteY86" fmla="*/ 308843 h 1970826"/>
              <a:gd name="connsiteX87" fmla="*/ 611018 w 1971297"/>
              <a:gd name="connsiteY87" fmla="*/ 285324 h 1970826"/>
              <a:gd name="connsiteX88" fmla="*/ 576674 w 1971297"/>
              <a:gd name="connsiteY88" fmla="*/ 89277 h 1970826"/>
              <a:gd name="connsiteX89" fmla="*/ 727674 w 1971297"/>
              <a:gd name="connsiteY89" fmla="*/ 36123 h 1970826"/>
              <a:gd name="connsiteX90" fmla="*/ 826689 w 1971297"/>
              <a:gd name="connsiteY90" fmla="*/ 207623 h 1970826"/>
              <a:gd name="connsiteX91" fmla="*/ 869841 w 1971297"/>
              <a:gd name="connsiteY91" fmla="*/ 199018 h 1970826"/>
              <a:gd name="connsiteX92" fmla="*/ 904928 w 1971297"/>
              <a:gd name="connsiteY92" fmla="*/ 0 h 1970826"/>
              <a:gd name="connsiteX0" fmla="*/ 1773168 w 1971297"/>
              <a:gd name="connsiteY0" fmla="*/ 1096396 h 1970826"/>
              <a:gd name="connsiteX1" fmla="*/ 1771186 w 1971297"/>
              <a:gd name="connsiteY1" fmla="*/ 1112322 h 1970826"/>
              <a:gd name="connsiteX2" fmla="*/ 1772526 w 1971297"/>
              <a:gd name="connsiteY2" fmla="*/ 1106190 h 1970826"/>
              <a:gd name="connsiteX3" fmla="*/ 1773168 w 1971297"/>
              <a:gd name="connsiteY3" fmla="*/ 1096396 h 1970826"/>
              <a:gd name="connsiteX4" fmla="*/ 198126 w 1971297"/>
              <a:gd name="connsiteY4" fmla="*/ 1096370 h 1970826"/>
              <a:gd name="connsiteX5" fmla="*/ 199057 w 1971297"/>
              <a:gd name="connsiteY5" fmla="*/ 1110557 h 1970826"/>
              <a:gd name="connsiteX6" fmla="*/ 200997 w 1971297"/>
              <a:gd name="connsiteY6" fmla="*/ 1119440 h 1970826"/>
              <a:gd name="connsiteX7" fmla="*/ 198126 w 1971297"/>
              <a:gd name="connsiteY7" fmla="*/ 1096370 h 1970826"/>
              <a:gd name="connsiteX8" fmla="*/ 1658502 w 1971297"/>
              <a:gd name="connsiteY8" fmla="*/ 565633 h 1970826"/>
              <a:gd name="connsiteX9" fmla="*/ 1664864 w 1971297"/>
              <a:gd name="connsiteY9" fmla="*/ 574448 h 1970826"/>
              <a:gd name="connsiteX10" fmla="*/ 1664611 w 1971297"/>
              <a:gd name="connsiteY10" fmla="*/ 573966 h 1970826"/>
              <a:gd name="connsiteX11" fmla="*/ 1658502 w 1971297"/>
              <a:gd name="connsiteY11" fmla="*/ 565633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89" fmla="*/ 904928 w 1971297"/>
              <a:gd name="connsiteY89" fmla="*/ 0 h 1970826"/>
              <a:gd name="connsiteX0" fmla="*/ 1772526 w 1971297"/>
              <a:gd name="connsiteY0" fmla="*/ 1106190 h 1970826"/>
              <a:gd name="connsiteX1" fmla="*/ 1771186 w 1971297"/>
              <a:gd name="connsiteY1" fmla="*/ 1112322 h 1970826"/>
              <a:gd name="connsiteX2" fmla="*/ 1772526 w 1971297"/>
              <a:gd name="connsiteY2" fmla="*/ 1106190 h 1970826"/>
              <a:gd name="connsiteX3" fmla="*/ 198126 w 1971297"/>
              <a:gd name="connsiteY3" fmla="*/ 1096370 h 1970826"/>
              <a:gd name="connsiteX4" fmla="*/ 199057 w 1971297"/>
              <a:gd name="connsiteY4" fmla="*/ 1110557 h 1970826"/>
              <a:gd name="connsiteX5" fmla="*/ 200997 w 1971297"/>
              <a:gd name="connsiteY5" fmla="*/ 1119440 h 1970826"/>
              <a:gd name="connsiteX6" fmla="*/ 198126 w 1971297"/>
              <a:gd name="connsiteY6" fmla="*/ 1096370 h 1970826"/>
              <a:gd name="connsiteX7" fmla="*/ 1658502 w 1971297"/>
              <a:gd name="connsiteY7" fmla="*/ 565633 h 1970826"/>
              <a:gd name="connsiteX8" fmla="*/ 1664864 w 1971297"/>
              <a:gd name="connsiteY8" fmla="*/ 574448 h 1970826"/>
              <a:gd name="connsiteX9" fmla="*/ 1664611 w 1971297"/>
              <a:gd name="connsiteY9" fmla="*/ 573966 h 1970826"/>
              <a:gd name="connsiteX10" fmla="*/ 1658502 w 1971297"/>
              <a:gd name="connsiteY10" fmla="*/ 565633 h 1970826"/>
              <a:gd name="connsiteX11" fmla="*/ 985649 w 1971297"/>
              <a:gd name="connsiteY11" fmla="*/ 323553 h 1970826"/>
              <a:gd name="connsiteX12" fmla="*/ 322581 w 1971297"/>
              <a:gd name="connsiteY12" fmla="*/ 986621 h 1970826"/>
              <a:gd name="connsiteX13" fmla="*/ 985649 w 1971297"/>
              <a:gd name="connsiteY13" fmla="*/ 1649689 h 1970826"/>
              <a:gd name="connsiteX14" fmla="*/ 1648717 w 1971297"/>
              <a:gd name="connsiteY14" fmla="*/ 986621 h 1970826"/>
              <a:gd name="connsiteX15" fmla="*/ 985649 w 1971297"/>
              <a:gd name="connsiteY15" fmla="*/ 323553 h 1970826"/>
              <a:gd name="connsiteX16" fmla="*/ 904928 w 1971297"/>
              <a:gd name="connsiteY16" fmla="*/ 0 h 1970826"/>
              <a:gd name="connsiteX17" fmla="*/ 1066369 w 1971297"/>
              <a:gd name="connsiteY17" fmla="*/ 0 h 1970826"/>
              <a:gd name="connsiteX18" fmla="*/ 1101456 w 1971297"/>
              <a:gd name="connsiteY18" fmla="*/ 199018 h 1970826"/>
              <a:gd name="connsiteX19" fmla="*/ 1149113 w 1971297"/>
              <a:gd name="connsiteY19" fmla="*/ 208521 h 1970826"/>
              <a:gd name="connsiteX20" fmla="*/ 1245734 w 1971297"/>
              <a:gd name="connsiteY20" fmla="*/ 36367 h 1970826"/>
              <a:gd name="connsiteX21" fmla="*/ 1396309 w 1971297"/>
              <a:gd name="connsiteY21" fmla="*/ 90716 h 1970826"/>
              <a:gd name="connsiteX22" fmla="*/ 1364293 w 1971297"/>
              <a:gd name="connsiteY22" fmla="*/ 287523 h 1970826"/>
              <a:gd name="connsiteX23" fmla="*/ 1403197 w 1971297"/>
              <a:gd name="connsiteY23" fmla="*/ 308843 h 1970826"/>
              <a:gd name="connsiteX24" fmla="*/ 1558001 w 1971297"/>
              <a:gd name="connsiteY24" fmla="*/ 178940 h 1970826"/>
              <a:gd name="connsiteX25" fmla="*/ 1681671 w 1971297"/>
              <a:gd name="connsiteY25" fmla="*/ 282712 h 1970826"/>
              <a:gd name="connsiteX26" fmla="*/ 1580623 w 1971297"/>
              <a:gd name="connsiteY26" fmla="*/ 457722 h 1970826"/>
              <a:gd name="connsiteX27" fmla="*/ 1610608 w 1971297"/>
              <a:gd name="connsiteY27" fmla="*/ 499270 h 1970826"/>
              <a:gd name="connsiteX28" fmla="*/ 1802874 w 1971297"/>
              <a:gd name="connsiteY28" fmla="*/ 433067 h 1970826"/>
              <a:gd name="connsiteX29" fmla="*/ 1881963 w 1971297"/>
              <a:gd name="connsiteY29" fmla="*/ 572248 h 1970826"/>
              <a:gd name="connsiteX30" fmla="*/ 1726590 w 1971297"/>
              <a:gd name="connsiteY30" fmla="*/ 698353 h 1970826"/>
              <a:gd name="connsiteX31" fmla="*/ 1741176 w 1971297"/>
              <a:gd name="connsiteY31" fmla="*/ 735808 h 1970826"/>
              <a:gd name="connsiteX32" fmla="*/ 1943264 w 1971297"/>
              <a:gd name="connsiteY32" fmla="*/ 735802 h 1970826"/>
              <a:gd name="connsiteX33" fmla="*/ 1971297 w 1971297"/>
              <a:gd name="connsiteY33" fmla="*/ 894790 h 1970826"/>
              <a:gd name="connsiteX34" fmla="*/ 1781396 w 1971297"/>
              <a:gd name="connsiteY34" fmla="*/ 963903 h 1970826"/>
              <a:gd name="connsiteX35" fmla="*/ 1780264 w 1971297"/>
              <a:gd name="connsiteY35" fmla="*/ 1014677 h 1970826"/>
              <a:gd name="connsiteX36" fmla="*/ 1969010 w 1971297"/>
              <a:gd name="connsiteY36" fmla="*/ 1087130 h 1970826"/>
              <a:gd name="connsiteX37" fmla="*/ 1940132 w 1971297"/>
              <a:gd name="connsiteY37" fmla="*/ 1244586 h 1970826"/>
              <a:gd name="connsiteX38" fmla="*/ 1738798 w 1971297"/>
              <a:gd name="connsiteY38" fmla="*/ 1241295 h 1970826"/>
              <a:gd name="connsiteX39" fmla="*/ 1725636 w 1971297"/>
              <a:gd name="connsiteY39" fmla="*/ 1280130 h 1970826"/>
              <a:gd name="connsiteX40" fmla="*/ 1880447 w 1971297"/>
              <a:gd name="connsiteY40" fmla="*/ 1410026 h 1970826"/>
              <a:gd name="connsiteX41" fmla="*/ 1799727 w 1971297"/>
              <a:gd name="connsiteY41" fmla="*/ 1549837 h 1970826"/>
              <a:gd name="connsiteX42" fmla="*/ 1609829 w 1971297"/>
              <a:gd name="connsiteY42" fmla="*/ 1480714 h 1970826"/>
              <a:gd name="connsiteX43" fmla="*/ 1579151 w 1971297"/>
              <a:gd name="connsiteY43" fmla="*/ 1512281 h 1970826"/>
              <a:gd name="connsiteX44" fmla="*/ 1677610 w 1971297"/>
              <a:gd name="connsiteY44" fmla="*/ 1689905 h 1970826"/>
              <a:gd name="connsiteX45" fmla="*/ 1554277 w 1971297"/>
              <a:gd name="connsiteY45" fmla="*/ 1791961 h 1970826"/>
              <a:gd name="connsiteX46" fmla="*/ 1402854 w 1971297"/>
              <a:gd name="connsiteY46" fmla="*/ 1660626 h 1970826"/>
              <a:gd name="connsiteX47" fmla="*/ 1363848 w 1971297"/>
              <a:gd name="connsiteY47" fmla="*/ 1687117 h 1970826"/>
              <a:gd name="connsiteX48" fmla="*/ 1398945 w 1971297"/>
              <a:gd name="connsiteY48" fmla="*/ 1886133 h 1970826"/>
              <a:gd name="connsiteX49" fmla="*/ 1247240 w 1971297"/>
              <a:gd name="connsiteY49" fmla="*/ 1941349 h 1970826"/>
              <a:gd name="connsiteX50" fmla="*/ 1146202 w 1971297"/>
              <a:gd name="connsiteY50" fmla="*/ 1766334 h 1970826"/>
              <a:gd name="connsiteX51" fmla="*/ 1100680 w 1971297"/>
              <a:gd name="connsiteY51" fmla="*/ 1773318 h 1970826"/>
              <a:gd name="connsiteX52" fmla="*/ 1062288 w 1971297"/>
              <a:gd name="connsiteY52" fmla="*/ 1970826 h 1970826"/>
              <a:gd name="connsiteX53" fmla="*/ 902210 w 1971297"/>
              <a:gd name="connsiteY53" fmla="*/ 1969728 h 1970826"/>
              <a:gd name="connsiteX54" fmla="*/ 870884 w 1971297"/>
              <a:gd name="connsiteY54" fmla="*/ 1773359 h 1970826"/>
              <a:gd name="connsiteX55" fmla="*/ 825096 w 1971297"/>
              <a:gd name="connsiteY55" fmla="*/ 1766334 h 1970826"/>
              <a:gd name="connsiteX56" fmla="*/ 724057 w 1971297"/>
              <a:gd name="connsiteY56" fmla="*/ 1941349 h 1970826"/>
              <a:gd name="connsiteX57" fmla="*/ 572352 w 1971297"/>
              <a:gd name="connsiteY57" fmla="*/ 1886133 h 1970826"/>
              <a:gd name="connsiteX58" fmla="*/ 607450 w 1971297"/>
              <a:gd name="connsiteY58" fmla="*/ 1687117 h 1970826"/>
              <a:gd name="connsiteX59" fmla="*/ 571181 w 1971297"/>
              <a:gd name="connsiteY59" fmla="*/ 1662485 h 1970826"/>
              <a:gd name="connsiteX60" fmla="*/ 421150 w 1971297"/>
              <a:gd name="connsiteY60" fmla="*/ 1792613 h 1970826"/>
              <a:gd name="connsiteX61" fmla="*/ 297817 w 1971297"/>
              <a:gd name="connsiteY61" fmla="*/ 1690557 h 1970826"/>
              <a:gd name="connsiteX62" fmla="*/ 395006 w 1971297"/>
              <a:gd name="connsiteY62" fmla="*/ 1515223 h 1970826"/>
              <a:gd name="connsiteX63" fmla="*/ 361468 w 1971297"/>
              <a:gd name="connsiteY63" fmla="*/ 1480715 h 1970826"/>
              <a:gd name="connsiteX64" fmla="*/ 171570 w 1971297"/>
              <a:gd name="connsiteY64" fmla="*/ 1549837 h 1970826"/>
              <a:gd name="connsiteX65" fmla="*/ 90850 w 1971297"/>
              <a:gd name="connsiteY65" fmla="*/ 1410026 h 1970826"/>
              <a:gd name="connsiteX66" fmla="*/ 245661 w 1971297"/>
              <a:gd name="connsiteY66" fmla="*/ 1280131 h 1970826"/>
              <a:gd name="connsiteX67" fmla="*/ 233972 w 1971297"/>
              <a:gd name="connsiteY67" fmla="*/ 1245643 h 1970826"/>
              <a:gd name="connsiteX68" fmla="*/ 31451 w 1971297"/>
              <a:gd name="connsiteY68" fmla="*/ 1248953 h 1970826"/>
              <a:gd name="connsiteX69" fmla="*/ 2573 w 1971297"/>
              <a:gd name="connsiteY69" fmla="*/ 1091497 h 1970826"/>
              <a:gd name="connsiteX70" fmla="*/ 191133 w 1971297"/>
              <a:gd name="connsiteY70" fmla="*/ 1019115 h 1970826"/>
              <a:gd name="connsiteX71" fmla="*/ 189902 w 1971297"/>
              <a:gd name="connsiteY71" fmla="*/ 963904 h 1970826"/>
              <a:gd name="connsiteX72" fmla="*/ 0 w 1971297"/>
              <a:gd name="connsiteY72" fmla="*/ 894790 h 1970826"/>
              <a:gd name="connsiteX73" fmla="*/ 28034 w 1971297"/>
              <a:gd name="connsiteY73" fmla="*/ 735802 h 1970826"/>
              <a:gd name="connsiteX74" fmla="*/ 230121 w 1971297"/>
              <a:gd name="connsiteY74" fmla="*/ 735808 h 1970826"/>
              <a:gd name="connsiteX75" fmla="*/ 240919 w 1971297"/>
              <a:gd name="connsiteY75" fmla="*/ 708079 h 1970826"/>
              <a:gd name="connsiteX76" fmla="*/ 84936 w 1971297"/>
              <a:gd name="connsiteY76" fmla="*/ 585933 h 1970826"/>
              <a:gd name="connsiteX77" fmla="*/ 161584 w 1971297"/>
              <a:gd name="connsiteY77" fmla="*/ 445393 h 1970826"/>
              <a:gd name="connsiteX78" fmla="*/ 354366 w 1971297"/>
              <a:gd name="connsiteY78" fmla="*/ 508031 h 1970826"/>
              <a:gd name="connsiteX79" fmla="*/ 390674 w 1971297"/>
              <a:gd name="connsiteY79" fmla="*/ 457722 h 1970826"/>
              <a:gd name="connsiteX80" fmla="*/ 289626 w 1971297"/>
              <a:gd name="connsiteY80" fmla="*/ 282712 h 1970826"/>
              <a:gd name="connsiteX81" fmla="*/ 413297 w 1971297"/>
              <a:gd name="connsiteY81" fmla="*/ 178940 h 1970826"/>
              <a:gd name="connsiteX82" fmla="*/ 568101 w 1971297"/>
              <a:gd name="connsiteY82" fmla="*/ 308843 h 1970826"/>
              <a:gd name="connsiteX83" fmla="*/ 611018 w 1971297"/>
              <a:gd name="connsiteY83" fmla="*/ 285324 h 1970826"/>
              <a:gd name="connsiteX84" fmla="*/ 576674 w 1971297"/>
              <a:gd name="connsiteY84" fmla="*/ 89277 h 1970826"/>
              <a:gd name="connsiteX85" fmla="*/ 727674 w 1971297"/>
              <a:gd name="connsiteY85" fmla="*/ 36123 h 1970826"/>
              <a:gd name="connsiteX86" fmla="*/ 826689 w 1971297"/>
              <a:gd name="connsiteY86" fmla="*/ 207623 h 1970826"/>
              <a:gd name="connsiteX87" fmla="*/ 869841 w 1971297"/>
              <a:gd name="connsiteY87" fmla="*/ 199018 h 1970826"/>
              <a:gd name="connsiteX88" fmla="*/ 904928 w 1971297"/>
              <a:gd name="connsiteY88" fmla="*/ 0 h 1970826"/>
              <a:gd name="connsiteX0" fmla="*/ 198126 w 1971297"/>
              <a:gd name="connsiteY0" fmla="*/ 1096370 h 1970826"/>
              <a:gd name="connsiteX1" fmla="*/ 199057 w 1971297"/>
              <a:gd name="connsiteY1" fmla="*/ 1110557 h 1970826"/>
              <a:gd name="connsiteX2" fmla="*/ 200997 w 1971297"/>
              <a:gd name="connsiteY2" fmla="*/ 1119440 h 1970826"/>
              <a:gd name="connsiteX3" fmla="*/ 198126 w 1971297"/>
              <a:gd name="connsiteY3" fmla="*/ 1096370 h 1970826"/>
              <a:gd name="connsiteX4" fmla="*/ 1658502 w 1971297"/>
              <a:gd name="connsiteY4" fmla="*/ 565633 h 1970826"/>
              <a:gd name="connsiteX5" fmla="*/ 1664864 w 1971297"/>
              <a:gd name="connsiteY5" fmla="*/ 574448 h 1970826"/>
              <a:gd name="connsiteX6" fmla="*/ 1664611 w 1971297"/>
              <a:gd name="connsiteY6" fmla="*/ 573966 h 1970826"/>
              <a:gd name="connsiteX7" fmla="*/ 1658502 w 1971297"/>
              <a:gd name="connsiteY7" fmla="*/ 565633 h 1970826"/>
              <a:gd name="connsiteX8" fmla="*/ 985649 w 1971297"/>
              <a:gd name="connsiteY8" fmla="*/ 323553 h 1970826"/>
              <a:gd name="connsiteX9" fmla="*/ 322581 w 1971297"/>
              <a:gd name="connsiteY9" fmla="*/ 986621 h 1970826"/>
              <a:gd name="connsiteX10" fmla="*/ 985649 w 1971297"/>
              <a:gd name="connsiteY10" fmla="*/ 1649689 h 1970826"/>
              <a:gd name="connsiteX11" fmla="*/ 1648717 w 1971297"/>
              <a:gd name="connsiteY11" fmla="*/ 986621 h 1970826"/>
              <a:gd name="connsiteX12" fmla="*/ 985649 w 1971297"/>
              <a:gd name="connsiteY12" fmla="*/ 323553 h 1970826"/>
              <a:gd name="connsiteX13" fmla="*/ 904928 w 1971297"/>
              <a:gd name="connsiteY13" fmla="*/ 0 h 1970826"/>
              <a:gd name="connsiteX14" fmla="*/ 1066369 w 1971297"/>
              <a:gd name="connsiteY14" fmla="*/ 0 h 1970826"/>
              <a:gd name="connsiteX15" fmla="*/ 1101456 w 1971297"/>
              <a:gd name="connsiteY15" fmla="*/ 199018 h 1970826"/>
              <a:gd name="connsiteX16" fmla="*/ 1149113 w 1971297"/>
              <a:gd name="connsiteY16" fmla="*/ 208521 h 1970826"/>
              <a:gd name="connsiteX17" fmla="*/ 1245734 w 1971297"/>
              <a:gd name="connsiteY17" fmla="*/ 36367 h 1970826"/>
              <a:gd name="connsiteX18" fmla="*/ 1396309 w 1971297"/>
              <a:gd name="connsiteY18" fmla="*/ 90716 h 1970826"/>
              <a:gd name="connsiteX19" fmla="*/ 1364293 w 1971297"/>
              <a:gd name="connsiteY19" fmla="*/ 287523 h 1970826"/>
              <a:gd name="connsiteX20" fmla="*/ 1403197 w 1971297"/>
              <a:gd name="connsiteY20" fmla="*/ 308843 h 1970826"/>
              <a:gd name="connsiteX21" fmla="*/ 1558001 w 1971297"/>
              <a:gd name="connsiteY21" fmla="*/ 178940 h 1970826"/>
              <a:gd name="connsiteX22" fmla="*/ 1681671 w 1971297"/>
              <a:gd name="connsiteY22" fmla="*/ 282712 h 1970826"/>
              <a:gd name="connsiteX23" fmla="*/ 1580623 w 1971297"/>
              <a:gd name="connsiteY23" fmla="*/ 457722 h 1970826"/>
              <a:gd name="connsiteX24" fmla="*/ 1610608 w 1971297"/>
              <a:gd name="connsiteY24" fmla="*/ 499270 h 1970826"/>
              <a:gd name="connsiteX25" fmla="*/ 1802874 w 1971297"/>
              <a:gd name="connsiteY25" fmla="*/ 433067 h 1970826"/>
              <a:gd name="connsiteX26" fmla="*/ 1881963 w 1971297"/>
              <a:gd name="connsiteY26" fmla="*/ 572248 h 1970826"/>
              <a:gd name="connsiteX27" fmla="*/ 1726590 w 1971297"/>
              <a:gd name="connsiteY27" fmla="*/ 698353 h 1970826"/>
              <a:gd name="connsiteX28" fmla="*/ 1741176 w 1971297"/>
              <a:gd name="connsiteY28" fmla="*/ 735808 h 1970826"/>
              <a:gd name="connsiteX29" fmla="*/ 1943264 w 1971297"/>
              <a:gd name="connsiteY29" fmla="*/ 735802 h 1970826"/>
              <a:gd name="connsiteX30" fmla="*/ 1971297 w 1971297"/>
              <a:gd name="connsiteY30" fmla="*/ 894790 h 1970826"/>
              <a:gd name="connsiteX31" fmla="*/ 1781396 w 1971297"/>
              <a:gd name="connsiteY31" fmla="*/ 963903 h 1970826"/>
              <a:gd name="connsiteX32" fmla="*/ 1780264 w 1971297"/>
              <a:gd name="connsiteY32" fmla="*/ 1014677 h 1970826"/>
              <a:gd name="connsiteX33" fmla="*/ 1969010 w 1971297"/>
              <a:gd name="connsiteY33" fmla="*/ 1087130 h 1970826"/>
              <a:gd name="connsiteX34" fmla="*/ 1940132 w 1971297"/>
              <a:gd name="connsiteY34" fmla="*/ 1244586 h 1970826"/>
              <a:gd name="connsiteX35" fmla="*/ 1738798 w 1971297"/>
              <a:gd name="connsiteY35" fmla="*/ 1241295 h 1970826"/>
              <a:gd name="connsiteX36" fmla="*/ 1725636 w 1971297"/>
              <a:gd name="connsiteY36" fmla="*/ 1280130 h 1970826"/>
              <a:gd name="connsiteX37" fmla="*/ 1880447 w 1971297"/>
              <a:gd name="connsiteY37" fmla="*/ 1410026 h 1970826"/>
              <a:gd name="connsiteX38" fmla="*/ 1799727 w 1971297"/>
              <a:gd name="connsiteY38" fmla="*/ 1549837 h 1970826"/>
              <a:gd name="connsiteX39" fmla="*/ 1609829 w 1971297"/>
              <a:gd name="connsiteY39" fmla="*/ 1480714 h 1970826"/>
              <a:gd name="connsiteX40" fmla="*/ 1579151 w 1971297"/>
              <a:gd name="connsiteY40" fmla="*/ 1512281 h 1970826"/>
              <a:gd name="connsiteX41" fmla="*/ 1677610 w 1971297"/>
              <a:gd name="connsiteY41" fmla="*/ 1689905 h 1970826"/>
              <a:gd name="connsiteX42" fmla="*/ 1554277 w 1971297"/>
              <a:gd name="connsiteY42" fmla="*/ 1791961 h 1970826"/>
              <a:gd name="connsiteX43" fmla="*/ 1402854 w 1971297"/>
              <a:gd name="connsiteY43" fmla="*/ 1660626 h 1970826"/>
              <a:gd name="connsiteX44" fmla="*/ 1363848 w 1971297"/>
              <a:gd name="connsiteY44" fmla="*/ 1687117 h 1970826"/>
              <a:gd name="connsiteX45" fmla="*/ 1398945 w 1971297"/>
              <a:gd name="connsiteY45" fmla="*/ 1886133 h 1970826"/>
              <a:gd name="connsiteX46" fmla="*/ 1247240 w 1971297"/>
              <a:gd name="connsiteY46" fmla="*/ 1941349 h 1970826"/>
              <a:gd name="connsiteX47" fmla="*/ 1146202 w 1971297"/>
              <a:gd name="connsiteY47" fmla="*/ 1766334 h 1970826"/>
              <a:gd name="connsiteX48" fmla="*/ 1100680 w 1971297"/>
              <a:gd name="connsiteY48" fmla="*/ 1773318 h 1970826"/>
              <a:gd name="connsiteX49" fmla="*/ 1062288 w 1971297"/>
              <a:gd name="connsiteY49" fmla="*/ 1970826 h 1970826"/>
              <a:gd name="connsiteX50" fmla="*/ 902210 w 1971297"/>
              <a:gd name="connsiteY50" fmla="*/ 1969728 h 1970826"/>
              <a:gd name="connsiteX51" fmla="*/ 870884 w 1971297"/>
              <a:gd name="connsiteY51" fmla="*/ 1773359 h 1970826"/>
              <a:gd name="connsiteX52" fmla="*/ 825096 w 1971297"/>
              <a:gd name="connsiteY52" fmla="*/ 1766334 h 1970826"/>
              <a:gd name="connsiteX53" fmla="*/ 724057 w 1971297"/>
              <a:gd name="connsiteY53" fmla="*/ 1941349 h 1970826"/>
              <a:gd name="connsiteX54" fmla="*/ 572352 w 1971297"/>
              <a:gd name="connsiteY54" fmla="*/ 1886133 h 1970826"/>
              <a:gd name="connsiteX55" fmla="*/ 607450 w 1971297"/>
              <a:gd name="connsiteY55" fmla="*/ 1687117 h 1970826"/>
              <a:gd name="connsiteX56" fmla="*/ 571181 w 1971297"/>
              <a:gd name="connsiteY56" fmla="*/ 1662485 h 1970826"/>
              <a:gd name="connsiteX57" fmla="*/ 421150 w 1971297"/>
              <a:gd name="connsiteY57" fmla="*/ 1792613 h 1970826"/>
              <a:gd name="connsiteX58" fmla="*/ 297817 w 1971297"/>
              <a:gd name="connsiteY58" fmla="*/ 1690557 h 1970826"/>
              <a:gd name="connsiteX59" fmla="*/ 395006 w 1971297"/>
              <a:gd name="connsiteY59" fmla="*/ 1515223 h 1970826"/>
              <a:gd name="connsiteX60" fmla="*/ 361468 w 1971297"/>
              <a:gd name="connsiteY60" fmla="*/ 1480715 h 1970826"/>
              <a:gd name="connsiteX61" fmla="*/ 171570 w 1971297"/>
              <a:gd name="connsiteY61" fmla="*/ 1549837 h 1970826"/>
              <a:gd name="connsiteX62" fmla="*/ 90850 w 1971297"/>
              <a:gd name="connsiteY62" fmla="*/ 1410026 h 1970826"/>
              <a:gd name="connsiteX63" fmla="*/ 245661 w 1971297"/>
              <a:gd name="connsiteY63" fmla="*/ 1280131 h 1970826"/>
              <a:gd name="connsiteX64" fmla="*/ 233972 w 1971297"/>
              <a:gd name="connsiteY64" fmla="*/ 1245643 h 1970826"/>
              <a:gd name="connsiteX65" fmla="*/ 31451 w 1971297"/>
              <a:gd name="connsiteY65" fmla="*/ 1248953 h 1970826"/>
              <a:gd name="connsiteX66" fmla="*/ 2573 w 1971297"/>
              <a:gd name="connsiteY66" fmla="*/ 1091497 h 1970826"/>
              <a:gd name="connsiteX67" fmla="*/ 191133 w 1971297"/>
              <a:gd name="connsiteY67" fmla="*/ 1019115 h 1970826"/>
              <a:gd name="connsiteX68" fmla="*/ 189902 w 1971297"/>
              <a:gd name="connsiteY68" fmla="*/ 963904 h 1970826"/>
              <a:gd name="connsiteX69" fmla="*/ 0 w 1971297"/>
              <a:gd name="connsiteY69" fmla="*/ 894790 h 1970826"/>
              <a:gd name="connsiteX70" fmla="*/ 28034 w 1971297"/>
              <a:gd name="connsiteY70" fmla="*/ 735802 h 1970826"/>
              <a:gd name="connsiteX71" fmla="*/ 230121 w 1971297"/>
              <a:gd name="connsiteY71" fmla="*/ 735808 h 1970826"/>
              <a:gd name="connsiteX72" fmla="*/ 240919 w 1971297"/>
              <a:gd name="connsiteY72" fmla="*/ 708079 h 1970826"/>
              <a:gd name="connsiteX73" fmla="*/ 84936 w 1971297"/>
              <a:gd name="connsiteY73" fmla="*/ 585933 h 1970826"/>
              <a:gd name="connsiteX74" fmla="*/ 161584 w 1971297"/>
              <a:gd name="connsiteY74" fmla="*/ 445393 h 1970826"/>
              <a:gd name="connsiteX75" fmla="*/ 354366 w 1971297"/>
              <a:gd name="connsiteY75" fmla="*/ 508031 h 1970826"/>
              <a:gd name="connsiteX76" fmla="*/ 390674 w 1971297"/>
              <a:gd name="connsiteY76" fmla="*/ 457722 h 1970826"/>
              <a:gd name="connsiteX77" fmla="*/ 289626 w 1971297"/>
              <a:gd name="connsiteY77" fmla="*/ 282712 h 1970826"/>
              <a:gd name="connsiteX78" fmla="*/ 413297 w 1971297"/>
              <a:gd name="connsiteY78" fmla="*/ 178940 h 1970826"/>
              <a:gd name="connsiteX79" fmla="*/ 568101 w 1971297"/>
              <a:gd name="connsiteY79" fmla="*/ 308843 h 1970826"/>
              <a:gd name="connsiteX80" fmla="*/ 611018 w 1971297"/>
              <a:gd name="connsiteY80" fmla="*/ 285324 h 1970826"/>
              <a:gd name="connsiteX81" fmla="*/ 576674 w 1971297"/>
              <a:gd name="connsiteY81" fmla="*/ 89277 h 1970826"/>
              <a:gd name="connsiteX82" fmla="*/ 727674 w 1971297"/>
              <a:gd name="connsiteY82" fmla="*/ 36123 h 1970826"/>
              <a:gd name="connsiteX83" fmla="*/ 826689 w 1971297"/>
              <a:gd name="connsiteY83" fmla="*/ 207623 h 1970826"/>
              <a:gd name="connsiteX84" fmla="*/ 869841 w 1971297"/>
              <a:gd name="connsiteY84" fmla="*/ 199018 h 1970826"/>
              <a:gd name="connsiteX85" fmla="*/ 904928 w 1971297"/>
              <a:gd name="connsiteY85" fmla="*/ 0 h 1970826"/>
              <a:gd name="connsiteX0" fmla="*/ 198126 w 1971297"/>
              <a:gd name="connsiteY0" fmla="*/ 1096370 h 1970826"/>
              <a:gd name="connsiteX1" fmla="*/ 199057 w 1971297"/>
              <a:gd name="connsiteY1" fmla="*/ 1110557 h 1970826"/>
              <a:gd name="connsiteX2" fmla="*/ 198126 w 1971297"/>
              <a:gd name="connsiteY2" fmla="*/ 1096370 h 1970826"/>
              <a:gd name="connsiteX3" fmla="*/ 1658502 w 1971297"/>
              <a:gd name="connsiteY3" fmla="*/ 565633 h 1970826"/>
              <a:gd name="connsiteX4" fmla="*/ 1664864 w 1971297"/>
              <a:gd name="connsiteY4" fmla="*/ 574448 h 1970826"/>
              <a:gd name="connsiteX5" fmla="*/ 1664611 w 1971297"/>
              <a:gd name="connsiteY5" fmla="*/ 573966 h 1970826"/>
              <a:gd name="connsiteX6" fmla="*/ 1658502 w 1971297"/>
              <a:gd name="connsiteY6" fmla="*/ 565633 h 1970826"/>
              <a:gd name="connsiteX7" fmla="*/ 985649 w 1971297"/>
              <a:gd name="connsiteY7" fmla="*/ 323553 h 1970826"/>
              <a:gd name="connsiteX8" fmla="*/ 322581 w 1971297"/>
              <a:gd name="connsiteY8" fmla="*/ 986621 h 1970826"/>
              <a:gd name="connsiteX9" fmla="*/ 985649 w 1971297"/>
              <a:gd name="connsiteY9" fmla="*/ 1649689 h 1970826"/>
              <a:gd name="connsiteX10" fmla="*/ 1648717 w 1971297"/>
              <a:gd name="connsiteY10" fmla="*/ 986621 h 1970826"/>
              <a:gd name="connsiteX11" fmla="*/ 985649 w 1971297"/>
              <a:gd name="connsiteY11" fmla="*/ 323553 h 1970826"/>
              <a:gd name="connsiteX12" fmla="*/ 904928 w 1971297"/>
              <a:gd name="connsiteY12" fmla="*/ 0 h 1970826"/>
              <a:gd name="connsiteX13" fmla="*/ 1066369 w 1971297"/>
              <a:gd name="connsiteY13" fmla="*/ 0 h 1970826"/>
              <a:gd name="connsiteX14" fmla="*/ 1101456 w 1971297"/>
              <a:gd name="connsiteY14" fmla="*/ 199018 h 1970826"/>
              <a:gd name="connsiteX15" fmla="*/ 1149113 w 1971297"/>
              <a:gd name="connsiteY15" fmla="*/ 208521 h 1970826"/>
              <a:gd name="connsiteX16" fmla="*/ 1245734 w 1971297"/>
              <a:gd name="connsiteY16" fmla="*/ 36367 h 1970826"/>
              <a:gd name="connsiteX17" fmla="*/ 1396309 w 1971297"/>
              <a:gd name="connsiteY17" fmla="*/ 90716 h 1970826"/>
              <a:gd name="connsiteX18" fmla="*/ 1364293 w 1971297"/>
              <a:gd name="connsiteY18" fmla="*/ 287523 h 1970826"/>
              <a:gd name="connsiteX19" fmla="*/ 1403197 w 1971297"/>
              <a:gd name="connsiteY19" fmla="*/ 308843 h 1970826"/>
              <a:gd name="connsiteX20" fmla="*/ 1558001 w 1971297"/>
              <a:gd name="connsiteY20" fmla="*/ 178940 h 1970826"/>
              <a:gd name="connsiteX21" fmla="*/ 1681671 w 1971297"/>
              <a:gd name="connsiteY21" fmla="*/ 282712 h 1970826"/>
              <a:gd name="connsiteX22" fmla="*/ 1580623 w 1971297"/>
              <a:gd name="connsiteY22" fmla="*/ 457722 h 1970826"/>
              <a:gd name="connsiteX23" fmla="*/ 1610608 w 1971297"/>
              <a:gd name="connsiteY23" fmla="*/ 499270 h 1970826"/>
              <a:gd name="connsiteX24" fmla="*/ 1802874 w 1971297"/>
              <a:gd name="connsiteY24" fmla="*/ 433067 h 1970826"/>
              <a:gd name="connsiteX25" fmla="*/ 1881963 w 1971297"/>
              <a:gd name="connsiteY25" fmla="*/ 572248 h 1970826"/>
              <a:gd name="connsiteX26" fmla="*/ 1726590 w 1971297"/>
              <a:gd name="connsiteY26" fmla="*/ 698353 h 1970826"/>
              <a:gd name="connsiteX27" fmla="*/ 1741176 w 1971297"/>
              <a:gd name="connsiteY27" fmla="*/ 735808 h 1970826"/>
              <a:gd name="connsiteX28" fmla="*/ 1943264 w 1971297"/>
              <a:gd name="connsiteY28" fmla="*/ 735802 h 1970826"/>
              <a:gd name="connsiteX29" fmla="*/ 1971297 w 1971297"/>
              <a:gd name="connsiteY29" fmla="*/ 894790 h 1970826"/>
              <a:gd name="connsiteX30" fmla="*/ 1781396 w 1971297"/>
              <a:gd name="connsiteY30" fmla="*/ 963903 h 1970826"/>
              <a:gd name="connsiteX31" fmla="*/ 1780264 w 1971297"/>
              <a:gd name="connsiteY31" fmla="*/ 1014677 h 1970826"/>
              <a:gd name="connsiteX32" fmla="*/ 1969010 w 1971297"/>
              <a:gd name="connsiteY32" fmla="*/ 1087130 h 1970826"/>
              <a:gd name="connsiteX33" fmla="*/ 1940132 w 1971297"/>
              <a:gd name="connsiteY33" fmla="*/ 1244586 h 1970826"/>
              <a:gd name="connsiteX34" fmla="*/ 1738798 w 1971297"/>
              <a:gd name="connsiteY34" fmla="*/ 1241295 h 1970826"/>
              <a:gd name="connsiteX35" fmla="*/ 1725636 w 1971297"/>
              <a:gd name="connsiteY35" fmla="*/ 1280130 h 1970826"/>
              <a:gd name="connsiteX36" fmla="*/ 1880447 w 1971297"/>
              <a:gd name="connsiteY36" fmla="*/ 1410026 h 1970826"/>
              <a:gd name="connsiteX37" fmla="*/ 1799727 w 1971297"/>
              <a:gd name="connsiteY37" fmla="*/ 1549837 h 1970826"/>
              <a:gd name="connsiteX38" fmla="*/ 1609829 w 1971297"/>
              <a:gd name="connsiteY38" fmla="*/ 1480714 h 1970826"/>
              <a:gd name="connsiteX39" fmla="*/ 1579151 w 1971297"/>
              <a:gd name="connsiteY39" fmla="*/ 1512281 h 1970826"/>
              <a:gd name="connsiteX40" fmla="*/ 1677610 w 1971297"/>
              <a:gd name="connsiteY40" fmla="*/ 1689905 h 1970826"/>
              <a:gd name="connsiteX41" fmla="*/ 1554277 w 1971297"/>
              <a:gd name="connsiteY41" fmla="*/ 1791961 h 1970826"/>
              <a:gd name="connsiteX42" fmla="*/ 1402854 w 1971297"/>
              <a:gd name="connsiteY42" fmla="*/ 1660626 h 1970826"/>
              <a:gd name="connsiteX43" fmla="*/ 1363848 w 1971297"/>
              <a:gd name="connsiteY43" fmla="*/ 1687117 h 1970826"/>
              <a:gd name="connsiteX44" fmla="*/ 1398945 w 1971297"/>
              <a:gd name="connsiteY44" fmla="*/ 1886133 h 1970826"/>
              <a:gd name="connsiteX45" fmla="*/ 1247240 w 1971297"/>
              <a:gd name="connsiteY45" fmla="*/ 1941349 h 1970826"/>
              <a:gd name="connsiteX46" fmla="*/ 1146202 w 1971297"/>
              <a:gd name="connsiteY46" fmla="*/ 1766334 h 1970826"/>
              <a:gd name="connsiteX47" fmla="*/ 1100680 w 1971297"/>
              <a:gd name="connsiteY47" fmla="*/ 1773318 h 1970826"/>
              <a:gd name="connsiteX48" fmla="*/ 1062288 w 1971297"/>
              <a:gd name="connsiteY48" fmla="*/ 1970826 h 1970826"/>
              <a:gd name="connsiteX49" fmla="*/ 902210 w 1971297"/>
              <a:gd name="connsiteY49" fmla="*/ 1969728 h 1970826"/>
              <a:gd name="connsiteX50" fmla="*/ 870884 w 1971297"/>
              <a:gd name="connsiteY50" fmla="*/ 1773359 h 1970826"/>
              <a:gd name="connsiteX51" fmla="*/ 825096 w 1971297"/>
              <a:gd name="connsiteY51" fmla="*/ 1766334 h 1970826"/>
              <a:gd name="connsiteX52" fmla="*/ 724057 w 1971297"/>
              <a:gd name="connsiteY52" fmla="*/ 1941349 h 1970826"/>
              <a:gd name="connsiteX53" fmla="*/ 572352 w 1971297"/>
              <a:gd name="connsiteY53" fmla="*/ 1886133 h 1970826"/>
              <a:gd name="connsiteX54" fmla="*/ 607450 w 1971297"/>
              <a:gd name="connsiteY54" fmla="*/ 1687117 h 1970826"/>
              <a:gd name="connsiteX55" fmla="*/ 571181 w 1971297"/>
              <a:gd name="connsiteY55" fmla="*/ 1662485 h 1970826"/>
              <a:gd name="connsiteX56" fmla="*/ 421150 w 1971297"/>
              <a:gd name="connsiteY56" fmla="*/ 1792613 h 1970826"/>
              <a:gd name="connsiteX57" fmla="*/ 297817 w 1971297"/>
              <a:gd name="connsiteY57" fmla="*/ 1690557 h 1970826"/>
              <a:gd name="connsiteX58" fmla="*/ 395006 w 1971297"/>
              <a:gd name="connsiteY58" fmla="*/ 1515223 h 1970826"/>
              <a:gd name="connsiteX59" fmla="*/ 361468 w 1971297"/>
              <a:gd name="connsiteY59" fmla="*/ 1480715 h 1970826"/>
              <a:gd name="connsiteX60" fmla="*/ 171570 w 1971297"/>
              <a:gd name="connsiteY60" fmla="*/ 1549837 h 1970826"/>
              <a:gd name="connsiteX61" fmla="*/ 90850 w 1971297"/>
              <a:gd name="connsiteY61" fmla="*/ 1410026 h 1970826"/>
              <a:gd name="connsiteX62" fmla="*/ 245661 w 1971297"/>
              <a:gd name="connsiteY62" fmla="*/ 1280131 h 1970826"/>
              <a:gd name="connsiteX63" fmla="*/ 233972 w 1971297"/>
              <a:gd name="connsiteY63" fmla="*/ 1245643 h 1970826"/>
              <a:gd name="connsiteX64" fmla="*/ 31451 w 1971297"/>
              <a:gd name="connsiteY64" fmla="*/ 1248953 h 1970826"/>
              <a:gd name="connsiteX65" fmla="*/ 2573 w 1971297"/>
              <a:gd name="connsiteY65" fmla="*/ 1091497 h 1970826"/>
              <a:gd name="connsiteX66" fmla="*/ 191133 w 1971297"/>
              <a:gd name="connsiteY66" fmla="*/ 1019115 h 1970826"/>
              <a:gd name="connsiteX67" fmla="*/ 189902 w 1971297"/>
              <a:gd name="connsiteY67" fmla="*/ 963904 h 1970826"/>
              <a:gd name="connsiteX68" fmla="*/ 0 w 1971297"/>
              <a:gd name="connsiteY68" fmla="*/ 894790 h 1970826"/>
              <a:gd name="connsiteX69" fmla="*/ 28034 w 1971297"/>
              <a:gd name="connsiteY69" fmla="*/ 735802 h 1970826"/>
              <a:gd name="connsiteX70" fmla="*/ 230121 w 1971297"/>
              <a:gd name="connsiteY70" fmla="*/ 735808 h 1970826"/>
              <a:gd name="connsiteX71" fmla="*/ 240919 w 1971297"/>
              <a:gd name="connsiteY71" fmla="*/ 708079 h 1970826"/>
              <a:gd name="connsiteX72" fmla="*/ 84936 w 1971297"/>
              <a:gd name="connsiteY72" fmla="*/ 585933 h 1970826"/>
              <a:gd name="connsiteX73" fmla="*/ 161584 w 1971297"/>
              <a:gd name="connsiteY73" fmla="*/ 445393 h 1970826"/>
              <a:gd name="connsiteX74" fmla="*/ 354366 w 1971297"/>
              <a:gd name="connsiteY74" fmla="*/ 508031 h 1970826"/>
              <a:gd name="connsiteX75" fmla="*/ 390674 w 1971297"/>
              <a:gd name="connsiteY75" fmla="*/ 457722 h 1970826"/>
              <a:gd name="connsiteX76" fmla="*/ 289626 w 1971297"/>
              <a:gd name="connsiteY76" fmla="*/ 282712 h 1970826"/>
              <a:gd name="connsiteX77" fmla="*/ 413297 w 1971297"/>
              <a:gd name="connsiteY77" fmla="*/ 178940 h 1970826"/>
              <a:gd name="connsiteX78" fmla="*/ 568101 w 1971297"/>
              <a:gd name="connsiteY78" fmla="*/ 308843 h 1970826"/>
              <a:gd name="connsiteX79" fmla="*/ 611018 w 1971297"/>
              <a:gd name="connsiteY79" fmla="*/ 285324 h 1970826"/>
              <a:gd name="connsiteX80" fmla="*/ 576674 w 1971297"/>
              <a:gd name="connsiteY80" fmla="*/ 89277 h 1970826"/>
              <a:gd name="connsiteX81" fmla="*/ 727674 w 1971297"/>
              <a:gd name="connsiteY81" fmla="*/ 36123 h 1970826"/>
              <a:gd name="connsiteX82" fmla="*/ 826689 w 1971297"/>
              <a:gd name="connsiteY82" fmla="*/ 207623 h 1970826"/>
              <a:gd name="connsiteX83" fmla="*/ 869841 w 1971297"/>
              <a:gd name="connsiteY83" fmla="*/ 199018 h 1970826"/>
              <a:gd name="connsiteX84" fmla="*/ 904928 w 1971297"/>
              <a:gd name="connsiteY84" fmla="*/ 0 h 1970826"/>
              <a:gd name="connsiteX0" fmla="*/ 1658502 w 1971297"/>
              <a:gd name="connsiteY0" fmla="*/ 565633 h 1970826"/>
              <a:gd name="connsiteX1" fmla="*/ 1664864 w 1971297"/>
              <a:gd name="connsiteY1" fmla="*/ 574448 h 1970826"/>
              <a:gd name="connsiteX2" fmla="*/ 1664611 w 1971297"/>
              <a:gd name="connsiteY2" fmla="*/ 573966 h 1970826"/>
              <a:gd name="connsiteX3" fmla="*/ 1658502 w 1971297"/>
              <a:gd name="connsiteY3" fmla="*/ 565633 h 1970826"/>
              <a:gd name="connsiteX4" fmla="*/ 985649 w 1971297"/>
              <a:gd name="connsiteY4" fmla="*/ 323553 h 1970826"/>
              <a:gd name="connsiteX5" fmla="*/ 322581 w 1971297"/>
              <a:gd name="connsiteY5" fmla="*/ 986621 h 1970826"/>
              <a:gd name="connsiteX6" fmla="*/ 985649 w 1971297"/>
              <a:gd name="connsiteY6" fmla="*/ 1649689 h 1970826"/>
              <a:gd name="connsiteX7" fmla="*/ 1648717 w 1971297"/>
              <a:gd name="connsiteY7" fmla="*/ 986621 h 1970826"/>
              <a:gd name="connsiteX8" fmla="*/ 985649 w 1971297"/>
              <a:gd name="connsiteY8" fmla="*/ 323553 h 1970826"/>
              <a:gd name="connsiteX9" fmla="*/ 904928 w 1971297"/>
              <a:gd name="connsiteY9" fmla="*/ 0 h 1970826"/>
              <a:gd name="connsiteX10" fmla="*/ 1066369 w 1971297"/>
              <a:gd name="connsiteY10" fmla="*/ 0 h 1970826"/>
              <a:gd name="connsiteX11" fmla="*/ 1101456 w 1971297"/>
              <a:gd name="connsiteY11" fmla="*/ 199018 h 1970826"/>
              <a:gd name="connsiteX12" fmla="*/ 1149113 w 1971297"/>
              <a:gd name="connsiteY12" fmla="*/ 208521 h 1970826"/>
              <a:gd name="connsiteX13" fmla="*/ 1245734 w 1971297"/>
              <a:gd name="connsiteY13" fmla="*/ 36367 h 1970826"/>
              <a:gd name="connsiteX14" fmla="*/ 1396309 w 1971297"/>
              <a:gd name="connsiteY14" fmla="*/ 90716 h 1970826"/>
              <a:gd name="connsiteX15" fmla="*/ 1364293 w 1971297"/>
              <a:gd name="connsiteY15" fmla="*/ 287523 h 1970826"/>
              <a:gd name="connsiteX16" fmla="*/ 1403197 w 1971297"/>
              <a:gd name="connsiteY16" fmla="*/ 308843 h 1970826"/>
              <a:gd name="connsiteX17" fmla="*/ 1558001 w 1971297"/>
              <a:gd name="connsiteY17" fmla="*/ 178940 h 1970826"/>
              <a:gd name="connsiteX18" fmla="*/ 1681671 w 1971297"/>
              <a:gd name="connsiteY18" fmla="*/ 282712 h 1970826"/>
              <a:gd name="connsiteX19" fmla="*/ 1580623 w 1971297"/>
              <a:gd name="connsiteY19" fmla="*/ 457722 h 1970826"/>
              <a:gd name="connsiteX20" fmla="*/ 1610608 w 1971297"/>
              <a:gd name="connsiteY20" fmla="*/ 499270 h 1970826"/>
              <a:gd name="connsiteX21" fmla="*/ 1802874 w 1971297"/>
              <a:gd name="connsiteY21" fmla="*/ 433067 h 1970826"/>
              <a:gd name="connsiteX22" fmla="*/ 1881963 w 1971297"/>
              <a:gd name="connsiteY22" fmla="*/ 572248 h 1970826"/>
              <a:gd name="connsiteX23" fmla="*/ 1726590 w 1971297"/>
              <a:gd name="connsiteY23" fmla="*/ 698353 h 1970826"/>
              <a:gd name="connsiteX24" fmla="*/ 1741176 w 1971297"/>
              <a:gd name="connsiteY24" fmla="*/ 735808 h 1970826"/>
              <a:gd name="connsiteX25" fmla="*/ 1943264 w 1971297"/>
              <a:gd name="connsiteY25" fmla="*/ 735802 h 1970826"/>
              <a:gd name="connsiteX26" fmla="*/ 1971297 w 1971297"/>
              <a:gd name="connsiteY26" fmla="*/ 894790 h 1970826"/>
              <a:gd name="connsiteX27" fmla="*/ 1781396 w 1971297"/>
              <a:gd name="connsiteY27" fmla="*/ 963903 h 1970826"/>
              <a:gd name="connsiteX28" fmla="*/ 1780264 w 1971297"/>
              <a:gd name="connsiteY28" fmla="*/ 1014677 h 1970826"/>
              <a:gd name="connsiteX29" fmla="*/ 1969010 w 1971297"/>
              <a:gd name="connsiteY29" fmla="*/ 1087130 h 1970826"/>
              <a:gd name="connsiteX30" fmla="*/ 1940132 w 1971297"/>
              <a:gd name="connsiteY30" fmla="*/ 1244586 h 1970826"/>
              <a:gd name="connsiteX31" fmla="*/ 1738798 w 1971297"/>
              <a:gd name="connsiteY31" fmla="*/ 1241295 h 1970826"/>
              <a:gd name="connsiteX32" fmla="*/ 1725636 w 1971297"/>
              <a:gd name="connsiteY32" fmla="*/ 1280130 h 1970826"/>
              <a:gd name="connsiteX33" fmla="*/ 1880447 w 1971297"/>
              <a:gd name="connsiteY33" fmla="*/ 1410026 h 1970826"/>
              <a:gd name="connsiteX34" fmla="*/ 1799727 w 1971297"/>
              <a:gd name="connsiteY34" fmla="*/ 1549837 h 1970826"/>
              <a:gd name="connsiteX35" fmla="*/ 1609829 w 1971297"/>
              <a:gd name="connsiteY35" fmla="*/ 1480714 h 1970826"/>
              <a:gd name="connsiteX36" fmla="*/ 1579151 w 1971297"/>
              <a:gd name="connsiteY36" fmla="*/ 1512281 h 1970826"/>
              <a:gd name="connsiteX37" fmla="*/ 1677610 w 1971297"/>
              <a:gd name="connsiteY37" fmla="*/ 1689905 h 1970826"/>
              <a:gd name="connsiteX38" fmla="*/ 1554277 w 1971297"/>
              <a:gd name="connsiteY38" fmla="*/ 1791961 h 1970826"/>
              <a:gd name="connsiteX39" fmla="*/ 1402854 w 1971297"/>
              <a:gd name="connsiteY39" fmla="*/ 1660626 h 1970826"/>
              <a:gd name="connsiteX40" fmla="*/ 1363848 w 1971297"/>
              <a:gd name="connsiteY40" fmla="*/ 1687117 h 1970826"/>
              <a:gd name="connsiteX41" fmla="*/ 1398945 w 1971297"/>
              <a:gd name="connsiteY41" fmla="*/ 1886133 h 1970826"/>
              <a:gd name="connsiteX42" fmla="*/ 1247240 w 1971297"/>
              <a:gd name="connsiteY42" fmla="*/ 1941349 h 1970826"/>
              <a:gd name="connsiteX43" fmla="*/ 1146202 w 1971297"/>
              <a:gd name="connsiteY43" fmla="*/ 1766334 h 1970826"/>
              <a:gd name="connsiteX44" fmla="*/ 1100680 w 1971297"/>
              <a:gd name="connsiteY44" fmla="*/ 1773318 h 1970826"/>
              <a:gd name="connsiteX45" fmla="*/ 1062288 w 1971297"/>
              <a:gd name="connsiteY45" fmla="*/ 1970826 h 1970826"/>
              <a:gd name="connsiteX46" fmla="*/ 902210 w 1971297"/>
              <a:gd name="connsiteY46" fmla="*/ 1969728 h 1970826"/>
              <a:gd name="connsiteX47" fmla="*/ 870884 w 1971297"/>
              <a:gd name="connsiteY47" fmla="*/ 1773359 h 1970826"/>
              <a:gd name="connsiteX48" fmla="*/ 825096 w 1971297"/>
              <a:gd name="connsiteY48" fmla="*/ 1766334 h 1970826"/>
              <a:gd name="connsiteX49" fmla="*/ 724057 w 1971297"/>
              <a:gd name="connsiteY49" fmla="*/ 1941349 h 1970826"/>
              <a:gd name="connsiteX50" fmla="*/ 572352 w 1971297"/>
              <a:gd name="connsiteY50" fmla="*/ 1886133 h 1970826"/>
              <a:gd name="connsiteX51" fmla="*/ 607450 w 1971297"/>
              <a:gd name="connsiteY51" fmla="*/ 1687117 h 1970826"/>
              <a:gd name="connsiteX52" fmla="*/ 571181 w 1971297"/>
              <a:gd name="connsiteY52" fmla="*/ 1662485 h 1970826"/>
              <a:gd name="connsiteX53" fmla="*/ 421150 w 1971297"/>
              <a:gd name="connsiteY53" fmla="*/ 1792613 h 1970826"/>
              <a:gd name="connsiteX54" fmla="*/ 297817 w 1971297"/>
              <a:gd name="connsiteY54" fmla="*/ 1690557 h 1970826"/>
              <a:gd name="connsiteX55" fmla="*/ 395006 w 1971297"/>
              <a:gd name="connsiteY55" fmla="*/ 1515223 h 1970826"/>
              <a:gd name="connsiteX56" fmla="*/ 361468 w 1971297"/>
              <a:gd name="connsiteY56" fmla="*/ 1480715 h 1970826"/>
              <a:gd name="connsiteX57" fmla="*/ 171570 w 1971297"/>
              <a:gd name="connsiteY57" fmla="*/ 1549837 h 1970826"/>
              <a:gd name="connsiteX58" fmla="*/ 90850 w 1971297"/>
              <a:gd name="connsiteY58" fmla="*/ 1410026 h 1970826"/>
              <a:gd name="connsiteX59" fmla="*/ 245661 w 1971297"/>
              <a:gd name="connsiteY59" fmla="*/ 1280131 h 1970826"/>
              <a:gd name="connsiteX60" fmla="*/ 233972 w 1971297"/>
              <a:gd name="connsiteY60" fmla="*/ 1245643 h 1970826"/>
              <a:gd name="connsiteX61" fmla="*/ 31451 w 1971297"/>
              <a:gd name="connsiteY61" fmla="*/ 1248953 h 1970826"/>
              <a:gd name="connsiteX62" fmla="*/ 2573 w 1971297"/>
              <a:gd name="connsiteY62" fmla="*/ 1091497 h 1970826"/>
              <a:gd name="connsiteX63" fmla="*/ 191133 w 1971297"/>
              <a:gd name="connsiteY63" fmla="*/ 1019115 h 1970826"/>
              <a:gd name="connsiteX64" fmla="*/ 189902 w 1971297"/>
              <a:gd name="connsiteY64" fmla="*/ 963904 h 1970826"/>
              <a:gd name="connsiteX65" fmla="*/ 0 w 1971297"/>
              <a:gd name="connsiteY65" fmla="*/ 894790 h 1970826"/>
              <a:gd name="connsiteX66" fmla="*/ 28034 w 1971297"/>
              <a:gd name="connsiteY66" fmla="*/ 735802 h 1970826"/>
              <a:gd name="connsiteX67" fmla="*/ 230121 w 1971297"/>
              <a:gd name="connsiteY67" fmla="*/ 735808 h 1970826"/>
              <a:gd name="connsiteX68" fmla="*/ 240919 w 1971297"/>
              <a:gd name="connsiteY68" fmla="*/ 708079 h 1970826"/>
              <a:gd name="connsiteX69" fmla="*/ 84936 w 1971297"/>
              <a:gd name="connsiteY69" fmla="*/ 585933 h 1970826"/>
              <a:gd name="connsiteX70" fmla="*/ 161584 w 1971297"/>
              <a:gd name="connsiteY70" fmla="*/ 445393 h 1970826"/>
              <a:gd name="connsiteX71" fmla="*/ 354366 w 1971297"/>
              <a:gd name="connsiteY71" fmla="*/ 508031 h 1970826"/>
              <a:gd name="connsiteX72" fmla="*/ 390674 w 1971297"/>
              <a:gd name="connsiteY72" fmla="*/ 457722 h 1970826"/>
              <a:gd name="connsiteX73" fmla="*/ 289626 w 1971297"/>
              <a:gd name="connsiteY73" fmla="*/ 282712 h 1970826"/>
              <a:gd name="connsiteX74" fmla="*/ 413297 w 1971297"/>
              <a:gd name="connsiteY74" fmla="*/ 178940 h 1970826"/>
              <a:gd name="connsiteX75" fmla="*/ 568101 w 1971297"/>
              <a:gd name="connsiteY75" fmla="*/ 308843 h 1970826"/>
              <a:gd name="connsiteX76" fmla="*/ 611018 w 1971297"/>
              <a:gd name="connsiteY76" fmla="*/ 285324 h 1970826"/>
              <a:gd name="connsiteX77" fmla="*/ 576674 w 1971297"/>
              <a:gd name="connsiteY77" fmla="*/ 89277 h 1970826"/>
              <a:gd name="connsiteX78" fmla="*/ 727674 w 1971297"/>
              <a:gd name="connsiteY78" fmla="*/ 36123 h 1970826"/>
              <a:gd name="connsiteX79" fmla="*/ 826689 w 1971297"/>
              <a:gd name="connsiteY79" fmla="*/ 207623 h 1970826"/>
              <a:gd name="connsiteX80" fmla="*/ 869841 w 1971297"/>
              <a:gd name="connsiteY80" fmla="*/ 199018 h 1970826"/>
              <a:gd name="connsiteX81" fmla="*/ 904928 w 1971297"/>
              <a:gd name="connsiteY81" fmla="*/ 0 h 1970826"/>
              <a:gd name="connsiteX0" fmla="*/ 1664611 w 1971297"/>
              <a:gd name="connsiteY0" fmla="*/ 573966 h 1970826"/>
              <a:gd name="connsiteX1" fmla="*/ 1664864 w 1971297"/>
              <a:gd name="connsiteY1" fmla="*/ 574448 h 1970826"/>
              <a:gd name="connsiteX2" fmla="*/ 1664611 w 1971297"/>
              <a:gd name="connsiteY2" fmla="*/ 573966 h 1970826"/>
              <a:gd name="connsiteX3" fmla="*/ 985649 w 1971297"/>
              <a:gd name="connsiteY3" fmla="*/ 323553 h 1970826"/>
              <a:gd name="connsiteX4" fmla="*/ 322581 w 1971297"/>
              <a:gd name="connsiteY4" fmla="*/ 986621 h 1970826"/>
              <a:gd name="connsiteX5" fmla="*/ 985649 w 1971297"/>
              <a:gd name="connsiteY5" fmla="*/ 1649689 h 1970826"/>
              <a:gd name="connsiteX6" fmla="*/ 1648717 w 1971297"/>
              <a:gd name="connsiteY6" fmla="*/ 986621 h 1970826"/>
              <a:gd name="connsiteX7" fmla="*/ 985649 w 1971297"/>
              <a:gd name="connsiteY7" fmla="*/ 323553 h 1970826"/>
              <a:gd name="connsiteX8" fmla="*/ 904928 w 1971297"/>
              <a:gd name="connsiteY8" fmla="*/ 0 h 1970826"/>
              <a:gd name="connsiteX9" fmla="*/ 1066369 w 1971297"/>
              <a:gd name="connsiteY9" fmla="*/ 0 h 1970826"/>
              <a:gd name="connsiteX10" fmla="*/ 1101456 w 1971297"/>
              <a:gd name="connsiteY10" fmla="*/ 199018 h 1970826"/>
              <a:gd name="connsiteX11" fmla="*/ 1149113 w 1971297"/>
              <a:gd name="connsiteY11" fmla="*/ 208521 h 1970826"/>
              <a:gd name="connsiteX12" fmla="*/ 1245734 w 1971297"/>
              <a:gd name="connsiteY12" fmla="*/ 36367 h 1970826"/>
              <a:gd name="connsiteX13" fmla="*/ 1396309 w 1971297"/>
              <a:gd name="connsiteY13" fmla="*/ 90716 h 1970826"/>
              <a:gd name="connsiteX14" fmla="*/ 1364293 w 1971297"/>
              <a:gd name="connsiteY14" fmla="*/ 287523 h 1970826"/>
              <a:gd name="connsiteX15" fmla="*/ 1403197 w 1971297"/>
              <a:gd name="connsiteY15" fmla="*/ 308843 h 1970826"/>
              <a:gd name="connsiteX16" fmla="*/ 1558001 w 1971297"/>
              <a:gd name="connsiteY16" fmla="*/ 178940 h 1970826"/>
              <a:gd name="connsiteX17" fmla="*/ 1681671 w 1971297"/>
              <a:gd name="connsiteY17" fmla="*/ 282712 h 1970826"/>
              <a:gd name="connsiteX18" fmla="*/ 1580623 w 1971297"/>
              <a:gd name="connsiteY18" fmla="*/ 457722 h 1970826"/>
              <a:gd name="connsiteX19" fmla="*/ 1610608 w 1971297"/>
              <a:gd name="connsiteY19" fmla="*/ 499270 h 1970826"/>
              <a:gd name="connsiteX20" fmla="*/ 1802874 w 1971297"/>
              <a:gd name="connsiteY20" fmla="*/ 433067 h 1970826"/>
              <a:gd name="connsiteX21" fmla="*/ 1881963 w 1971297"/>
              <a:gd name="connsiteY21" fmla="*/ 572248 h 1970826"/>
              <a:gd name="connsiteX22" fmla="*/ 1726590 w 1971297"/>
              <a:gd name="connsiteY22" fmla="*/ 698353 h 1970826"/>
              <a:gd name="connsiteX23" fmla="*/ 1741176 w 1971297"/>
              <a:gd name="connsiteY23" fmla="*/ 735808 h 1970826"/>
              <a:gd name="connsiteX24" fmla="*/ 1943264 w 1971297"/>
              <a:gd name="connsiteY24" fmla="*/ 735802 h 1970826"/>
              <a:gd name="connsiteX25" fmla="*/ 1971297 w 1971297"/>
              <a:gd name="connsiteY25" fmla="*/ 894790 h 1970826"/>
              <a:gd name="connsiteX26" fmla="*/ 1781396 w 1971297"/>
              <a:gd name="connsiteY26" fmla="*/ 963903 h 1970826"/>
              <a:gd name="connsiteX27" fmla="*/ 1780264 w 1971297"/>
              <a:gd name="connsiteY27" fmla="*/ 1014677 h 1970826"/>
              <a:gd name="connsiteX28" fmla="*/ 1969010 w 1971297"/>
              <a:gd name="connsiteY28" fmla="*/ 1087130 h 1970826"/>
              <a:gd name="connsiteX29" fmla="*/ 1940132 w 1971297"/>
              <a:gd name="connsiteY29" fmla="*/ 1244586 h 1970826"/>
              <a:gd name="connsiteX30" fmla="*/ 1738798 w 1971297"/>
              <a:gd name="connsiteY30" fmla="*/ 1241295 h 1970826"/>
              <a:gd name="connsiteX31" fmla="*/ 1725636 w 1971297"/>
              <a:gd name="connsiteY31" fmla="*/ 1280130 h 1970826"/>
              <a:gd name="connsiteX32" fmla="*/ 1880447 w 1971297"/>
              <a:gd name="connsiteY32" fmla="*/ 1410026 h 1970826"/>
              <a:gd name="connsiteX33" fmla="*/ 1799727 w 1971297"/>
              <a:gd name="connsiteY33" fmla="*/ 1549837 h 1970826"/>
              <a:gd name="connsiteX34" fmla="*/ 1609829 w 1971297"/>
              <a:gd name="connsiteY34" fmla="*/ 1480714 h 1970826"/>
              <a:gd name="connsiteX35" fmla="*/ 1579151 w 1971297"/>
              <a:gd name="connsiteY35" fmla="*/ 1512281 h 1970826"/>
              <a:gd name="connsiteX36" fmla="*/ 1677610 w 1971297"/>
              <a:gd name="connsiteY36" fmla="*/ 1689905 h 1970826"/>
              <a:gd name="connsiteX37" fmla="*/ 1554277 w 1971297"/>
              <a:gd name="connsiteY37" fmla="*/ 1791961 h 1970826"/>
              <a:gd name="connsiteX38" fmla="*/ 1402854 w 1971297"/>
              <a:gd name="connsiteY38" fmla="*/ 1660626 h 1970826"/>
              <a:gd name="connsiteX39" fmla="*/ 1363848 w 1971297"/>
              <a:gd name="connsiteY39" fmla="*/ 1687117 h 1970826"/>
              <a:gd name="connsiteX40" fmla="*/ 1398945 w 1971297"/>
              <a:gd name="connsiteY40" fmla="*/ 1886133 h 1970826"/>
              <a:gd name="connsiteX41" fmla="*/ 1247240 w 1971297"/>
              <a:gd name="connsiteY41" fmla="*/ 1941349 h 1970826"/>
              <a:gd name="connsiteX42" fmla="*/ 1146202 w 1971297"/>
              <a:gd name="connsiteY42" fmla="*/ 1766334 h 1970826"/>
              <a:gd name="connsiteX43" fmla="*/ 1100680 w 1971297"/>
              <a:gd name="connsiteY43" fmla="*/ 1773318 h 1970826"/>
              <a:gd name="connsiteX44" fmla="*/ 1062288 w 1971297"/>
              <a:gd name="connsiteY44" fmla="*/ 1970826 h 1970826"/>
              <a:gd name="connsiteX45" fmla="*/ 902210 w 1971297"/>
              <a:gd name="connsiteY45" fmla="*/ 1969728 h 1970826"/>
              <a:gd name="connsiteX46" fmla="*/ 870884 w 1971297"/>
              <a:gd name="connsiteY46" fmla="*/ 1773359 h 1970826"/>
              <a:gd name="connsiteX47" fmla="*/ 825096 w 1971297"/>
              <a:gd name="connsiteY47" fmla="*/ 1766334 h 1970826"/>
              <a:gd name="connsiteX48" fmla="*/ 724057 w 1971297"/>
              <a:gd name="connsiteY48" fmla="*/ 1941349 h 1970826"/>
              <a:gd name="connsiteX49" fmla="*/ 572352 w 1971297"/>
              <a:gd name="connsiteY49" fmla="*/ 1886133 h 1970826"/>
              <a:gd name="connsiteX50" fmla="*/ 607450 w 1971297"/>
              <a:gd name="connsiteY50" fmla="*/ 1687117 h 1970826"/>
              <a:gd name="connsiteX51" fmla="*/ 571181 w 1971297"/>
              <a:gd name="connsiteY51" fmla="*/ 1662485 h 1970826"/>
              <a:gd name="connsiteX52" fmla="*/ 421150 w 1971297"/>
              <a:gd name="connsiteY52" fmla="*/ 1792613 h 1970826"/>
              <a:gd name="connsiteX53" fmla="*/ 297817 w 1971297"/>
              <a:gd name="connsiteY53" fmla="*/ 1690557 h 1970826"/>
              <a:gd name="connsiteX54" fmla="*/ 395006 w 1971297"/>
              <a:gd name="connsiteY54" fmla="*/ 1515223 h 1970826"/>
              <a:gd name="connsiteX55" fmla="*/ 361468 w 1971297"/>
              <a:gd name="connsiteY55" fmla="*/ 1480715 h 1970826"/>
              <a:gd name="connsiteX56" fmla="*/ 171570 w 1971297"/>
              <a:gd name="connsiteY56" fmla="*/ 1549837 h 1970826"/>
              <a:gd name="connsiteX57" fmla="*/ 90850 w 1971297"/>
              <a:gd name="connsiteY57" fmla="*/ 1410026 h 1970826"/>
              <a:gd name="connsiteX58" fmla="*/ 245661 w 1971297"/>
              <a:gd name="connsiteY58" fmla="*/ 1280131 h 1970826"/>
              <a:gd name="connsiteX59" fmla="*/ 233972 w 1971297"/>
              <a:gd name="connsiteY59" fmla="*/ 1245643 h 1970826"/>
              <a:gd name="connsiteX60" fmla="*/ 31451 w 1971297"/>
              <a:gd name="connsiteY60" fmla="*/ 1248953 h 1970826"/>
              <a:gd name="connsiteX61" fmla="*/ 2573 w 1971297"/>
              <a:gd name="connsiteY61" fmla="*/ 1091497 h 1970826"/>
              <a:gd name="connsiteX62" fmla="*/ 191133 w 1971297"/>
              <a:gd name="connsiteY62" fmla="*/ 1019115 h 1970826"/>
              <a:gd name="connsiteX63" fmla="*/ 189902 w 1971297"/>
              <a:gd name="connsiteY63" fmla="*/ 963904 h 1970826"/>
              <a:gd name="connsiteX64" fmla="*/ 0 w 1971297"/>
              <a:gd name="connsiteY64" fmla="*/ 894790 h 1970826"/>
              <a:gd name="connsiteX65" fmla="*/ 28034 w 1971297"/>
              <a:gd name="connsiteY65" fmla="*/ 735802 h 1970826"/>
              <a:gd name="connsiteX66" fmla="*/ 230121 w 1971297"/>
              <a:gd name="connsiteY66" fmla="*/ 735808 h 1970826"/>
              <a:gd name="connsiteX67" fmla="*/ 240919 w 1971297"/>
              <a:gd name="connsiteY67" fmla="*/ 708079 h 1970826"/>
              <a:gd name="connsiteX68" fmla="*/ 84936 w 1971297"/>
              <a:gd name="connsiteY68" fmla="*/ 585933 h 1970826"/>
              <a:gd name="connsiteX69" fmla="*/ 161584 w 1971297"/>
              <a:gd name="connsiteY69" fmla="*/ 445393 h 1970826"/>
              <a:gd name="connsiteX70" fmla="*/ 354366 w 1971297"/>
              <a:gd name="connsiteY70" fmla="*/ 508031 h 1970826"/>
              <a:gd name="connsiteX71" fmla="*/ 390674 w 1971297"/>
              <a:gd name="connsiteY71" fmla="*/ 457722 h 1970826"/>
              <a:gd name="connsiteX72" fmla="*/ 289626 w 1971297"/>
              <a:gd name="connsiteY72" fmla="*/ 282712 h 1970826"/>
              <a:gd name="connsiteX73" fmla="*/ 413297 w 1971297"/>
              <a:gd name="connsiteY73" fmla="*/ 178940 h 1970826"/>
              <a:gd name="connsiteX74" fmla="*/ 568101 w 1971297"/>
              <a:gd name="connsiteY74" fmla="*/ 308843 h 1970826"/>
              <a:gd name="connsiteX75" fmla="*/ 611018 w 1971297"/>
              <a:gd name="connsiteY75" fmla="*/ 285324 h 1970826"/>
              <a:gd name="connsiteX76" fmla="*/ 576674 w 1971297"/>
              <a:gd name="connsiteY76" fmla="*/ 89277 h 1970826"/>
              <a:gd name="connsiteX77" fmla="*/ 727674 w 1971297"/>
              <a:gd name="connsiteY77" fmla="*/ 36123 h 1970826"/>
              <a:gd name="connsiteX78" fmla="*/ 826689 w 1971297"/>
              <a:gd name="connsiteY78" fmla="*/ 207623 h 1970826"/>
              <a:gd name="connsiteX79" fmla="*/ 869841 w 1971297"/>
              <a:gd name="connsiteY79" fmla="*/ 199018 h 1970826"/>
              <a:gd name="connsiteX80" fmla="*/ 904928 w 1971297"/>
              <a:gd name="connsiteY80"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1648717 w 1971297"/>
              <a:gd name="connsiteY3" fmla="*/ 986621 h 1970826"/>
              <a:gd name="connsiteX4" fmla="*/ 985649 w 1971297"/>
              <a:gd name="connsiteY4" fmla="*/ 323553 h 1970826"/>
              <a:gd name="connsiteX5" fmla="*/ 904928 w 1971297"/>
              <a:gd name="connsiteY5" fmla="*/ 0 h 1970826"/>
              <a:gd name="connsiteX6" fmla="*/ 1066369 w 1971297"/>
              <a:gd name="connsiteY6" fmla="*/ 0 h 1970826"/>
              <a:gd name="connsiteX7" fmla="*/ 1101456 w 1971297"/>
              <a:gd name="connsiteY7" fmla="*/ 199018 h 1970826"/>
              <a:gd name="connsiteX8" fmla="*/ 1149113 w 1971297"/>
              <a:gd name="connsiteY8" fmla="*/ 208521 h 1970826"/>
              <a:gd name="connsiteX9" fmla="*/ 1245734 w 1971297"/>
              <a:gd name="connsiteY9" fmla="*/ 36367 h 1970826"/>
              <a:gd name="connsiteX10" fmla="*/ 1396309 w 1971297"/>
              <a:gd name="connsiteY10" fmla="*/ 90716 h 1970826"/>
              <a:gd name="connsiteX11" fmla="*/ 1364293 w 1971297"/>
              <a:gd name="connsiteY11" fmla="*/ 287523 h 1970826"/>
              <a:gd name="connsiteX12" fmla="*/ 1403197 w 1971297"/>
              <a:gd name="connsiteY12" fmla="*/ 308843 h 1970826"/>
              <a:gd name="connsiteX13" fmla="*/ 1558001 w 1971297"/>
              <a:gd name="connsiteY13" fmla="*/ 178940 h 1970826"/>
              <a:gd name="connsiteX14" fmla="*/ 1681671 w 1971297"/>
              <a:gd name="connsiteY14" fmla="*/ 282712 h 1970826"/>
              <a:gd name="connsiteX15" fmla="*/ 1580623 w 1971297"/>
              <a:gd name="connsiteY15" fmla="*/ 457722 h 1970826"/>
              <a:gd name="connsiteX16" fmla="*/ 1610608 w 1971297"/>
              <a:gd name="connsiteY16" fmla="*/ 499270 h 1970826"/>
              <a:gd name="connsiteX17" fmla="*/ 1802874 w 1971297"/>
              <a:gd name="connsiteY17" fmla="*/ 433067 h 1970826"/>
              <a:gd name="connsiteX18" fmla="*/ 1881963 w 1971297"/>
              <a:gd name="connsiteY18" fmla="*/ 572248 h 1970826"/>
              <a:gd name="connsiteX19" fmla="*/ 1726590 w 1971297"/>
              <a:gd name="connsiteY19" fmla="*/ 698353 h 1970826"/>
              <a:gd name="connsiteX20" fmla="*/ 1741176 w 1971297"/>
              <a:gd name="connsiteY20" fmla="*/ 735808 h 1970826"/>
              <a:gd name="connsiteX21" fmla="*/ 1943264 w 1971297"/>
              <a:gd name="connsiteY21" fmla="*/ 735802 h 1970826"/>
              <a:gd name="connsiteX22" fmla="*/ 1971297 w 1971297"/>
              <a:gd name="connsiteY22" fmla="*/ 894790 h 1970826"/>
              <a:gd name="connsiteX23" fmla="*/ 1781396 w 1971297"/>
              <a:gd name="connsiteY23" fmla="*/ 963903 h 1970826"/>
              <a:gd name="connsiteX24" fmla="*/ 1780264 w 1971297"/>
              <a:gd name="connsiteY24" fmla="*/ 1014677 h 1970826"/>
              <a:gd name="connsiteX25" fmla="*/ 1969010 w 1971297"/>
              <a:gd name="connsiteY25" fmla="*/ 1087130 h 1970826"/>
              <a:gd name="connsiteX26" fmla="*/ 1940132 w 1971297"/>
              <a:gd name="connsiteY26" fmla="*/ 1244586 h 1970826"/>
              <a:gd name="connsiteX27" fmla="*/ 1738798 w 1971297"/>
              <a:gd name="connsiteY27" fmla="*/ 1241295 h 1970826"/>
              <a:gd name="connsiteX28" fmla="*/ 1725636 w 1971297"/>
              <a:gd name="connsiteY28" fmla="*/ 1280130 h 1970826"/>
              <a:gd name="connsiteX29" fmla="*/ 1880447 w 1971297"/>
              <a:gd name="connsiteY29" fmla="*/ 1410026 h 1970826"/>
              <a:gd name="connsiteX30" fmla="*/ 1799727 w 1971297"/>
              <a:gd name="connsiteY30" fmla="*/ 1549837 h 1970826"/>
              <a:gd name="connsiteX31" fmla="*/ 1609829 w 1971297"/>
              <a:gd name="connsiteY31" fmla="*/ 1480714 h 1970826"/>
              <a:gd name="connsiteX32" fmla="*/ 1579151 w 1971297"/>
              <a:gd name="connsiteY32" fmla="*/ 1512281 h 1970826"/>
              <a:gd name="connsiteX33" fmla="*/ 1677610 w 1971297"/>
              <a:gd name="connsiteY33" fmla="*/ 1689905 h 1970826"/>
              <a:gd name="connsiteX34" fmla="*/ 1554277 w 1971297"/>
              <a:gd name="connsiteY34" fmla="*/ 1791961 h 1970826"/>
              <a:gd name="connsiteX35" fmla="*/ 1402854 w 1971297"/>
              <a:gd name="connsiteY35" fmla="*/ 1660626 h 1970826"/>
              <a:gd name="connsiteX36" fmla="*/ 1363848 w 1971297"/>
              <a:gd name="connsiteY36" fmla="*/ 1687117 h 1970826"/>
              <a:gd name="connsiteX37" fmla="*/ 1398945 w 1971297"/>
              <a:gd name="connsiteY37" fmla="*/ 1886133 h 1970826"/>
              <a:gd name="connsiteX38" fmla="*/ 1247240 w 1971297"/>
              <a:gd name="connsiteY38" fmla="*/ 1941349 h 1970826"/>
              <a:gd name="connsiteX39" fmla="*/ 1146202 w 1971297"/>
              <a:gd name="connsiteY39" fmla="*/ 1766334 h 1970826"/>
              <a:gd name="connsiteX40" fmla="*/ 1100680 w 1971297"/>
              <a:gd name="connsiteY40" fmla="*/ 1773318 h 1970826"/>
              <a:gd name="connsiteX41" fmla="*/ 1062288 w 1971297"/>
              <a:gd name="connsiteY41" fmla="*/ 1970826 h 1970826"/>
              <a:gd name="connsiteX42" fmla="*/ 902210 w 1971297"/>
              <a:gd name="connsiteY42" fmla="*/ 1969728 h 1970826"/>
              <a:gd name="connsiteX43" fmla="*/ 870884 w 1971297"/>
              <a:gd name="connsiteY43" fmla="*/ 1773359 h 1970826"/>
              <a:gd name="connsiteX44" fmla="*/ 825096 w 1971297"/>
              <a:gd name="connsiteY44" fmla="*/ 1766334 h 1970826"/>
              <a:gd name="connsiteX45" fmla="*/ 724057 w 1971297"/>
              <a:gd name="connsiteY45" fmla="*/ 1941349 h 1970826"/>
              <a:gd name="connsiteX46" fmla="*/ 572352 w 1971297"/>
              <a:gd name="connsiteY46" fmla="*/ 1886133 h 1970826"/>
              <a:gd name="connsiteX47" fmla="*/ 607450 w 1971297"/>
              <a:gd name="connsiteY47" fmla="*/ 1687117 h 1970826"/>
              <a:gd name="connsiteX48" fmla="*/ 571181 w 1971297"/>
              <a:gd name="connsiteY48" fmla="*/ 1662485 h 1970826"/>
              <a:gd name="connsiteX49" fmla="*/ 421150 w 1971297"/>
              <a:gd name="connsiteY49" fmla="*/ 1792613 h 1970826"/>
              <a:gd name="connsiteX50" fmla="*/ 297817 w 1971297"/>
              <a:gd name="connsiteY50" fmla="*/ 1690557 h 1970826"/>
              <a:gd name="connsiteX51" fmla="*/ 395006 w 1971297"/>
              <a:gd name="connsiteY51" fmla="*/ 1515223 h 1970826"/>
              <a:gd name="connsiteX52" fmla="*/ 361468 w 1971297"/>
              <a:gd name="connsiteY52" fmla="*/ 1480715 h 1970826"/>
              <a:gd name="connsiteX53" fmla="*/ 171570 w 1971297"/>
              <a:gd name="connsiteY53" fmla="*/ 1549837 h 1970826"/>
              <a:gd name="connsiteX54" fmla="*/ 90850 w 1971297"/>
              <a:gd name="connsiteY54" fmla="*/ 1410026 h 1970826"/>
              <a:gd name="connsiteX55" fmla="*/ 245661 w 1971297"/>
              <a:gd name="connsiteY55" fmla="*/ 1280131 h 1970826"/>
              <a:gd name="connsiteX56" fmla="*/ 233972 w 1971297"/>
              <a:gd name="connsiteY56" fmla="*/ 1245643 h 1970826"/>
              <a:gd name="connsiteX57" fmla="*/ 31451 w 1971297"/>
              <a:gd name="connsiteY57" fmla="*/ 1248953 h 1970826"/>
              <a:gd name="connsiteX58" fmla="*/ 2573 w 1971297"/>
              <a:gd name="connsiteY58" fmla="*/ 1091497 h 1970826"/>
              <a:gd name="connsiteX59" fmla="*/ 191133 w 1971297"/>
              <a:gd name="connsiteY59" fmla="*/ 1019115 h 1970826"/>
              <a:gd name="connsiteX60" fmla="*/ 189902 w 1971297"/>
              <a:gd name="connsiteY60" fmla="*/ 963904 h 1970826"/>
              <a:gd name="connsiteX61" fmla="*/ 0 w 1971297"/>
              <a:gd name="connsiteY61" fmla="*/ 894790 h 1970826"/>
              <a:gd name="connsiteX62" fmla="*/ 28034 w 1971297"/>
              <a:gd name="connsiteY62" fmla="*/ 735802 h 1970826"/>
              <a:gd name="connsiteX63" fmla="*/ 230121 w 1971297"/>
              <a:gd name="connsiteY63" fmla="*/ 735808 h 1970826"/>
              <a:gd name="connsiteX64" fmla="*/ 240919 w 1971297"/>
              <a:gd name="connsiteY64" fmla="*/ 708079 h 1970826"/>
              <a:gd name="connsiteX65" fmla="*/ 84936 w 1971297"/>
              <a:gd name="connsiteY65" fmla="*/ 585933 h 1970826"/>
              <a:gd name="connsiteX66" fmla="*/ 161584 w 1971297"/>
              <a:gd name="connsiteY66" fmla="*/ 445393 h 1970826"/>
              <a:gd name="connsiteX67" fmla="*/ 354366 w 1971297"/>
              <a:gd name="connsiteY67" fmla="*/ 508031 h 1970826"/>
              <a:gd name="connsiteX68" fmla="*/ 390674 w 1971297"/>
              <a:gd name="connsiteY68" fmla="*/ 457722 h 1970826"/>
              <a:gd name="connsiteX69" fmla="*/ 289626 w 1971297"/>
              <a:gd name="connsiteY69" fmla="*/ 282712 h 1970826"/>
              <a:gd name="connsiteX70" fmla="*/ 413297 w 1971297"/>
              <a:gd name="connsiteY70" fmla="*/ 178940 h 1970826"/>
              <a:gd name="connsiteX71" fmla="*/ 568101 w 1971297"/>
              <a:gd name="connsiteY71" fmla="*/ 308843 h 1970826"/>
              <a:gd name="connsiteX72" fmla="*/ 611018 w 1971297"/>
              <a:gd name="connsiteY72" fmla="*/ 285324 h 1970826"/>
              <a:gd name="connsiteX73" fmla="*/ 576674 w 1971297"/>
              <a:gd name="connsiteY73" fmla="*/ 89277 h 1970826"/>
              <a:gd name="connsiteX74" fmla="*/ 727674 w 1971297"/>
              <a:gd name="connsiteY74" fmla="*/ 36123 h 1970826"/>
              <a:gd name="connsiteX75" fmla="*/ 826689 w 1971297"/>
              <a:gd name="connsiteY75" fmla="*/ 207623 h 1970826"/>
              <a:gd name="connsiteX76" fmla="*/ 869841 w 1971297"/>
              <a:gd name="connsiteY76" fmla="*/ 199018 h 1970826"/>
              <a:gd name="connsiteX77" fmla="*/ 904928 w 1971297"/>
              <a:gd name="connsiteY77"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985649 w 1971297"/>
              <a:gd name="connsiteY3" fmla="*/ 323553 h 1970826"/>
              <a:gd name="connsiteX4" fmla="*/ 904928 w 1971297"/>
              <a:gd name="connsiteY4" fmla="*/ 0 h 1970826"/>
              <a:gd name="connsiteX5" fmla="*/ 1066369 w 1971297"/>
              <a:gd name="connsiteY5" fmla="*/ 0 h 1970826"/>
              <a:gd name="connsiteX6" fmla="*/ 1101456 w 1971297"/>
              <a:gd name="connsiteY6" fmla="*/ 199018 h 1970826"/>
              <a:gd name="connsiteX7" fmla="*/ 1149113 w 1971297"/>
              <a:gd name="connsiteY7" fmla="*/ 208521 h 1970826"/>
              <a:gd name="connsiteX8" fmla="*/ 1245734 w 1971297"/>
              <a:gd name="connsiteY8" fmla="*/ 36367 h 1970826"/>
              <a:gd name="connsiteX9" fmla="*/ 1396309 w 1971297"/>
              <a:gd name="connsiteY9" fmla="*/ 90716 h 1970826"/>
              <a:gd name="connsiteX10" fmla="*/ 1364293 w 1971297"/>
              <a:gd name="connsiteY10" fmla="*/ 287523 h 1970826"/>
              <a:gd name="connsiteX11" fmla="*/ 1403197 w 1971297"/>
              <a:gd name="connsiteY11" fmla="*/ 308843 h 1970826"/>
              <a:gd name="connsiteX12" fmla="*/ 1558001 w 1971297"/>
              <a:gd name="connsiteY12" fmla="*/ 178940 h 1970826"/>
              <a:gd name="connsiteX13" fmla="*/ 1681671 w 1971297"/>
              <a:gd name="connsiteY13" fmla="*/ 282712 h 1970826"/>
              <a:gd name="connsiteX14" fmla="*/ 1580623 w 1971297"/>
              <a:gd name="connsiteY14" fmla="*/ 457722 h 1970826"/>
              <a:gd name="connsiteX15" fmla="*/ 1610608 w 1971297"/>
              <a:gd name="connsiteY15" fmla="*/ 499270 h 1970826"/>
              <a:gd name="connsiteX16" fmla="*/ 1802874 w 1971297"/>
              <a:gd name="connsiteY16" fmla="*/ 433067 h 1970826"/>
              <a:gd name="connsiteX17" fmla="*/ 1881963 w 1971297"/>
              <a:gd name="connsiteY17" fmla="*/ 572248 h 1970826"/>
              <a:gd name="connsiteX18" fmla="*/ 1726590 w 1971297"/>
              <a:gd name="connsiteY18" fmla="*/ 698353 h 1970826"/>
              <a:gd name="connsiteX19" fmla="*/ 1741176 w 1971297"/>
              <a:gd name="connsiteY19" fmla="*/ 735808 h 1970826"/>
              <a:gd name="connsiteX20" fmla="*/ 1943264 w 1971297"/>
              <a:gd name="connsiteY20" fmla="*/ 735802 h 1970826"/>
              <a:gd name="connsiteX21" fmla="*/ 1971297 w 1971297"/>
              <a:gd name="connsiteY21" fmla="*/ 894790 h 1970826"/>
              <a:gd name="connsiteX22" fmla="*/ 1781396 w 1971297"/>
              <a:gd name="connsiteY22" fmla="*/ 963903 h 1970826"/>
              <a:gd name="connsiteX23" fmla="*/ 1780264 w 1971297"/>
              <a:gd name="connsiteY23" fmla="*/ 1014677 h 1970826"/>
              <a:gd name="connsiteX24" fmla="*/ 1969010 w 1971297"/>
              <a:gd name="connsiteY24" fmla="*/ 1087130 h 1970826"/>
              <a:gd name="connsiteX25" fmla="*/ 1940132 w 1971297"/>
              <a:gd name="connsiteY25" fmla="*/ 1244586 h 1970826"/>
              <a:gd name="connsiteX26" fmla="*/ 1738798 w 1971297"/>
              <a:gd name="connsiteY26" fmla="*/ 1241295 h 1970826"/>
              <a:gd name="connsiteX27" fmla="*/ 1725636 w 1971297"/>
              <a:gd name="connsiteY27" fmla="*/ 1280130 h 1970826"/>
              <a:gd name="connsiteX28" fmla="*/ 1880447 w 1971297"/>
              <a:gd name="connsiteY28" fmla="*/ 1410026 h 1970826"/>
              <a:gd name="connsiteX29" fmla="*/ 1799727 w 1971297"/>
              <a:gd name="connsiteY29" fmla="*/ 1549837 h 1970826"/>
              <a:gd name="connsiteX30" fmla="*/ 1609829 w 1971297"/>
              <a:gd name="connsiteY30" fmla="*/ 1480714 h 1970826"/>
              <a:gd name="connsiteX31" fmla="*/ 1579151 w 1971297"/>
              <a:gd name="connsiteY31" fmla="*/ 1512281 h 1970826"/>
              <a:gd name="connsiteX32" fmla="*/ 1677610 w 1971297"/>
              <a:gd name="connsiteY32" fmla="*/ 1689905 h 1970826"/>
              <a:gd name="connsiteX33" fmla="*/ 1554277 w 1971297"/>
              <a:gd name="connsiteY33" fmla="*/ 1791961 h 1970826"/>
              <a:gd name="connsiteX34" fmla="*/ 1402854 w 1971297"/>
              <a:gd name="connsiteY34" fmla="*/ 1660626 h 1970826"/>
              <a:gd name="connsiteX35" fmla="*/ 1363848 w 1971297"/>
              <a:gd name="connsiteY35" fmla="*/ 1687117 h 1970826"/>
              <a:gd name="connsiteX36" fmla="*/ 1398945 w 1971297"/>
              <a:gd name="connsiteY36" fmla="*/ 1886133 h 1970826"/>
              <a:gd name="connsiteX37" fmla="*/ 1247240 w 1971297"/>
              <a:gd name="connsiteY37" fmla="*/ 1941349 h 1970826"/>
              <a:gd name="connsiteX38" fmla="*/ 1146202 w 1971297"/>
              <a:gd name="connsiteY38" fmla="*/ 1766334 h 1970826"/>
              <a:gd name="connsiteX39" fmla="*/ 1100680 w 1971297"/>
              <a:gd name="connsiteY39" fmla="*/ 1773318 h 1970826"/>
              <a:gd name="connsiteX40" fmla="*/ 1062288 w 1971297"/>
              <a:gd name="connsiteY40" fmla="*/ 1970826 h 1970826"/>
              <a:gd name="connsiteX41" fmla="*/ 902210 w 1971297"/>
              <a:gd name="connsiteY41" fmla="*/ 1969728 h 1970826"/>
              <a:gd name="connsiteX42" fmla="*/ 870884 w 1971297"/>
              <a:gd name="connsiteY42" fmla="*/ 1773359 h 1970826"/>
              <a:gd name="connsiteX43" fmla="*/ 825096 w 1971297"/>
              <a:gd name="connsiteY43" fmla="*/ 1766334 h 1970826"/>
              <a:gd name="connsiteX44" fmla="*/ 724057 w 1971297"/>
              <a:gd name="connsiteY44" fmla="*/ 1941349 h 1970826"/>
              <a:gd name="connsiteX45" fmla="*/ 572352 w 1971297"/>
              <a:gd name="connsiteY45" fmla="*/ 1886133 h 1970826"/>
              <a:gd name="connsiteX46" fmla="*/ 607450 w 1971297"/>
              <a:gd name="connsiteY46" fmla="*/ 1687117 h 1970826"/>
              <a:gd name="connsiteX47" fmla="*/ 571181 w 1971297"/>
              <a:gd name="connsiteY47" fmla="*/ 1662485 h 1970826"/>
              <a:gd name="connsiteX48" fmla="*/ 421150 w 1971297"/>
              <a:gd name="connsiteY48" fmla="*/ 1792613 h 1970826"/>
              <a:gd name="connsiteX49" fmla="*/ 297817 w 1971297"/>
              <a:gd name="connsiteY49" fmla="*/ 1690557 h 1970826"/>
              <a:gd name="connsiteX50" fmla="*/ 395006 w 1971297"/>
              <a:gd name="connsiteY50" fmla="*/ 1515223 h 1970826"/>
              <a:gd name="connsiteX51" fmla="*/ 361468 w 1971297"/>
              <a:gd name="connsiteY51" fmla="*/ 1480715 h 1970826"/>
              <a:gd name="connsiteX52" fmla="*/ 171570 w 1971297"/>
              <a:gd name="connsiteY52" fmla="*/ 1549837 h 1970826"/>
              <a:gd name="connsiteX53" fmla="*/ 90850 w 1971297"/>
              <a:gd name="connsiteY53" fmla="*/ 1410026 h 1970826"/>
              <a:gd name="connsiteX54" fmla="*/ 245661 w 1971297"/>
              <a:gd name="connsiteY54" fmla="*/ 1280131 h 1970826"/>
              <a:gd name="connsiteX55" fmla="*/ 233972 w 1971297"/>
              <a:gd name="connsiteY55" fmla="*/ 1245643 h 1970826"/>
              <a:gd name="connsiteX56" fmla="*/ 31451 w 1971297"/>
              <a:gd name="connsiteY56" fmla="*/ 1248953 h 1970826"/>
              <a:gd name="connsiteX57" fmla="*/ 2573 w 1971297"/>
              <a:gd name="connsiteY57" fmla="*/ 1091497 h 1970826"/>
              <a:gd name="connsiteX58" fmla="*/ 191133 w 1971297"/>
              <a:gd name="connsiteY58" fmla="*/ 1019115 h 1970826"/>
              <a:gd name="connsiteX59" fmla="*/ 189902 w 1971297"/>
              <a:gd name="connsiteY59" fmla="*/ 963904 h 1970826"/>
              <a:gd name="connsiteX60" fmla="*/ 0 w 1971297"/>
              <a:gd name="connsiteY60" fmla="*/ 894790 h 1970826"/>
              <a:gd name="connsiteX61" fmla="*/ 28034 w 1971297"/>
              <a:gd name="connsiteY61" fmla="*/ 735802 h 1970826"/>
              <a:gd name="connsiteX62" fmla="*/ 230121 w 1971297"/>
              <a:gd name="connsiteY62" fmla="*/ 735808 h 1970826"/>
              <a:gd name="connsiteX63" fmla="*/ 240919 w 1971297"/>
              <a:gd name="connsiteY63" fmla="*/ 708079 h 1970826"/>
              <a:gd name="connsiteX64" fmla="*/ 84936 w 1971297"/>
              <a:gd name="connsiteY64" fmla="*/ 585933 h 1970826"/>
              <a:gd name="connsiteX65" fmla="*/ 161584 w 1971297"/>
              <a:gd name="connsiteY65" fmla="*/ 445393 h 1970826"/>
              <a:gd name="connsiteX66" fmla="*/ 354366 w 1971297"/>
              <a:gd name="connsiteY66" fmla="*/ 508031 h 1970826"/>
              <a:gd name="connsiteX67" fmla="*/ 390674 w 1971297"/>
              <a:gd name="connsiteY67" fmla="*/ 457722 h 1970826"/>
              <a:gd name="connsiteX68" fmla="*/ 289626 w 1971297"/>
              <a:gd name="connsiteY68" fmla="*/ 282712 h 1970826"/>
              <a:gd name="connsiteX69" fmla="*/ 413297 w 1971297"/>
              <a:gd name="connsiteY69" fmla="*/ 178940 h 1970826"/>
              <a:gd name="connsiteX70" fmla="*/ 568101 w 1971297"/>
              <a:gd name="connsiteY70" fmla="*/ 308843 h 1970826"/>
              <a:gd name="connsiteX71" fmla="*/ 611018 w 1971297"/>
              <a:gd name="connsiteY71" fmla="*/ 285324 h 1970826"/>
              <a:gd name="connsiteX72" fmla="*/ 576674 w 1971297"/>
              <a:gd name="connsiteY72" fmla="*/ 89277 h 1970826"/>
              <a:gd name="connsiteX73" fmla="*/ 727674 w 1971297"/>
              <a:gd name="connsiteY73" fmla="*/ 36123 h 1970826"/>
              <a:gd name="connsiteX74" fmla="*/ 826689 w 1971297"/>
              <a:gd name="connsiteY74" fmla="*/ 207623 h 1970826"/>
              <a:gd name="connsiteX75" fmla="*/ 869841 w 1971297"/>
              <a:gd name="connsiteY75" fmla="*/ 199018 h 1970826"/>
              <a:gd name="connsiteX76" fmla="*/ 904928 w 1971297"/>
              <a:gd name="connsiteY76" fmla="*/ 0 h 1970826"/>
              <a:gd name="connsiteX0" fmla="*/ 985649 w 1971297"/>
              <a:gd name="connsiteY0" fmla="*/ 323553 h 1970826"/>
              <a:gd name="connsiteX1" fmla="*/ 322581 w 1971297"/>
              <a:gd name="connsiteY1" fmla="*/ 986621 h 1970826"/>
              <a:gd name="connsiteX2" fmla="*/ 985649 w 1971297"/>
              <a:gd name="connsiteY2" fmla="*/ 323553 h 1970826"/>
              <a:gd name="connsiteX3" fmla="*/ 904928 w 1971297"/>
              <a:gd name="connsiteY3" fmla="*/ 0 h 1970826"/>
              <a:gd name="connsiteX4" fmla="*/ 1066369 w 1971297"/>
              <a:gd name="connsiteY4" fmla="*/ 0 h 1970826"/>
              <a:gd name="connsiteX5" fmla="*/ 1101456 w 1971297"/>
              <a:gd name="connsiteY5" fmla="*/ 199018 h 1970826"/>
              <a:gd name="connsiteX6" fmla="*/ 1149113 w 1971297"/>
              <a:gd name="connsiteY6" fmla="*/ 208521 h 1970826"/>
              <a:gd name="connsiteX7" fmla="*/ 1245734 w 1971297"/>
              <a:gd name="connsiteY7" fmla="*/ 36367 h 1970826"/>
              <a:gd name="connsiteX8" fmla="*/ 1396309 w 1971297"/>
              <a:gd name="connsiteY8" fmla="*/ 90716 h 1970826"/>
              <a:gd name="connsiteX9" fmla="*/ 1364293 w 1971297"/>
              <a:gd name="connsiteY9" fmla="*/ 287523 h 1970826"/>
              <a:gd name="connsiteX10" fmla="*/ 1403197 w 1971297"/>
              <a:gd name="connsiteY10" fmla="*/ 308843 h 1970826"/>
              <a:gd name="connsiteX11" fmla="*/ 1558001 w 1971297"/>
              <a:gd name="connsiteY11" fmla="*/ 178940 h 1970826"/>
              <a:gd name="connsiteX12" fmla="*/ 1681671 w 1971297"/>
              <a:gd name="connsiteY12" fmla="*/ 282712 h 1970826"/>
              <a:gd name="connsiteX13" fmla="*/ 1580623 w 1971297"/>
              <a:gd name="connsiteY13" fmla="*/ 457722 h 1970826"/>
              <a:gd name="connsiteX14" fmla="*/ 1610608 w 1971297"/>
              <a:gd name="connsiteY14" fmla="*/ 499270 h 1970826"/>
              <a:gd name="connsiteX15" fmla="*/ 1802874 w 1971297"/>
              <a:gd name="connsiteY15" fmla="*/ 433067 h 1970826"/>
              <a:gd name="connsiteX16" fmla="*/ 1881963 w 1971297"/>
              <a:gd name="connsiteY16" fmla="*/ 572248 h 1970826"/>
              <a:gd name="connsiteX17" fmla="*/ 1726590 w 1971297"/>
              <a:gd name="connsiteY17" fmla="*/ 698353 h 1970826"/>
              <a:gd name="connsiteX18" fmla="*/ 1741176 w 1971297"/>
              <a:gd name="connsiteY18" fmla="*/ 735808 h 1970826"/>
              <a:gd name="connsiteX19" fmla="*/ 1943264 w 1971297"/>
              <a:gd name="connsiteY19" fmla="*/ 735802 h 1970826"/>
              <a:gd name="connsiteX20" fmla="*/ 1971297 w 1971297"/>
              <a:gd name="connsiteY20" fmla="*/ 894790 h 1970826"/>
              <a:gd name="connsiteX21" fmla="*/ 1781396 w 1971297"/>
              <a:gd name="connsiteY21" fmla="*/ 963903 h 1970826"/>
              <a:gd name="connsiteX22" fmla="*/ 1780264 w 1971297"/>
              <a:gd name="connsiteY22" fmla="*/ 1014677 h 1970826"/>
              <a:gd name="connsiteX23" fmla="*/ 1969010 w 1971297"/>
              <a:gd name="connsiteY23" fmla="*/ 1087130 h 1970826"/>
              <a:gd name="connsiteX24" fmla="*/ 1940132 w 1971297"/>
              <a:gd name="connsiteY24" fmla="*/ 1244586 h 1970826"/>
              <a:gd name="connsiteX25" fmla="*/ 1738798 w 1971297"/>
              <a:gd name="connsiteY25" fmla="*/ 1241295 h 1970826"/>
              <a:gd name="connsiteX26" fmla="*/ 1725636 w 1971297"/>
              <a:gd name="connsiteY26" fmla="*/ 1280130 h 1970826"/>
              <a:gd name="connsiteX27" fmla="*/ 1880447 w 1971297"/>
              <a:gd name="connsiteY27" fmla="*/ 1410026 h 1970826"/>
              <a:gd name="connsiteX28" fmla="*/ 1799727 w 1971297"/>
              <a:gd name="connsiteY28" fmla="*/ 1549837 h 1970826"/>
              <a:gd name="connsiteX29" fmla="*/ 1609829 w 1971297"/>
              <a:gd name="connsiteY29" fmla="*/ 1480714 h 1970826"/>
              <a:gd name="connsiteX30" fmla="*/ 1579151 w 1971297"/>
              <a:gd name="connsiteY30" fmla="*/ 1512281 h 1970826"/>
              <a:gd name="connsiteX31" fmla="*/ 1677610 w 1971297"/>
              <a:gd name="connsiteY31" fmla="*/ 1689905 h 1970826"/>
              <a:gd name="connsiteX32" fmla="*/ 1554277 w 1971297"/>
              <a:gd name="connsiteY32" fmla="*/ 1791961 h 1970826"/>
              <a:gd name="connsiteX33" fmla="*/ 1402854 w 1971297"/>
              <a:gd name="connsiteY33" fmla="*/ 1660626 h 1970826"/>
              <a:gd name="connsiteX34" fmla="*/ 1363848 w 1971297"/>
              <a:gd name="connsiteY34" fmla="*/ 1687117 h 1970826"/>
              <a:gd name="connsiteX35" fmla="*/ 1398945 w 1971297"/>
              <a:gd name="connsiteY35" fmla="*/ 1886133 h 1970826"/>
              <a:gd name="connsiteX36" fmla="*/ 1247240 w 1971297"/>
              <a:gd name="connsiteY36" fmla="*/ 1941349 h 1970826"/>
              <a:gd name="connsiteX37" fmla="*/ 1146202 w 1971297"/>
              <a:gd name="connsiteY37" fmla="*/ 1766334 h 1970826"/>
              <a:gd name="connsiteX38" fmla="*/ 1100680 w 1971297"/>
              <a:gd name="connsiteY38" fmla="*/ 1773318 h 1970826"/>
              <a:gd name="connsiteX39" fmla="*/ 1062288 w 1971297"/>
              <a:gd name="connsiteY39" fmla="*/ 1970826 h 1970826"/>
              <a:gd name="connsiteX40" fmla="*/ 902210 w 1971297"/>
              <a:gd name="connsiteY40" fmla="*/ 1969728 h 1970826"/>
              <a:gd name="connsiteX41" fmla="*/ 870884 w 1971297"/>
              <a:gd name="connsiteY41" fmla="*/ 1773359 h 1970826"/>
              <a:gd name="connsiteX42" fmla="*/ 825096 w 1971297"/>
              <a:gd name="connsiteY42" fmla="*/ 1766334 h 1970826"/>
              <a:gd name="connsiteX43" fmla="*/ 724057 w 1971297"/>
              <a:gd name="connsiteY43" fmla="*/ 1941349 h 1970826"/>
              <a:gd name="connsiteX44" fmla="*/ 572352 w 1971297"/>
              <a:gd name="connsiteY44" fmla="*/ 1886133 h 1970826"/>
              <a:gd name="connsiteX45" fmla="*/ 607450 w 1971297"/>
              <a:gd name="connsiteY45" fmla="*/ 1687117 h 1970826"/>
              <a:gd name="connsiteX46" fmla="*/ 571181 w 1971297"/>
              <a:gd name="connsiteY46" fmla="*/ 1662485 h 1970826"/>
              <a:gd name="connsiteX47" fmla="*/ 421150 w 1971297"/>
              <a:gd name="connsiteY47" fmla="*/ 1792613 h 1970826"/>
              <a:gd name="connsiteX48" fmla="*/ 297817 w 1971297"/>
              <a:gd name="connsiteY48" fmla="*/ 1690557 h 1970826"/>
              <a:gd name="connsiteX49" fmla="*/ 395006 w 1971297"/>
              <a:gd name="connsiteY49" fmla="*/ 1515223 h 1970826"/>
              <a:gd name="connsiteX50" fmla="*/ 361468 w 1971297"/>
              <a:gd name="connsiteY50" fmla="*/ 1480715 h 1970826"/>
              <a:gd name="connsiteX51" fmla="*/ 171570 w 1971297"/>
              <a:gd name="connsiteY51" fmla="*/ 1549837 h 1970826"/>
              <a:gd name="connsiteX52" fmla="*/ 90850 w 1971297"/>
              <a:gd name="connsiteY52" fmla="*/ 1410026 h 1970826"/>
              <a:gd name="connsiteX53" fmla="*/ 245661 w 1971297"/>
              <a:gd name="connsiteY53" fmla="*/ 1280131 h 1970826"/>
              <a:gd name="connsiteX54" fmla="*/ 233972 w 1971297"/>
              <a:gd name="connsiteY54" fmla="*/ 1245643 h 1970826"/>
              <a:gd name="connsiteX55" fmla="*/ 31451 w 1971297"/>
              <a:gd name="connsiteY55" fmla="*/ 1248953 h 1970826"/>
              <a:gd name="connsiteX56" fmla="*/ 2573 w 1971297"/>
              <a:gd name="connsiteY56" fmla="*/ 1091497 h 1970826"/>
              <a:gd name="connsiteX57" fmla="*/ 191133 w 1971297"/>
              <a:gd name="connsiteY57" fmla="*/ 1019115 h 1970826"/>
              <a:gd name="connsiteX58" fmla="*/ 189902 w 1971297"/>
              <a:gd name="connsiteY58" fmla="*/ 963904 h 1970826"/>
              <a:gd name="connsiteX59" fmla="*/ 0 w 1971297"/>
              <a:gd name="connsiteY59" fmla="*/ 894790 h 1970826"/>
              <a:gd name="connsiteX60" fmla="*/ 28034 w 1971297"/>
              <a:gd name="connsiteY60" fmla="*/ 735802 h 1970826"/>
              <a:gd name="connsiteX61" fmla="*/ 230121 w 1971297"/>
              <a:gd name="connsiteY61" fmla="*/ 735808 h 1970826"/>
              <a:gd name="connsiteX62" fmla="*/ 240919 w 1971297"/>
              <a:gd name="connsiteY62" fmla="*/ 708079 h 1970826"/>
              <a:gd name="connsiteX63" fmla="*/ 84936 w 1971297"/>
              <a:gd name="connsiteY63" fmla="*/ 585933 h 1970826"/>
              <a:gd name="connsiteX64" fmla="*/ 161584 w 1971297"/>
              <a:gd name="connsiteY64" fmla="*/ 445393 h 1970826"/>
              <a:gd name="connsiteX65" fmla="*/ 354366 w 1971297"/>
              <a:gd name="connsiteY65" fmla="*/ 508031 h 1970826"/>
              <a:gd name="connsiteX66" fmla="*/ 390674 w 1971297"/>
              <a:gd name="connsiteY66" fmla="*/ 457722 h 1970826"/>
              <a:gd name="connsiteX67" fmla="*/ 289626 w 1971297"/>
              <a:gd name="connsiteY67" fmla="*/ 282712 h 1970826"/>
              <a:gd name="connsiteX68" fmla="*/ 413297 w 1971297"/>
              <a:gd name="connsiteY68" fmla="*/ 178940 h 1970826"/>
              <a:gd name="connsiteX69" fmla="*/ 568101 w 1971297"/>
              <a:gd name="connsiteY69" fmla="*/ 308843 h 1970826"/>
              <a:gd name="connsiteX70" fmla="*/ 611018 w 1971297"/>
              <a:gd name="connsiteY70" fmla="*/ 285324 h 1970826"/>
              <a:gd name="connsiteX71" fmla="*/ 576674 w 1971297"/>
              <a:gd name="connsiteY71" fmla="*/ 89277 h 1970826"/>
              <a:gd name="connsiteX72" fmla="*/ 727674 w 1971297"/>
              <a:gd name="connsiteY72" fmla="*/ 36123 h 1970826"/>
              <a:gd name="connsiteX73" fmla="*/ 826689 w 1971297"/>
              <a:gd name="connsiteY73" fmla="*/ 207623 h 1970826"/>
              <a:gd name="connsiteX74" fmla="*/ 869841 w 1971297"/>
              <a:gd name="connsiteY74" fmla="*/ 199018 h 1970826"/>
              <a:gd name="connsiteX75" fmla="*/ 904928 w 1971297"/>
              <a:gd name="connsiteY75" fmla="*/ 0 h 1970826"/>
              <a:gd name="connsiteX0" fmla="*/ 904928 w 1971297"/>
              <a:gd name="connsiteY0" fmla="*/ 0 h 1970826"/>
              <a:gd name="connsiteX1" fmla="*/ 1066369 w 1971297"/>
              <a:gd name="connsiteY1" fmla="*/ 0 h 1970826"/>
              <a:gd name="connsiteX2" fmla="*/ 1101456 w 1971297"/>
              <a:gd name="connsiteY2" fmla="*/ 199018 h 1970826"/>
              <a:gd name="connsiteX3" fmla="*/ 1149113 w 1971297"/>
              <a:gd name="connsiteY3" fmla="*/ 208521 h 1970826"/>
              <a:gd name="connsiteX4" fmla="*/ 1245734 w 1971297"/>
              <a:gd name="connsiteY4" fmla="*/ 36367 h 1970826"/>
              <a:gd name="connsiteX5" fmla="*/ 1396309 w 1971297"/>
              <a:gd name="connsiteY5" fmla="*/ 90716 h 1970826"/>
              <a:gd name="connsiteX6" fmla="*/ 1364293 w 1971297"/>
              <a:gd name="connsiteY6" fmla="*/ 287523 h 1970826"/>
              <a:gd name="connsiteX7" fmla="*/ 1403197 w 1971297"/>
              <a:gd name="connsiteY7" fmla="*/ 308843 h 1970826"/>
              <a:gd name="connsiteX8" fmla="*/ 1558001 w 1971297"/>
              <a:gd name="connsiteY8" fmla="*/ 178940 h 1970826"/>
              <a:gd name="connsiteX9" fmla="*/ 1681671 w 1971297"/>
              <a:gd name="connsiteY9" fmla="*/ 282712 h 1970826"/>
              <a:gd name="connsiteX10" fmla="*/ 1580623 w 1971297"/>
              <a:gd name="connsiteY10" fmla="*/ 457722 h 1970826"/>
              <a:gd name="connsiteX11" fmla="*/ 1610608 w 1971297"/>
              <a:gd name="connsiteY11" fmla="*/ 499270 h 1970826"/>
              <a:gd name="connsiteX12" fmla="*/ 1802874 w 1971297"/>
              <a:gd name="connsiteY12" fmla="*/ 433067 h 1970826"/>
              <a:gd name="connsiteX13" fmla="*/ 1881963 w 1971297"/>
              <a:gd name="connsiteY13" fmla="*/ 572248 h 1970826"/>
              <a:gd name="connsiteX14" fmla="*/ 1726590 w 1971297"/>
              <a:gd name="connsiteY14" fmla="*/ 698353 h 1970826"/>
              <a:gd name="connsiteX15" fmla="*/ 1741176 w 1971297"/>
              <a:gd name="connsiteY15" fmla="*/ 735808 h 1970826"/>
              <a:gd name="connsiteX16" fmla="*/ 1943264 w 1971297"/>
              <a:gd name="connsiteY16" fmla="*/ 735802 h 1970826"/>
              <a:gd name="connsiteX17" fmla="*/ 1971297 w 1971297"/>
              <a:gd name="connsiteY17" fmla="*/ 894790 h 1970826"/>
              <a:gd name="connsiteX18" fmla="*/ 1781396 w 1971297"/>
              <a:gd name="connsiteY18" fmla="*/ 963903 h 1970826"/>
              <a:gd name="connsiteX19" fmla="*/ 1780264 w 1971297"/>
              <a:gd name="connsiteY19" fmla="*/ 1014677 h 1970826"/>
              <a:gd name="connsiteX20" fmla="*/ 1969010 w 1971297"/>
              <a:gd name="connsiteY20" fmla="*/ 1087130 h 1970826"/>
              <a:gd name="connsiteX21" fmla="*/ 1940132 w 1971297"/>
              <a:gd name="connsiteY21" fmla="*/ 1244586 h 1970826"/>
              <a:gd name="connsiteX22" fmla="*/ 1738798 w 1971297"/>
              <a:gd name="connsiteY22" fmla="*/ 1241295 h 1970826"/>
              <a:gd name="connsiteX23" fmla="*/ 1725636 w 1971297"/>
              <a:gd name="connsiteY23" fmla="*/ 1280130 h 1970826"/>
              <a:gd name="connsiteX24" fmla="*/ 1880447 w 1971297"/>
              <a:gd name="connsiteY24" fmla="*/ 1410026 h 1970826"/>
              <a:gd name="connsiteX25" fmla="*/ 1799727 w 1971297"/>
              <a:gd name="connsiteY25" fmla="*/ 1549837 h 1970826"/>
              <a:gd name="connsiteX26" fmla="*/ 1609829 w 1971297"/>
              <a:gd name="connsiteY26" fmla="*/ 1480714 h 1970826"/>
              <a:gd name="connsiteX27" fmla="*/ 1579151 w 1971297"/>
              <a:gd name="connsiteY27" fmla="*/ 1512281 h 1970826"/>
              <a:gd name="connsiteX28" fmla="*/ 1677610 w 1971297"/>
              <a:gd name="connsiteY28" fmla="*/ 1689905 h 1970826"/>
              <a:gd name="connsiteX29" fmla="*/ 1554277 w 1971297"/>
              <a:gd name="connsiteY29" fmla="*/ 1791961 h 1970826"/>
              <a:gd name="connsiteX30" fmla="*/ 1402854 w 1971297"/>
              <a:gd name="connsiteY30" fmla="*/ 1660626 h 1970826"/>
              <a:gd name="connsiteX31" fmla="*/ 1363848 w 1971297"/>
              <a:gd name="connsiteY31" fmla="*/ 1687117 h 1970826"/>
              <a:gd name="connsiteX32" fmla="*/ 1398945 w 1971297"/>
              <a:gd name="connsiteY32" fmla="*/ 1886133 h 1970826"/>
              <a:gd name="connsiteX33" fmla="*/ 1247240 w 1971297"/>
              <a:gd name="connsiteY33" fmla="*/ 1941349 h 1970826"/>
              <a:gd name="connsiteX34" fmla="*/ 1146202 w 1971297"/>
              <a:gd name="connsiteY34" fmla="*/ 1766334 h 1970826"/>
              <a:gd name="connsiteX35" fmla="*/ 1100680 w 1971297"/>
              <a:gd name="connsiteY35" fmla="*/ 1773318 h 1970826"/>
              <a:gd name="connsiteX36" fmla="*/ 1062288 w 1971297"/>
              <a:gd name="connsiteY36" fmla="*/ 1970826 h 1970826"/>
              <a:gd name="connsiteX37" fmla="*/ 902210 w 1971297"/>
              <a:gd name="connsiteY37" fmla="*/ 1969728 h 1970826"/>
              <a:gd name="connsiteX38" fmla="*/ 870884 w 1971297"/>
              <a:gd name="connsiteY38" fmla="*/ 1773359 h 1970826"/>
              <a:gd name="connsiteX39" fmla="*/ 825096 w 1971297"/>
              <a:gd name="connsiteY39" fmla="*/ 1766334 h 1970826"/>
              <a:gd name="connsiteX40" fmla="*/ 724057 w 1971297"/>
              <a:gd name="connsiteY40" fmla="*/ 1941349 h 1970826"/>
              <a:gd name="connsiteX41" fmla="*/ 572352 w 1971297"/>
              <a:gd name="connsiteY41" fmla="*/ 1886133 h 1970826"/>
              <a:gd name="connsiteX42" fmla="*/ 607450 w 1971297"/>
              <a:gd name="connsiteY42" fmla="*/ 1687117 h 1970826"/>
              <a:gd name="connsiteX43" fmla="*/ 571181 w 1971297"/>
              <a:gd name="connsiteY43" fmla="*/ 1662485 h 1970826"/>
              <a:gd name="connsiteX44" fmla="*/ 421150 w 1971297"/>
              <a:gd name="connsiteY44" fmla="*/ 1792613 h 1970826"/>
              <a:gd name="connsiteX45" fmla="*/ 297817 w 1971297"/>
              <a:gd name="connsiteY45" fmla="*/ 1690557 h 1970826"/>
              <a:gd name="connsiteX46" fmla="*/ 395006 w 1971297"/>
              <a:gd name="connsiteY46" fmla="*/ 1515223 h 1970826"/>
              <a:gd name="connsiteX47" fmla="*/ 361468 w 1971297"/>
              <a:gd name="connsiteY47" fmla="*/ 1480715 h 1970826"/>
              <a:gd name="connsiteX48" fmla="*/ 171570 w 1971297"/>
              <a:gd name="connsiteY48" fmla="*/ 1549837 h 1970826"/>
              <a:gd name="connsiteX49" fmla="*/ 90850 w 1971297"/>
              <a:gd name="connsiteY49" fmla="*/ 1410026 h 1970826"/>
              <a:gd name="connsiteX50" fmla="*/ 245661 w 1971297"/>
              <a:gd name="connsiteY50" fmla="*/ 1280131 h 1970826"/>
              <a:gd name="connsiteX51" fmla="*/ 233972 w 1971297"/>
              <a:gd name="connsiteY51" fmla="*/ 1245643 h 1970826"/>
              <a:gd name="connsiteX52" fmla="*/ 31451 w 1971297"/>
              <a:gd name="connsiteY52" fmla="*/ 1248953 h 1970826"/>
              <a:gd name="connsiteX53" fmla="*/ 2573 w 1971297"/>
              <a:gd name="connsiteY53" fmla="*/ 1091497 h 1970826"/>
              <a:gd name="connsiteX54" fmla="*/ 191133 w 1971297"/>
              <a:gd name="connsiteY54" fmla="*/ 1019115 h 1970826"/>
              <a:gd name="connsiteX55" fmla="*/ 189902 w 1971297"/>
              <a:gd name="connsiteY55" fmla="*/ 963904 h 1970826"/>
              <a:gd name="connsiteX56" fmla="*/ 0 w 1971297"/>
              <a:gd name="connsiteY56" fmla="*/ 894790 h 1970826"/>
              <a:gd name="connsiteX57" fmla="*/ 28034 w 1971297"/>
              <a:gd name="connsiteY57" fmla="*/ 735802 h 1970826"/>
              <a:gd name="connsiteX58" fmla="*/ 230121 w 1971297"/>
              <a:gd name="connsiteY58" fmla="*/ 735808 h 1970826"/>
              <a:gd name="connsiteX59" fmla="*/ 240919 w 1971297"/>
              <a:gd name="connsiteY59" fmla="*/ 708079 h 1970826"/>
              <a:gd name="connsiteX60" fmla="*/ 84936 w 1971297"/>
              <a:gd name="connsiteY60" fmla="*/ 585933 h 1970826"/>
              <a:gd name="connsiteX61" fmla="*/ 161584 w 1971297"/>
              <a:gd name="connsiteY61" fmla="*/ 445393 h 1970826"/>
              <a:gd name="connsiteX62" fmla="*/ 354366 w 1971297"/>
              <a:gd name="connsiteY62" fmla="*/ 508031 h 1970826"/>
              <a:gd name="connsiteX63" fmla="*/ 390674 w 1971297"/>
              <a:gd name="connsiteY63" fmla="*/ 457722 h 1970826"/>
              <a:gd name="connsiteX64" fmla="*/ 289626 w 1971297"/>
              <a:gd name="connsiteY64" fmla="*/ 282712 h 1970826"/>
              <a:gd name="connsiteX65" fmla="*/ 413297 w 1971297"/>
              <a:gd name="connsiteY65" fmla="*/ 178940 h 1970826"/>
              <a:gd name="connsiteX66" fmla="*/ 568101 w 1971297"/>
              <a:gd name="connsiteY66" fmla="*/ 308843 h 1970826"/>
              <a:gd name="connsiteX67" fmla="*/ 611018 w 1971297"/>
              <a:gd name="connsiteY67" fmla="*/ 285324 h 1970826"/>
              <a:gd name="connsiteX68" fmla="*/ 576674 w 1971297"/>
              <a:gd name="connsiteY68" fmla="*/ 89277 h 1970826"/>
              <a:gd name="connsiteX69" fmla="*/ 727674 w 1971297"/>
              <a:gd name="connsiteY69" fmla="*/ 36123 h 1970826"/>
              <a:gd name="connsiteX70" fmla="*/ 826689 w 1971297"/>
              <a:gd name="connsiteY70" fmla="*/ 207623 h 1970826"/>
              <a:gd name="connsiteX71" fmla="*/ 869841 w 1971297"/>
              <a:gd name="connsiteY71" fmla="*/ 199018 h 1970826"/>
              <a:gd name="connsiteX72" fmla="*/ 904928 w 1971297"/>
              <a:gd name="connsiteY72" fmla="*/ 0 h 197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971297" h="1970826">
                <a:moveTo>
                  <a:pt x="904928" y="0"/>
                </a:moveTo>
                <a:lnTo>
                  <a:pt x="1066369" y="0"/>
                </a:lnTo>
                <a:lnTo>
                  <a:pt x="1101456" y="199018"/>
                </a:lnTo>
                <a:lnTo>
                  <a:pt x="1149113" y="208521"/>
                </a:lnTo>
                <a:lnTo>
                  <a:pt x="1245734" y="36367"/>
                </a:lnTo>
                <a:lnTo>
                  <a:pt x="1396309" y="90716"/>
                </a:lnTo>
                <a:lnTo>
                  <a:pt x="1364293" y="287523"/>
                </a:lnTo>
                <a:lnTo>
                  <a:pt x="1403197" y="308843"/>
                </a:lnTo>
                <a:lnTo>
                  <a:pt x="1558001" y="178940"/>
                </a:lnTo>
                <a:lnTo>
                  <a:pt x="1681671" y="282712"/>
                </a:lnTo>
                <a:lnTo>
                  <a:pt x="1580623" y="457722"/>
                </a:lnTo>
                <a:lnTo>
                  <a:pt x="1610608" y="499270"/>
                </a:lnTo>
                <a:lnTo>
                  <a:pt x="1802874" y="433067"/>
                </a:lnTo>
                <a:lnTo>
                  <a:pt x="1881963" y="572248"/>
                </a:lnTo>
                <a:lnTo>
                  <a:pt x="1726590" y="698353"/>
                </a:lnTo>
                <a:lnTo>
                  <a:pt x="1741176" y="735808"/>
                </a:lnTo>
                <a:lnTo>
                  <a:pt x="1943264" y="735802"/>
                </a:lnTo>
                <a:lnTo>
                  <a:pt x="1971297" y="894790"/>
                </a:lnTo>
                <a:lnTo>
                  <a:pt x="1781396" y="963903"/>
                </a:lnTo>
                <a:cubicBezTo>
                  <a:pt x="1781019" y="980828"/>
                  <a:pt x="1780641" y="997752"/>
                  <a:pt x="1780264" y="1014677"/>
                </a:cubicBezTo>
                <a:lnTo>
                  <a:pt x="1969010" y="1087130"/>
                </a:lnTo>
                <a:lnTo>
                  <a:pt x="1940132" y="1244586"/>
                </a:lnTo>
                <a:lnTo>
                  <a:pt x="1738798" y="1241295"/>
                </a:lnTo>
                <a:lnTo>
                  <a:pt x="1725636" y="1280130"/>
                </a:lnTo>
                <a:lnTo>
                  <a:pt x="1880447" y="1410026"/>
                </a:lnTo>
                <a:lnTo>
                  <a:pt x="1799727" y="1549837"/>
                </a:lnTo>
                <a:lnTo>
                  <a:pt x="1609829" y="1480714"/>
                </a:lnTo>
                <a:lnTo>
                  <a:pt x="1579151" y="1512281"/>
                </a:lnTo>
                <a:lnTo>
                  <a:pt x="1677610" y="1689905"/>
                </a:lnTo>
                <a:lnTo>
                  <a:pt x="1554277" y="1791961"/>
                </a:lnTo>
                <a:lnTo>
                  <a:pt x="1402854" y="1660626"/>
                </a:lnTo>
                <a:lnTo>
                  <a:pt x="1363848" y="1687117"/>
                </a:lnTo>
                <a:lnTo>
                  <a:pt x="1398945" y="1886133"/>
                </a:lnTo>
                <a:lnTo>
                  <a:pt x="1247240" y="1941349"/>
                </a:lnTo>
                <a:lnTo>
                  <a:pt x="1146202" y="1766334"/>
                </a:lnTo>
                <a:lnTo>
                  <a:pt x="1100680" y="1773318"/>
                </a:lnTo>
                <a:lnTo>
                  <a:pt x="1062288" y="1970826"/>
                </a:lnTo>
                <a:lnTo>
                  <a:pt x="902210" y="1969728"/>
                </a:lnTo>
                <a:lnTo>
                  <a:pt x="870884" y="1773359"/>
                </a:lnTo>
                <a:lnTo>
                  <a:pt x="825096" y="1766334"/>
                </a:lnTo>
                <a:lnTo>
                  <a:pt x="724057" y="1941349"/>
                </a:lnTo>
                <a:lnTo>
                  <a:pt x="572352" y="1886133"/>
                </a:lnTo>
                <a:lnTo>
                  <a:pt x="607450" y="1687117"/>
                </a:lnTo>
                <a:lnTo>
                  <a:pt x="571181" y="1662485"/>
                </a:lnTo>
                <a:lnTo>
                  <a:pt x="421150" y="1792613"/>
                </a:lnTo>
                <a:lnTo>
                  <a:pt x="297817" y="1690557"/>
                </a:lnTo>
                <a:lnTo>
                  <a:pt x="395006" y="1515223"/>
                </a:lnTo>
                <a:lnTo>
                  <a:pt x="361468" y="1480715"/>
                </a:lnTo>
                <a:lnTo>
                  <a:pt x="171570" y="1549837"/>
                </a:lnTo>
                <a:lnTo>
                  <a:pt x="90850" y="1410026"/>
                </a:lnTo>
                <a:lnTo>
                  <a:pt x="245661" y="1280131"/>
                </a:lnTo>
                <a:lnTo>
                  <a:pt x="233972" y="1245643"/>
                </a:lnTo>
                <a:lnTo>
                  <a:pt x="31451" y="1248953"/>
                </a:lnTo>
                <a:lnTo>
                  <a:pt x="2573" y="1091497"/>
                </a:lnTo>
                <a:lnTo>
                  <a:pt x="191133" y="1019115"/>
                </a:lnTo>
                <a:cubicBezTo>
                  <a:pt x="190723" y="1000711"/>
                  <a:pt x="190312" y="982308"/>
                  <a:pt x="189902" y="963904"/>
                </a:cubicBezTo>
                <a:lnTo>
                  <a:pt x="0" y="894790"/>
                </a:lnTo>
                <a:lnTo>
                  <a:pt x="28034" y="735802"/>
                </a:lnTo>
                <a:lnTo>
                  <a:pt x="230121" y="735808"/>
                </a:lnTo>
                <a:lnTo>
                  <a:pt x="240919" y="708079"/>
                </a:lnTo>
                <a:lnTo>
                  <a:pt x="84936" y="585933"/>
                </a:lnTo>
                <a:lnTo>
                  <a:pt x="161584" y="445393"/>
                </a:lnTo>
                <a:lnTo>
                  <a:pt x="354366" y="508031"/>
                </a:lnTo>
                <a:lnTo>
                  <a:pt x="390674" y="457722"/>
                </a:lnTo>
                <a:lnTo>
                  <a:pt x="289626" y="282712"/>
                </a:lnTo>
                <a:lnTo>
                  <a:pt x="413297" y="178940"/>
                </a:lnTo>
                <a:lnTo>
                  <a:pt x="568101" y="308843"/>
                </a:lnTo>
                <a:lnTo>
                  <a:pt x="611018" y="285324"/>
                </a:lnTo>
                <a:lnTo>
                  <a:pt x="576674" y="89277"/>
                </a:lnTo>
                <a:lnTo>
                  <a:pt x="727674" y="36123"/>
                </a:lnTo>
                <a:lnTo>
                  <a:pt x="826689" y="207623"/>
                </a:lnTo>
                <a:lnTo>
                  <a:pt x="869841" y="199018"/>
                </a:lnTo>
                <a:lnTo>
                  <a:pt x="904928" y="0"/>
                </a:lnTo>
                <a:close/>
              </a:path>
            </a:pathLst>
          </a:custGeom>
          <a:solidFill>
            <a:schemeClr val="accent1">
              <a:lumMod val="20000"/>
              <a:lumOff val="80000"/>
            </a:scheme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70287" tIns="769233" rIns="670287" bIns="821356" numCol="1" spcCol="1270" anchor="ctr" anchorCtr="0">
            <a:noAutofit/>
          </a:bodyPr>
          <a:lstStyle/>
          <a:p>
            <a:pPr algn="ctr" defTabSz="2489138">
              <a:lnSpc>
                <a:spcPct val="90000"/>
              </a:lnSpc>
              <a:spcBef>
                <a:spcPct val="0"/>
              </a:spcBef>
              <a:spcAft>
                <a:spcPct val="35000"/>
              </a:spcAft>
            </a:pPr>
            <a:endParaRPr lang="en-US" sz="5600" dirty="0">
              <a:solidFill>
                <a:prstClr val="white"/>
              </a:solidFill>
              <a:latin typeface="Arial" panose="020B0604020202020204"/>
            </a:endParaRPr>
          </a:p>
        </p:txBody>
      </p:sp>
      <p:sp>
        <p:nvSpPr>
          <p:cNvPr id="26" name="Freeform 22">
            <a:extLst>
              <a:ext uri="{FF2B5EF4-FFF2-40B4-BE49-F238E27FC236}">
                <a16:creationId xmlns:a16="http://schemas.microsoft.com/office/drawing/2014/main" id="{0651B01D-2459-9E85-2AF5-3524E59E6F2B}"/>
              </a:ext>
            </a:extLst>
          </p:cNvPr>
          <p:cNvSpPr>
            <a:spLocks noChangeAspect="1"/>
          </p:cNvSpPr>
          <p:nvPr/>
        </p:nvSpPr>
        <p:spPr>
          <a:xfrm flipH="1">
            <a:off x="10317937" y="3202745"/>
            <a:ext cx="435657" cy="435657"/>
          </a:xfrm>
          <a:custGeom>
            <a:avLst/>
            <a:gdLst>
              <a:gd name="connsiteX0" fmla="*/ 212598 w 1971297"/>
              <a:gd name="connsiteY0" fmla="*/ 1172544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98126 w 1971297"/>
              <a:gd name="connsiteY6" fmla="*/ 1096370 h 1970826"/>
              <a:gd name="connsiteX7" fmla="*/ 199057 w 1971297"/>
              <a:gd name="connsiteY7" fmla="*/ 1110557 h 1970826"/>
              <a:gd name="connsiteX8" fmla="*/ 200997 w 1971297"/>
              <a:gd name="connsiteY8" fmla="*/ 1119440 h 1970826"/>
              <a:gd name="connsiteX9" fmla="*/ 1658502 w 1971297"/>
              <a:gd name="connsiteY9" fmla="*/ 565633 h 1970826"/>
              <a:gd name="connsiteX10" fmla="*/ 1664864 w 1971297"/>
              <a:gd name="connsiteY10" fmla="*/ 574448 h 1970826"/>
              <a:gd name="connsiteX11" fmla="*/ 1664611 w 1971297"/>
              <a:gd name="connsiteY11" fmla="*/ 573966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0" fmla="*/ 217129 w 1971297"/>
              <a:gd name="connsiteY0" fmla="*/ 1192320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773168 w 1971297"/>
              <a:gd name="connsiteY6" fmla="*/ 1096396 h 1970826"/>
              <a:gd name="connsiteX7" fmla="*/ 198126 w 1971297"/>
              <a:gd name="connsiteY7" fmla="*/ 1096370 h 1970826"/>
              <a:gd name="connsiteX8" fmla="*/ 199057 w 1971297"/>
              <a:gd name="connsiteY8" fmla="*/ 1110557 h 1970826"/>
              <a:gd name="connsiteX9" fmla="*/ 200997 w 1971297"/>
              <a:gd name="connsiteY9" fmla="*/ 1119440 h 1970826"/>
              <a:gd name="connsiteX10" fmla="*/ 198126 w 1971297"/>
              <a:gd name="connsiteY10" fmla="*/ 1096370 h 1970826"/>
              <a:gd name="connsiteX11" fmla="*/ 1658502 w 1971297"/>
              <a:gd name="connsiteY11" fmla="*/ 565633 h 1970826"/>
              <a:gd name="connsiteX12" fmla="*/ 1664864 w 1971297"/>
              <a:gd name="connsiteY12" fmla="*/ 574448 h 1970826"/>
              <a:gd name="connsiteX13" fmla="*/ 1664611 w 1971297"/>
              <a:gd name="connsiteY13" fmla="*/ 573966 h 1970826"/>
              <a:gd name="connsiteX14" fmla="*/ 1658502 w 1971297"/>
              <a:gd name="connsiteY14" fmla="*/ 565633 h 1970826"/>
              <a:gd name="connsiteX15" fmla="*/ 985649 w 1971297"/>
              <a:gd name="connsiteY15" fmla="*/ 323553 h 1970826"/>
              <a:gd name="connsiteX16" fmla="*/ 322581 w 1971297"/>
              <a:gd name="connsiteY16" fmla="*/ 986621 h 1970826"/>
              <a:gd name="connsiteX17" fmla="*/ 985649 w 1971297"/>
              <a:gd name="connsiteY17" fmla="*/ 1649689 h 1970826"/>
              <a:gd name="connsiteX18" fmla="*/ 1648717 w 1971297"/>
              <a:gd name="connsiteY18" fmla="*/ 986621 h 1970826"/>
              <a:gd name="connsiteX19" fmla="*/ 985649 w 1971297"/>
              <a:gd name="connsiteY19" fmla="*/ 323553 h 1970826"/>
              <a:gd name="connsiteX20" fmla="*/ 904928 w 1971297"/>
              <a:gd name="connsiteY20" fmla="*/ 0 h 1970826"/>
              <a:gd name="connsiteX21" fmla="*/ 1066369 w 1971297"/>
              <a:gd name="connsiteY21" fmla="*/ 0 h 1970826"/>
              <a:gd name="connsiteX22" fmla="*/ 1101456 w 1971297"/>
              <a:gd name="connsiteY22" fmla="*/ 199018 h 1970826"/>
              <a:gd name="connsiteX23" fmla="*/ 1149113 w 1971297"/>
              <a:gd name="connsiteY23" fmla="*/ 208521 h 1970826"/>
              <a:gd name="connsiteX24" fmla="*/ 1245734 w 1971297"/>
              <a:gd name="connsiteY24" fmla="*/ 36367 h 1970826"/>
              <a:gd name="connsiteX25" fmla="*/ 1396309 w 1971297"/>
              <a:gd name="connsiteY25" fmla="*/ 90716 h 1970826"/>
              <a:gd name="connsiteX26" fmla="*/ 1364293 w 1971297"/>
              <a:gd name="connsiteY26" fmla="*/ 287523 h 1970826"/>
              <a:gd name="connsiteX27" fmla="*/ 1403197 w 1971297"/>
              <a:gd name="connsiteY27" fmla="*/ 308843 h 1970826"/>
              <a:gd name="connsiteX28" fmla="*/ 1558001 w 1971297"/>
              <a:gd name="connsiteY28" fmla="*/ 178940 h 1970826"/>
              <a:gd name="connsiteX29" fmla="*/ 1681671 w 1971297"/>
              <a:gd name="connsiteY29" fmla="*/ 282712 h 1970826"/>
              <a:gd name="connsiteX30" fmla="*/ 1580623 w 1971297"/>
              <a:gd name="connsiteY30" fmla="*/ 457722 h 1970826"/>
              <a:gd name="connsiteX31" fmla="*/ 1610608 w 1971297"/>
              <a:gd name="connsiteY31" fmla="*/ 499270 h 1970826"/>
              <a:gd name="connsiteX32" fmla="*/ 1802874 w 1971297"/>
              <a:gd name="connsiteY32" fmla="*/ 433067 h 1970826"/>
              <a:gd name="connsiteX33" fmla="*/ 1881963 w 1971297"/>
              <a:gd name="connsiteY33" fmla="*/ 572248 h 1970826"/>
              <a:gd name="connsiteX34" fmla="*/ 1726590 w 1971297"/>
              <a:gd name="connsiteY34" fmla="*/ 698353 h 1970826"/>
              <a:gd name="connsiteX35" fmla="*/ 1741176 w 1971297"/>
              <a:gd name="connsiteY35" fmla="*/ 735808 h 1970826"/>
              <a:gd name="connsiteX36" fmla="*/ 1943264 w 1971297"/>
              <a:gd name="connsiteY36" fmla="*/ 735802 h 1970826"/>
              <a:gd name="connsiteX37" fmla="*/ 1971297 w 1971297"/>
              <a:gd name="connsiteY37" fmla="*/ 894790 h 1970826"/>
              <a:gd name="connsiteX38" fmla="*/ 1781396 w 1971297"/>
              <a:gd name="connsiteY38" fmla="*/ 963903 h 1970826"/>
              <a:gd name="connsiteX39" fmla="*/ 1780264 w 1971297"/>
              <a:gd name="connsiteY39" fmla="*/ 1014677 h 1970826"/>
              <a:gd name="connsiteX40" fmla="*/ 1969010 w 1971297"/>
              <a:gd name="connsiteY40" fmla="*/ 1087130 h 1970826"/>
              <a:gd name="connsiteX41" fmla="*/ 1940132 w 1971297"/>
              <a:gd name="connsiteY41" fmla="*/ 1244586 h 1970826"/>
              <a:gd name="connsiteX42" fmla="*/ 1738798 w 1971297"/>
              <a:gd name="connsiteY42" fmla="*/ 1241295 h 1970826"/>
              <a:gd name="connsiteX43" fmla="*/ 1725636 w 1971297"/>
              <a:gd name="connsiteY43" fmla="*/ 1280130 h 1970826"/>
              <a:gd name="connsiteX44" fmla="*/ 1880447 w 1971297"/>
              <a:gd name="connsiteY44" fmla="*/ 1410026 h 1970826"/>
              <a:gd name="connsiteX45" fmla="*/ 1799727 w 1971297"/>
              <a:gd name="connsiteY45" fmla="*/ 1549837 h 1970826"/>
              <a:gd name="connsiteX46" fmla="*/ 1609829 w 1971297"/>
              <a:gd name="connsiteY46" fmla="*/ 1480714 h 1970826"/>
              <a:gd name="connsiteX47" fmla="*/ 1579151 w 1971297"/>
              <a:gd name="connsiteY47" fmla="*/ 1512281 h 1970826"/>
              <a:gd name="connsiteX48" fmla="*/ 1677610 w 1971297"/>
              <a:gd name="connsiteY48" fmla="*/ 1689905 h 1970826"/>
              <a:gd name="connsiteX49" fmla="*/ 1554277 w 1971297"/>
              <a:gd name="connsiteY49" fmla="*/ 1791961 h 1970826"/>
              <a:gd name="connsiteX50" fmla="*/ 1402854 w 1971297"/>
              <a:gd name="connsiteY50" fmla="*/ 1660626 h 1970826"/>
              <a:gd name="connsiteX51" fmla="*/ 1363848 w 1971297"/>
              <a:gd name="connsiteY51" fmla="*/ 1687117 h 1970826"/>
              <a:gd name="connsiteX52" fmla="*/ 1398945 w 1971297"/>
              <a:gd name="connsiteY52" fmla="*/ 1886133 h 1970826"/>
              <a:gd name="connsiteX53" fmla="*/ 1247240 w 1971297"/>
              <a:gd name="connsiteY53" fmla="*/ 1941349 h 1970826"/>
              <a:gd name="connsiteX54" fmla="*/ 1146202 w 1971297"/>
              <a:gd name="connsiteY54" fmla="*/ 1766334 h 1970826"/>
              <a:gd name="connsiteX55" fmla="*/ 1100680 w 1971297"/>
              <a:gd name="connsiteY55" fmla="*/ 1773318 h 1970826"/>
              <a:gd name="connsiteX56" fmla="*/ 1062288 w 1971297"/>
              <a:gd name="connsiteY56" fmla="*/ 1970826 h 1970826"/>
              <a:gd name="connsiteX57" fmla="*/ 902210 w 1971297"/>
              <a:gd name="connsiteY57" fmla="*/ 1969728 h 1970826"/>
              <a:gd name="connsiteX58" fmla="*/ 870884 w 1971297"/>
              <a:gd name="connsiteY58" fmla="*/ 1773359 h 1970826"/>
              <a:gd name="connsiteX59" fmla="*/ 825096 w 1971297"/>
              <a:gd name="connsiteY59" fmla="*/ 1766334 h 1970826"/>
              <a:gd name="connsiteX60" fmla="*/ 724057 w 1971297"/>
              <a:gd name="connsiteY60" fmla="*/ 1941349 h 1970826"/>
              <a:gd name="connsiteX61" fmla="*/ 572352 w 1971297"/>
              <a:gd name="connsiteY61" fmla="*/ 1886133 h 1970826"/>
              <a:gd name="connsiteX62" fmla="*/ 607450 w 1971297"/>
              <a:gd name="connsiteY62" fmla="*/ 1687117 h 1970826"/>
              <a:gd name="connsiteX63" fmla="*/ 571181 w 1971297"/>
              <a:gd name="connsiteY63" fmla="*/ 1662485 h 1970826"/>
              <a:gd name="connsiteX64" fmla="*/ 421150 w 1971297"/>
              <a:gd name="connsiteY64" fmla="*/ 1792613 h 1970826"/>
              <a:gd name="connsiteX65" fmla="*/ 297817 w 1971297"/>
              <a:gd name="connsiteY65" fmla="*/ 1690557 h 1970826"/>
              <a:gd name="connsiteX66" fmla="*/ 395006 w 1971297"/>
              <a:gd name="connsiteY66" fmla="*/ 1515223 h 1970826"/>
              <a:gd name="connsiteX67" fmla="*/ 361468 w 1971297"/>
              <a:gd name="connsiteY67" fmla="*/ 1480715 h 1970826"/>
              <a:gd name="connsiteX68" fmla="*/ 171570 w 1971297"/>
              <a:gd name="connsiteY68" fmla="*/ 1549837 h 1970826"/>
              <a:gd name="connsiteX69" fmla="*/ 90850 w 1971297"/>
              <a:gd name="connsiteY69" fmla="*/ 1410026 h 1970826"/>
              <a:gd name="connsiteX70" fmla="*/ 245661 w 1971297"/>
              <a:gd name="connsiteY70" fmla="*/ 1280131 h 1970826"/>
              <a:gd name="connsiteX71" fmla="*/ 233972 w 1971297"/>
              <a:gd name="connsiteY71" fmla="*/ 1245643 h 1970826"/>
              <a:gd name="connsiteX72" fmla="*/ 31451 w 1971297"/>
              <a:gd name="connsiteY72" fmla="*/ 1248953 h 1970826"/>
              <a:gd name="connsiteX73" fmla="*/ 2573 w 1971297"/>
              <a:gd name="connsiteY73" fmla="*/ 1091497 h 1970826"/>
              <a:gd name="connsiteX74" fmla="*/ 191133 w 1971297"/>
              <a:gd name="connsiteY74" fmla="*/ 1019115 h 1970826"/>
              <a:gd name="connsiteX75" fmla="*/ 189902 w 1971297"/>
              <a:gd name="connsiteY75" fmla="*/ 963904 h 1970826"/>
              <a:gd name="connsiteX76" fmla="*/ 0 w 1971297"/>
              <a:gd name="connsiteY76" fmla="*/ 894790 h 1970826"/>
              <a:gd name="connsiteX77" fmla="*/ 28034 w 1971297"/>
              <a:gd name="connsiteY77" fmla="*/ 735802 h 1970826"/>
              <a:gd name="connsiteX78" fmla="*/ 230121 w 1971297"/>
              <a:gd name="connsiteY78" fmla="*/ 735808 h 1970826"/>
              <a:gd name="connsiteX79" fmla="*/ 240919 w 1971297"/>
              <a:gd name="connsiteY79" fmla="*/ 708079 h 1970826"/>
              <a:gd name="connsiteX80" fmla="*/ 84936 w 1971297"/>
              <a:gd name="connsiteY80" fmla="*/ 585933 h 1970826"/>
              <a:gd name="connsiteX81" fmla="*/ 161584 w 1971297"/>
              <a:gd name="connsiteY81" fmla="*/ 445393 h 1970826"/>
              <a:gd name="connsiteX82" fmla="*/ 354366 w 1971297"/>
              <a:gd name="connsiteY82" fmla="*/ 508031 h 1970826"/>
              <a:gd name="connsiteX83" fmla="*/ 390674 w 1971297"/>
              <a:gd name="connsiteY83" fmla="*/ 457722 h 1970826"/>
              <a:gd name="connsiteX84" fmla="*/ 289626 w 1971297"/>
              <a:gd name="connsiteY84" fmla="*/ 282712 h 1970826"/>
              <a:gd name="connsiteX85" fmla="*/ 413297 w 1971297"/>
              <a:gd name="connsiteY85" fmla="*/ 178940 h 1970826"/>
              <a:gd name="connsiteX86" fmla="*/ 568101 w 1971297"/>
              <a:gd name="connsiteY86" fmla="*/ 308843 h 1970826"/>
              <a:gd name="connsiteX87" fmla="*/ 611018 w 1971297"/>
              <a:gd name="connsiteY87" fmla="*/ 285324 h 1970826"/>
              <a:gd name="connsiteX88" fmla="*/ 576674 w 1971297"/>
              <a:gd name="connsiteY88" fmla="*/ 89277 h 1970826"/>
              <a:gd name="connsiteX89" fmla="*/ 727674 w 1971297"/>
              <a:gd name="connsiteY89" fmla="*/ 36123 h 1970826"/>
              <a:gd name="connsiteX90" fmla="*/ 826689 w 1971297"/>
              <a:gd name="connsiteY90" fmla="*/ 207623 h 1970826"/>
              <a:gd name="connsiteX91" fmla="*/ 869841 w 1971297"/>
              <a:gd name="connsiteY91" fmla="*/ 199018 h 1970826"/>
              <a:gd name="connsiteX92" fmla="*/ 904928 w 1971297"/>
              <a:gd name="connsiteY92" fmla="*/ 0 h 1970826"/>
              <a:gd name="connsiteX0" fmla="*/ 1773168 w 1971297"/>
              <a:gd name="connsiteY0" fmla="*/ 1096396 h 1970826"/>
              <a:gd name="connsiteX1" fmla="*/ 1771186 w 1971297"/>
              <a:gd name="connsiteY1" fmla="*/ 1112322 h 1970826"/>
              <a:gd name="connsiteX2" fmla="*/ 1772526 w 1971297"/>
              <a:gd name="connsiteY2" fmla="*/ 1106190 h 1970826"/>
              <a:gd name="connsiteX3" fmla="*/ 1773168 w 1971297"/>
              <a:gd name="connsiteY3" fmla="*/ 1096396 h 1970826"/>
              <a:gd name="connsiteX4" fmla="*/ 198126 w 1971297"/>
              <a:gd name="connsiteY4" fmla="*/ 1096370 h 1970826"/>
              <a:gd name="connsiteX5" fmla="*/ 199057 w 1971297"/>
              <a:gd name="connsiteY5" fmla="*/ 1110557 h 1970826"/>
              <a:gd name="connsiteX6" fmla="*/ 200997 w 1971297"/>
              <a:gd name="connsiteY6" fmla="*/ 1119440 h 1970826"/>
              <a:gd name="connsiteX7" fmla="*/ 198126 w 1971297"/>
              <a:gd name="connsiteY7" fmla="*/ 1096370 h 1970826"/>
              <a:gd name="connsiteX8" fmla="*/ 1658502 w 1971297"/>
              <a:gd name="connsiteY8" fmla="*/ 565633 h 1970826"/>
              <a:gd name="connsiteX9" fmla="*/ 1664864 w 1971297"/>
              <a:gd name="connsiteY9" fmla="*/ 574448 h 1970826"/>
              <a:gd name="connsiteX10" fmla="*/ 1664611 w 1971297"/>
              <a:gd name="connsiteY10" fmla="*/ 573966 h 1970826"/>
              <a:gd name="connsiteX11" fmla="*/ 1658502 w 1971297"/>
              <a:gd name="connsiteY11" fmla="*/ 565633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89" fmla="*/ 904928 w 1971297"/>
              <a:gd name="connsiteY89" fmla="*/ 0 h 1970826"/>
              <a:gd name="connsiteX0" fmla="*/ 1772526 w 1971297"/>
              <a:gd name="connsiteY0" fmla="*/ 1106190 h 1970826"/>
              <a:gd name="connsiteX1" fmla="*/ 1771186 w 1971297"/>
              <a:gd name="connsiteY1" fmla="*/ 1112322 h 1970826"/>
              <a:gd name="connsiteX2" fmla="*/ 1772526 w 1971297"/>
              <a:gd name="connsiteY2" fmla="*/ 1106190 h 1970826"/>
              <a:gd name="connsiteX3" fmla="*/ 198126 w 1971297"/>
              <a:gd name="connsiteY3" fmla="*/ 1096370 h 1970826"/>
              <a:gd name="connsiteX4" fmla="*/ 199057 w 1971297"/>
              <a:gd name="connsiteY4" fmla="*/ 1110557 h 1970826"/>
              <a:gd name="connsiteX5" fmla="*/ 200997 w 1971297"/>
              <a:gd name="connsiteY5" fmla="*/ 1119440 h 1970826"/>
              <a:gd name="connsiteX6" fmla="*/ 198126 w 1971297"/>
              <a:gd name="connsiteY6" fmla="*/ 1096370 h 1970826"/>
              <a:gd name="connsiteX7" fmla="*/ 1658502 w 1971297"/>
              <a:gd name="connsiteY7" fmla="*/ 565633 h 1970826"/>
              <a:gd name="connsiteX8" fmla="*/ 1664864 w 1971297"/>
              <a:gd name="connsiteY8" fmla="*/ 574448 h 1970826"/>
              <a:gd name="connsiteX9" fmla="*/ 1664611 w 1971297"/>
              <a:gd name="connsiteY9" fmla="*/ 573966 h 1970826"/>
              <a:gd name="connsiteX10" fmla="*/ 1658502 w 1971297"/>
              <a:gd name="connsiteY10" fmla="*/ 565633 h 1970826"/>
              <a:gd name="connsiteX11" fmla="*/ 985649 w 1971297"/>
              <a:gd name="connsiteY11" fmla="*/ 323553 h 1970826"/>
              <a:gd name="connsiteX12" fmla="*/ 322581 w 1971297"/>
              <a:gd name="connsiteY12" fmla="*/ 986621 h 1970826"/>
              <a:gd name="connsiteX13" fmla="*/ 985649 w 1971297"/>
              <a:gd name="connsiteY13" fmla="*/ 1649689 h 1970826"/>
              <a:gd name="connsiteX14" fmla="*/ 1648717 w 1971297"/>
              <a:gd name="connsiteY14" fmla="*/ 986621 h 1970826"/>
              <a:gd name="connsiteX15" fmla="*/ 985649 w 1971297"/>
              <a:gd name="connsiteY15" fmla="*/ 323553 h 1970826"/>
              <a:gd name="connsiteX16" fmla="*/ 904928 w 1971297"/>
              <a:gd name="connsiteY16" fmla="*/ 0 h 1970826"/>
              <a:gd name="connsiteX17" fmla="*/ 1066369 w 1971297"/>
              <a:gd name="connsiteY17" fmla="*/ 0 h 1970826"/>
              <a:gd name="connsiteX18" fmla="*/ 1101456 w 1971297"/>
              <a:gd name="connsiteY18" fmla="*/ 199018 h 1970826"/>
              <a:gd name="connsiteX19" fmla="*/ 1149113 w 1971297"/>
              <a:gd name="connsiteY19" fmla="*/ 208521 h 1970826"/>
              <a:gd name="connsiteX20" fmla="*/ 1245734 w 1971297"/>
              <a:gd name="connsiteY20" fmla="*/ 36367 h 1970826"/>
              <a:gd name="connsiteX21" fmla="*/ 1396309 w 1971297"/>
              <a:gd name="connsiteY21" fmla="*/ 90716 h 1970826"/>
              <a:gd name="connsiteX22" fmla="*/ 1364293 w 1971297"/>
              <a:gd name="connsiteY22" fmla="*/ 287523 h 1970826"/>
              <a:gd name="connsiteX23" fmla="*/ 1403197 w 1971297"/>
              <a:gd name="connsiteY23" fmla="*/ 308843 h 1970826"/>
              <a:gd name="connsiteX24" fmla="*/ 1558001 w 1971297"/>
              <a:gd name="connsiteY24" fmla="*/ 178940 h 1970826"/>
              <a:gd name="connsiteX25" fmla="*/ 1681671 w 1971297"/>
              <a:gd name="connsiteY25" fmla="*/ 282712 h 1970826"/>
              <a:gd name="connsiteX26" fmla="*/ 1580623 w 1971297"/>
              <a:gd name="connsiteY26" fmla="*/ 457722 h 1970826"/>
              <a:gd name="connsiteX27" fmla="*/ 1610608 w 1971297"/>
              <a:gd name="connsiteY27" fmla="*/ 499270 h 1970826"/>
              <a:gd name="connsiteX28" fmla="*/ 1802874 w 1971297"/>
              <a:gd name="connsiteY28" fmla="*/ 433067 h 1970826"/>
              <a:gd name="connsiteX29" fmla="*/ 1881963 w 1971297"/>
              <a:gd name="connsiteY29" fmla="*/ 572248 h 1970826"/>
              <a:gd name="connsiteX30" fmla="*/ 1726590 w 1971297"/>
              <a:gd name="connsiteY30" fmla="*/ 698353 h 1970826"/>
              <a:gd name="connsiteX31" fmla="*/ 1741176 w 1971297"/>
              <a:gd name="connsiteY31" fmla="*/ 735808 h 1970826"/>
              <a:gd name="connsiteX32" fmla="*/ 1943264 w 1971297"/>
              <a:gd name="connsiteY32" fmla="*/ 735802 h 1970826"/>
              <a:gd name="connsiteX33" fmla="*/ 1971297 w 1971297"/>
              <a:gd name="connsiteY33" fmla="*/ 894790 h 1970826"/>
              <a:gd name="connsiteX34" fmla="*/ 1781396 w 1971297"/>
              <a:gd name="connsiteY34" fmla="*/ 963903 h 1970826"/>
              <a:gd name="connsiteX35" fmla="*/ 1780264 w 1971297"/>
              <a:gd name="connsiteY35" fmla="*/ 1014677 h 1970826"/>
              <a:gd name="connsiteX36" fmla="*/ 1969010 w 1971297"/>
              <a:gd name="connsiteY36" fmla="*/ 1087130 h 1970826"/>
              <a:gd name="connsiteX37" fmla="*/ 1940132 w 1971297"/>
              <a:gd name="connsiteY37" fmla="*/ 1244586 h 1970826"/>
              <a:gd name="connsiteX38" fmla="*/ 1738798 w 1971297"/>
              <a:gd name="connsiteY38" fmla="*/ 1241295 h 1970826"/>
              <a:gd name="connsiteX39" fmla="*/ 1725636 w 1971297"/>
              <a:gd name="connsiteY39" fmla="*/ 1280130 h 1970826"/>
              <a:gd name="connsiteX40" fmla="*/ 1880447 w 1971297"/>
              <a:gd name="connsiteY40" fmla="*/ 1410026 h 1970826"/>
              <a:gd name="connsiteX41" fmla="*/ 1799727 w 1971297"/>
              <a:gd name="connsiteY41" fmla="*/ 1549837 h 1970826"/>
              <a:gd name="connsiteX42" fmla="*/ 1609829 w 1971297"/>
              <a:gd name="connsiteY42" fmla="*/ 1480714 h 1970826"/>
              <a:gd name="connsiteX43" fmla="*/ 1579151 w 1971297"/>
              <a:gd name="connsiteY43" fmla="*/ 1512281 h 1970826"/>
              <a:gd name="connsiteX44" fmla="*/ 1677610 w 1971297"/>
              <a:gd name="connsiteY44" fmla="*/ 1689905 h 1970826"/>
              <a:gd name="connsiteX45" fmla="*/ 1554277 w 1971297"/>
              <a:gd name="connsiteY45" fmla="*/ 1791961 h 1970826"/>
              <a:gd name="connsiteX46" fmla="*/ 1402854 w 1971297"/>
              <a:gd name="connsiteY46" fmla="*/ 1660626 h 1970826"/>
              <a:gd name="connsiteX47" fmla="*/ 1363848 w 1971297"/>
              <a:gd name="connsiteY47" fmla="*/ 1687117 h 1970826"/>
              <a:gd name="connsiteX48" fmla="*/ 1398945 w 1971297"/>
              <a:gd name="connsiteY48" fmla="*/ 1886133 h 1970826"/>
              <a:gd name="connsiteX49" fmla="*/ 1247240 w 1971297"/>
              <a:gd name="connsiteY49" fmla="*/ 1941349 h 1970826"/>
              <a:gd name="connsiteX50" fmla="*/ 1146202 w 1971297"/>
              <a:gd name="connsiteY50" fmla="*/ 1766334 h 1970826"/>
              <a:gd name="connsiteX51" fmla="*/ 1100680 w 1971297"/>
              <a:gd name="connsiteY51" fmla="*/ 1773318 h 1970826"/>
              <a:gd name="connsiteX52" fmla="*/ 1062288 w 1971297"/>
              <a:gd name="connsiteY52" fmla="*/ 1970826 h 1970826"/>
              <a:gd name="connsiteX53" fmla="*/ 902210 w 1971297"/>
              <a:gd name="connsiteY53" fmla="*/ 1969728 h 1970826"/>
              <a:gd name="connsiteX54" fmla="*/ 870884 w 1971297"/>
              <a:gd name="connsiteY54" fmla="*/ 1773359 h 1970826"/>
              <a:gd name="connsiteX55" fmla="*/ 825096 w 1971297"/>
              <a:gd name="connsiteY55" fmla="*/ 1766334 h 1970826"/>
              <a:gd name="connsiteX56" fmla="*/ 724057 w 1971297"/>
              <a:gd name="connsiteY56" fmla="*/ 1941349 h 1970826"/>
              <a:gd name="connsiteX57" fmla="*/ 572352 w 1971297"/>
              <a:gd name="connsiteY57" fmla="*/ 1886133 h 1970826"/>
              <a:gd name="connsiteX58" fmla="*/ 607450 w 1971297"/>
              <a:gd name="connsiteY58" fmla="*/ 1687117 h 1970826"/>
              <a:gd name="connsiteX59" fmla="*/ 571181 w 1971297"/>
              <a:gd name="connsiteY59" fmla="*/ 1662485 h 1970826"/>
              <a:gd name="connsiteX60" fmla="*/ 421150 w 1971297"/>
              <a:gd name="connsiteY60" fmla="*/ 1792613 h 1970826"/>
              <a:gd name="connsiteX61" fmla="*/ 297817 w 1971297"/>
              <a:gd name="connsiteY61" fmla="*/ 1690557 h 1970826"/>
              <a:gd name="connsiteX62" fmla="*/ 395006 w 1971297"/>
              <a:gd name="connsiteY62" fmla="*/ 1515223 h 1970826"/>
              <a:gd name="connsiteX63" fmla="*/ 361468 w 1971297"/>
              <a:gd name="connsiteY63" fmla="*/ 1480715 h 1970826"/>
              <a:gd name="connsiteX64" fmla="*/ 171570 w 1971297"/>
              <a:gd name="connsiteY64" fmla="*/ 1549837 h 1970826"/>
              <a:gd name="connsiteX65" fmla="*/ 90850 w 1971297"/>
              <a:gd name="connsiteY65" fmla="*/ 1410026 h 1970826"/>
              <a:gd name="connsiteX66" fmla="*/ 245661 w 1971297"/>
              <a:gd name="connsiteY66" fmla="*/ 1280131 h 1970826"/>
              <a:gd name="connsiteX67" fmla="*/ 233972 w 1971297"/>
              <a:gd name="connsiteY67" fmla="*/ 1245643 h 1970826"/>
              <a:gd name="connsiteX68" fmla="*/ 31451 w 1971297"/>
              <a:gd name="connsiteY68" fmla="*/ 1248953 h 1970826"/>
              <a:gd name="connsiteX69" fmla="*/ 2573 w 1971297"/>
              <a:gd name="connsiteY69" fmla="*/ 1091497 h 1970826"/>
              <a:gd name="connsiteX70" fmla="*/ 191133 w 1971297"/>
              <a:gd name="connsiteY70" fmla="*/ 1019115 h 1970826"/>
              <a:gd name="connsiteX71" fmla="*/ 189902 w 1971297"/>
              <a:gd name="connsiteY71" fmla="*/ 963904 h 1970826"/>
              <a:gd name="connsiteX72" fmla="*/ 0 w 1971297"/>
              <a:gd name="connsiteY72" fmla="*/ 894790 h 1970826"/>
              <a:gd name="connsiteX73" fmla="*/ 28034 w 1971297"/>
              <a:gd name="connsiteY73" fmla="*/ 735802 h 1970826"/>
              <a:gd name="connsiteX74" fmla="*/ 230121 w 1971297"/>
              <a:gd name="connsiteY74" fmla="*/ 735808 h 1970826"/>
              <a:gd name="connsiteX75" fmla="*/ 240919 w 1971297"/>
              <a:gd name="connsiteY75" fmla="*/ 708079 h 1970826"/>
              <a:gd name="connsiteX76" fmla="*/ 84936 w 1971297"/>
              <a:gd name="connsiteY76" fmla="*/ 585933 h 1970826"/>
              <a:gd name="connsiteX77" fmla="*/ 161584 w 1971297"/>
              <a:gd name="connsiteY77" fmla="*/ 445393 h 1970826"/>
              <a:gd name="connsiteX78" fmla="*/ 354366 w 1971297"/>
              <a:gd name="connsiteY78" fmla="*/ 508031 h 1970826"/>
              <a:gd name="connsiteX79" fmla="*/ 390674 w 1971297"/>
              <a:gd name="connsiteY79" fmla="*/ 457722 h 1970826"/>
              <a:gd name="connsiteX80" fmla="*/ 289626 w 1971297"/>
              <a:gd name="connsiteY80" fmla="*/ 282712 h 1970826"/>
              <a:gd name="connsiteX81" fmla="*/ 413297 w 1971297"/>
              <a:gd name="connsiteY81" fmla="*/ 178940 h 1970826"/>
              <a:gd name="connsiteX82" fmla="*/ 568101 w 1971297"/>
              <a:gd name="connsiteY82" fmla="*/ 308843 h 1970826"/>
              <a:gd name="connsiteX83" fmla="*/ 611018 w 1971297"/>
              <a:gd name="connsiteY83" fmla="*/ 285324 h 1970826"/>
              <a:gd name="connsiteX84" fmla="*/ 576674 w 1971297"/>
              <a:gd name="connsiteY84" fmla="*/ 89277 h 1970826"/>
              <a:gd name="connsiteX85" fmla="*/ 727674 w 1971297"/>
              <a:gd name="connsiteY85" fmla="*/ 36123 h 1970826"/>
              <a:gd name="connsiteX86" fmla="*/ 826689 w 1971297"/>
              <a:gd name="connsiteY86" fmla="*/ 207623 h 1970826"/>
              <a:gd name="connsiteX87" fmla="*/ 869841 w 1971297"/>
              <a:gd name="connsiteY87" fmla="*/ 199018 h 1970826"/>
              <a:gd name="connsiteX88" fmla="*/ 904928 w 1971297"/>
              <a:gd name="connsiteY88" fmla="*/ 0 h 1970826"/>
              <a:gd name="connsiteX0" fmla="*/ 198126 w 1971297"/>
              <a:gd name="connsiteY0" fmla="*/ 1096370 h 1970826"/>
              <a:gd name="connsiteX1" fmla="*/ 199057 w 1971297"/>
              <a:gd name="connsiteY1" fmla="*/ 1110557 h 1970826"/>
              <a:gd name="connsiteX2" fmla="*/ 200997 w 1971297"/>
              <a:gd name="connsiteY2" fmla="*/ 1119440 h 1970826"/>
              <a:gd name="connsiteX3" fmla="*/ 198126 w 1971297"/>
              <a:gd name="connsiteY3" fmla="*/ 1096370 h 1970826"/>
              <a:gd name="connsiteX4" fmla="*/ 1658502 w 1971297"/>
              <a:gd name="connsiteY4" fmla="*/ 565633 h 1970826"/>
              <a:gd name="connsiteX5" fmla="*/ 1664864 w 1971297"/>
              <a:gd name="connsiteY5" fmla="*/ 574448 h 1970826"/>
              <a:gd name="connsiteX6" fmla="*/ 1664611 w 1971297"/>
              <a:gd name="connsiteY6" fmla="*/ 573966 h 1970826"/>
              <a:gd name="connsiteX7" fmla="*/ 1658502 w 1971297"/>
              <a:gd name="connsiteY7" fmla="*/ 565633 h 1970826"/>
              <a:gd name="connsiteX8" fmla="*/ 985649 w 1971297"/>
              <a:gd name="connsiteY8" fmla="*/ 323553 h 1970826"/>
              <a:gd name="connsiteX9" fmla="*/ 322581 w 1971297"/>
              <a:gd name="connsiteY9" fmla="*/ 986621 h 1970826"/>
              <a:gd name="connsiteX10" fmla="*/ 985649 w 1971297"/>
              <a:gd name="connsiteY10" fmla="*/ 1649689 h 1970826"/>
              <a:gd name="connsiteX11" fmla="*/ 1648717 w 1971297"/>
              <a:gd name="connsiteY11" fmla="*/ 986621 h 1970826"/>
              <a:gd name="connsiteX12" fmla="*/ 985649 w 1971297"/>
              <a:gd name="connsiteY12" fmla="*/ 323553 h 1970826"/>
              <a:gd name="connsiteX13" fmla="*/ 904928 w 1971297"/>
              <a:gd name="connsiteY13" fmla="*/ 0 h 1970826"/>
              <a:gd name="connsiteX14" fmla="*/ 1066369 w 1971297"/>
              <a:gd name="connsiteY14" fmla="*/ 0 h 1970826"/>
              <a:gd name="connsiteX15" fmla="*/ 1101456 w 1971297"/>
              <a:gd name="connsiteY15" fmla="*/ 199018 h 1970826"/>
              <a:gd name="connsiteX16" fmla="*/ 1149113 w 1971297"/>
              <a:gd name="connsiteY16" fmla="*/ 208521 h 1970826"/>
              <a:gd name="connsiteX17" fmla="*/ 1245734 w 1971297"/>
              <a:gd name="connsiteY17" fmla="*/ 36367 h 1970826"/>
              <a:gd name="connsiteX18" fmla="*/ 1396309 w 1971297"/>
              <a:gd name="connsiteY18" fmla="*/ 90716 h 1970826"/>
              <a:gd name="connsiteX19" fmla="*/ 1364293 w 1971297"/>
              <a:gd name="connsiteY19" fmla="*/ 287523 h 1970826"/>
              <a:gd name="connsiteX20" fmla="*/ 1403197 w 1971297"/>
              <a:gd name="connsiteY20" fmla="*/ 308843 h 1970826"/>
              <a:gd name="connsiteX21" fmla="*/ 1558001 w 1971297"/>
              <a:gd name="connsiteY21" fmla="*/ 178940 h 1970826"/>
              <a:gd name="connsiteX22" fmla="*/ 1681671 w 1971297"/>
              <a:gd name="connsiteY22" fmla="*/ 282712 h 1970826"/>
              <a:gd name="connsiteX23" fmla="*/ 1580623 w 1971297"/>
              <a:gd name="connsiteY23" fmla="*/ 457722 h 1970826"/>
              <a:gd name="connsiteX24" fmla="*/ 1610608 w 1971297"/>
              <a:gd name="connsiteY24" fmla="*/ 499270 h 1970826"/>
              <a:gd name="connsiteX25" fmla="*/ 1802874 w 1971297"/>
              <a:gd name="connsiteY25" fmla="*/ 433067 h 1970826"/>
              <a:gd name="connsiteX26" fmla="*/ 1881963 w 1971297"/>
              <a:gd name="connsiteY26" fmla="*/ 572248 h 1970826"/>
              <a:gd name="connsiteX27" fmla="*/ 1726590 w 1971297"/>
              <a:gd name="connsiteY27" fmla="*/ 698353 h 1970826"/>
              <a:gd name="connsiteX28" fmla="*/ 1741176 w 1971297"/>
              <a:gd name="connsiteY28" fmla="*/ 735808 h 1970826"/>
              <a:gd name="connsiteX29" fmla="*/ 1943264 w 1971297"/>
              <a:gd name="connsiteY29" fmla="*/ 735802 h 1970826"/>
              <a:gd name="connsiteX30" fmla="*/ 1971297 w 1971297"/>
              <a:gd name="connsiteY30" fmla="*/ 894790 h 1970826"/>
              <a:gd name="connsiteX31" fmla="*/ 1781396 w 1971297"/>
              <a:gd name="connsiteY31" fmla="*/ 963903 h 1970826"/>
              <a:gd name="connsiteX32" fmla="*/ 1780264 w 1971297"/>
              <a:gd name="connsiteY32" fmla="*/ 1014677 h 1970826"/>
              <a:gd name="connsiteX33" fmla="*/ 1969010 w 1971297"/>
              <a:gd name="connsiteY33" fmla="*/ 1087130 h 1970826"/>
              <a:gd name="connsiteX34" fmla="*/ 1940132 w 1971297"/>
              <a:gd name="connsiteY34" fmla="*/ 1244586 h 1970826"/>
              <a:gd name="connsiteX35" fmla="*/ 1738798 w 1971297"/>
              <a:gd name="connsiteY35" fmla="*/ 1241295 h 1970826"/>
              <a:gd name="connsiteX36" fmla="*/ 1725636 w 1971297"/>
              <a:gd name="connsiteY36" fmla="*/ 1280130 h 1970826"/>
              <a:gd name="connsiteX37" fmla="*/ 1880447 w 1971297"/>
              <a:gd name="connsiteY37" fmla="*/ 1410026 h 1970826"/>
              <a:gd name="connsiteX38" fmla="*/ 1799727 w 1971297"/>
              <a:gd name="connsiteY38" fmla="*/ 1549837 h 1970826"/>
              <a:gd name="connsiteX39" fmla="*/ 1609829 w 1971297"/>
              <a:gd name="connsiteY39" fmla="*/ 1480714 h 1970826"/>
              <a:gd name="connsiteX40" fmla="*/ 1579151 w 1971297"/>
              <a:gd name="connsiteY40" fmla="*/ 1512281 h 1970826"/>
              <a:gd name="connsiteX41" fmla="*/ 1677610 w 1971297"/>
              <a:gd name="connsiteY41" fmla="*/ 1689905 h 1970826"/>
              <a:gd name="connsiteX42" fmla="*/ 1554277 w 1971297"/>
              <a:gd name="connsiteY42" fmla="*/ 1791961 h 1970826"/>
              <a:gd name="connsiteX43" fmla="*/ 1402854 w 1971297"/>
              <a:gd name="connsiteY43" fmla="*/ 1660626 h 1970826"/>
              <a:gd name="connsiteX44" fmla="*/ 1363848 w 1971297"/>
              <a:gd name="connsiteY44" fmla="*/ 1687117 h 1970826"/>
              <a:gd name="connsiteX45" fmla="*/ 1398945 w 1971297"/>
              <a:gd name="connsiteY45" fmla="*/ 1886133 h 1970826"/>
              <a:gd name="connsiteX46" fmla="*/ 1247240 w 1971297"/>
              <a:gd name="connsiteY46" fmla="*/ 1941349 h 1970826"/>
              <a:gd name="connsiteX47" fmla="*/ 1146202 w 1971297"/>
              <a:gd name="connsiteY47" fmla="*/ 1766334 h 1970826"/>
              <a:gd name="connsiteX48" fmla="*/ 1100680 w 1971297"/>
              <a:gd name="connsiteY48" fmla="*/ 1773318 h 1970826"/>
              <a:gd name="connsiteX49" fmla="*/ 1062288 w 1971297"/>
              <a:gd name="connsiteY49" fmla="*/ 1970826 h 1970826"/>
              <a:gd name="connsiteX50" fmla="*/ 902210 w 1971297"/>
              <a:gd name="connsiteY50" fmla="*/ 1969728 h 1970826"/>
              <a:gd name="connsiteX51" fmla="*/ 870884 w 1971297"/>
              <a:gd name="connsiteY51" fmla="*/ 1773359 h 1970826"/>
              <a:gd name="connsiteX52" fmla="*/ 825096 w 1971297"/>
              <a:gd name="connsiteY52" fmla="*/ 1766334 h 1970826"/>
              <a:gd name="connsiteX53" fmla="*/ 724057 w 1971297"/>
              <a:gd name="connsiteY53" fmla="*/ 1941349 h 1970826"/>
              <a:gd name="connsiteX54" fmla="*/ 572352 w 1971297"/>
              <a:gd name="connsiteY54" fmla="*/ 1886133 h 1970826"/>
              <a:gd name="connsiteX55" fmla="*/ 607450 w 1971297"/>
              <a:gd name="connsiteY55" fmla="*/ 1687117 h 1970826"/>
              <a:gd name="connsiteX56" fmla="*/ 571181 w 1971297"/>
              <a:gd name="connsiteY56" fmla="*/ 1662485 h 1970826"/>
              <a:gd name="connsiteX57" fmla="*/ 421150 w 1971297"/>
              <a:gd name="connsiteY57" fmla="*/ 1792613 h 1970826"/>
              <a:gd name="connsiteX58" fmla="*/ 297817 w 1971297"/>
              <a:gd name="connsiteY58" fmla="*/ 1690557 h 1970826"/>
              <a:gd name="connsiteX59" fmla="*/ 395006 w 1971297"/>
              <a:gd name="connsiteY59" fmla="*/ 1515223 h 1970826"/>
              <a:gd name="connsiteX60" fmla="*/ 361468 w 1971297"/>
              <a:gd name="connsiteY60" fmla="*/ 1480715 h 1970826"/>
              <a:gd name="connsiteX61" fmla="*/ 171570 w 1971297"/>
              <a:gd name="connsiteY61" fmla="*/ 1549837 h 1970826"/>
              <a:gd name="connsiteX62" fmla="*/ 90850 w 1971297"/>
              <a:gd name="connsiteY62" fmla="*/ 1410026 h 1970826"/>
              <a:gd name="connsiteX63" fmla="*/ 245661 w 1971297"/>
              <a:gd name="connsiteY63" fmla="*/ 1280131 h 1970826"/>
              <a:gd name="connsiteX64" fmla="*/ 233972 w 1971297"/>
              <a:gd name="connsiteY64" fmla="*/ 1245643 h 1970826"/>
              <a:gd name="connsiteX65" fmla="*/ 31451 w 1971297"/>
              <a:gd name="connsiteY65" fmla="*/ 1248953 h 1970826"/>
              <a:gd name="connsiteX66" fmla="*/ 2573 w 1971297"/>
              <a:gd name="connsiteY66" fmla="*/ 1091497 h 1970826"/>
              <a:gd name="connsiteX67" fmla="*/ 191133 w 1971297"/>
              <a:gd name="connsiteY67" fmla="*/ 1019115 h 1970826"/>
              <a:gd name="connsiteX68" fmla="*/ 189902 w 1971297"/>
              <a:gd name="connsiteY68" fmla="*/ 963904 h 1970826"/>
              <a:gd name="connsiteX69" fmla="*/ 0 w 1971297"/>
              <a:gd name="connsiteY69" fmla="*/ 894790 h 1970826"/>
              <a:gd name="connsiteX70" fmla="*/ 28034 w 1971297"/>
              <a:gd name="connsiteY70" fmla="*/ 735802 h 1970826"/>
              <a:gd name="connsiteX71" fmla="*/ 230121 w 1971297"/>
              <a:gd name="connsiteY71" fmla="*/ 735808 h 1970826"/>
              <a:gd name="connsiteX72" fmla="*/ 240919 w 1971297"/>
              <a:gd name="connsiteY72" fmla="*/ 708079 h 1970826"/>
              <a:gd name="connsiteX73" fmla="*/ 84936 w 1971297"/>
              <a:gd name="connsiteY73" fmla="*/ 585933 h 1970826"/>
              <a:gd name="connsiteX74" fmla="*/ 161584 w 1971297"/>
              <a:gd name="connsiteY74" fmla="*/ 445393 h 1970826"/>
              <a:gd name="connsiteX75" fmla="*/ 354366 w 1971297"/>
              <a:gd name="connsiteY75" fmla="*/ 508031 h 1970826"/>
              <a:gd name="connsiteX76" fmla="*/ 390674 w 1971297"/>
              <a:gd name="connsiteY76" fmla="*/ 457722 h 1970826"/>
              <a:gd name="connsiteX77" fmla="*/ 289626 w 1971297"/>
              <a:gd name="connsiteY77" fmla="*/ 282712 h 1970826"/>
              <a:gd name="connsiteX78" fmla="*/ 413297 w 1971297"/>
              <a:gd name="connsiteY78" fmla="*/ 178940 h 1970826"/>
              <a:gd name="connsiteX79" fmla="*/ 568101 w 1971297"/>
              <a:gd name="connsiteY79" fmla="*/ 308843 h 1970826"/>
              <a:gd name="connsiteX80" fmla="*/ 611018 w 1971297"/>
              <a:gd name="connsiteY80" fmla="*/ 285324 h 1970826"/>
              <a:gd name="connsiteX81" fmla="*/ 576674 w 1971297"/>
              <a:gd name="connsiteY81" fmla="*/ 89277 h 1970826"/>
              <a:gd name="connsiteX82" fmla="*/ 727674 w 1971297"/>
              <a:gd name="connsiteY82" fmla="*/ 36123 h 1970826"/>
              <a:gd name="connsiteX83" fmla="*/ 826689 w 1971297"/>
              <a:gd name="connsiteY83" fmla="*/ 207623 h 1970826"/>
              <a:gd name="connsiteX84" fmla="*/ 869841 w 1971297"/>
              <a:gd name="connsiteY84" fmla="*/ 199018 h 1970826"/>
              <a:gd name="connsiteX85" fmla="*/ 904928 w 1971297"/>
              <a:gd name="connsiteY85" fmla="*/ 0 h 1970826"/>
              <a:gd name="connsiteX0" fmla="*/ 198126 w 1971297"/>
              <a:gd name="connsiteY0" fmla="*/ 1096370 h 1970826"/>
              <a:gd name="connsiteX1" fmla="*/ 199057 w 1971297"/>
              <a:gd name="connsiteY1" fmla="*/ 1110557 h 1970826"/>
              <a:gd name="connsiteX2" fmla="*/ 198126 w 1971297"/>
              <a:gd name="connsiteY2" fmla="*/ 1096370 h 1970826"/>
              <a:gd name="connsiteX3" fmla="*/ 1658502 w 1971297"/>
              <a:gd name="connsiteY3" fmla="*/ 565633 h 1970826"/>
              <a:gd name="connsiteX4" fmla="*/ 1664864 w 1971297"/>
              <a:gd name="connsiteY4" fmla="*/ 574448 h 1970826"/>
              <a:gd name="connsiteX5" fmla="*/ 1664611 w 1971297"/>
              <a:gd name="connsiteY5" fmla="*/ 573966 h 1970826"/>
              <a:gd name="connsiteX6" fmla="*/ 1658502 w 1971297"/>
              <a:gd name="connsiteY6" fmla="*/ 565633 h 1970826"/>
              <a:gd name="connsiteX7" fmla="*/ 985649 w 1971297"/>
              <a:gd name="connsiteY7" fmla="*/ 323553 h 1970826"/>
              <a:gd name="connsiteX8" fmla="*/ 322581 w 1971297"/>
              <a:gd name="connsiteY8" fmla="*/ 986621 h 1970826"/>
              <a:gd name="connsiteX9" fmla="*/ 985649 w 1971297"/>
              <a:gd name="connsiteY9" fmla="*/ 1649689 h 1970826"/>
              <a:gd name="connsiteX10" fmla="*/ 1648717 w 1971297"/>
              <a:gd name="connsiteY10" fmla="*/ 986621 h 1970826"/>
              <a:gd name="connsiteX11" fmla="*/ 985649 w 1971297"/>
              <a:gd name="connsiteY11" fmla="*/ 323553 h 1970826"/>
              <a:gd name="connsiteX12" fmla="*/ 904928 w 1971297"/>
              <a:gd name="connsiteY12" fmla="*/ 0 h 1970826"/>
              <a:gd name="connsiteX13" fmla="*/ 1066369 w 1971297"/>
              <a:gd name="connsiteY13" fmla="*/ 0 h 1970826"/>
              <a:gd name="connsiteX14" fmla="*/ 1101456 w 1971297"/>
              <a:gd name="connsiteY14" fmla="*/ 199018 h 1970826"/>
              <a:gd name="connsiteX15" fmla="*/ 1149113 w 1971297"/>
              <a:gd name="connsiteY15" fmla="*/ 208521 h 1970826"/>
              <a:gd name="connsiteX16" fmla="*/ 1245734 w 1971297"/>
              <a:gd name="connsiteY16" fmla="*/ 36367 h 1970826"/>
              <a:gd name="connsiteX17" fmla="*/ 1396309 w 1971297"/>
              <a:gd name="connsiteY17" fmla="*/ 90716 h 1970826"/>
              <a:gd name="connsiteX18" fmla="*/ 1364293 w 1971297"/>
              <a:gd name="connsiteY18" fmla="*/ 287523 h 1970826"/>
              <a:gd name="connsiteX19" fmla="*/ 1403197 w 1971297"/>
              <a:gd name="connsiteY19" fmla="*/ 308843 h 1970826"/>
              <a:gd name="connsiteX20" fmla="*/ 1558001 w 1971297"/>
              <a:gd name="connsiteY20" fmla="*/ 178940 h 1970826"/>
              <a:gd name="connsiteX21" fmla="*/ 1681671 w 1971297"/>
              <a:gd name="connsiteY21" fmla="*/ 282712 h 1970826"/>
              <a:gd name="connsiteX22" fmla="*/ 1580623 w 1971297"/>
              <a:gd name="connsiteY22" fmla="*/ 457722 h 1970826"/>
              <a:gd name="connsiteX23" fmla="*/ 1610608 w 1971297"/>
              <a:gd name="connsiteY23" fmla="*/ 499270 h 1970826"/>
              <a:gd name="connsiteX24" fmla="*/ 1802874 w 1971297"/>
              <a:gd name="connsiteY24" fmla="*/ 433067 h 1970826"/>
              <a:gd name="connsiteX25" fmla="*/ 1881963 w 1971297"/>
              <a:gd name="connsiteY25" fmla="*/ 572248 h 1970826"/>
              <a:gd name="connsiteX26" fmla="*/ 1726590 w 1971297"/>
              <a:gd name="connsiteY26" fmla="*/ 698353 h 1970826"/>
              <a:gd name="connsiteX27" fmla="*/ 1741176 w 1971297"/>
              <a:gd name="connsiteY27" fmla="*/ 735808 h 1970826"/>
              <a:gd name="connsiteX28" fmla="*/ 1943264 w 1971297"/>
              <a:gd name="connsiteY28" fmla="*/ 735802 h 1970826"/>
              <a:gd name="connsiteX29" fmla="*/ 1971297 w 1971297"/>
              <a:gd name="connsiteY29" fmla="*/ 894790 h 1970826"/>
              <a:gd name="connsiteX30" fmla="*/ 1781396 w 1971297"/>
              <a:gd name="connsiteY30" fmla="*/ 963903 h 1970826"/>
              <a:gd name="connsiteX31" fmla="*/ 1780264 w 1971297"/>
              <a:gd name="connsiteY31" fmla="*/ 1014677 h 1970826"/>
              <a:gd name="connsiteX32" fmla="*/ 1969010 w 1971297"/>
              <a:gd name="connsiteY32" fmla="*/ 1087130 h 1970826"/>
              <a:gd name="connsiteX33" fmla="*/ 1940132 w 1971297"/>
              <a:gd name="connsiteY33" fmla="*/ 1244586 h 1970826"/>
              <a:gd name="connsiteX34" fmla="*/ 1738798 w 1971297"/>
              <a:gd name="connsiteY34" fmla="*/ 1241295 h 1970826"/>
              <a:gd name="connsiteX35" fmla="*/ 1725636 w 1971297"/>
              <a:gd name="connsiteY35" fmla="*/ 1280130 h 1970826"/>
              <a:gd name="connsiteX36" fmla="*/ 1880447 w 1971297"/>
              <a:gd name="connsiteY36" fmla="*/ 1410026 h 1970826"/>
              <a:gd name="connsiteX37" fmla="*/ 1799727 w 1971297"/>
              <a:gd name="connsiteY37" fmla="*/ 1549837 h 1970826"/>
              <a:gd name="connsiteX38" fmla="*/ 1609829 w 1971297"/>
              <a:gd name="connsiteY38" fmla="*/ 1480714 h 1970826"/>
              <a:gd name="connsiteX39" fmla="*/ 1579151 w 1971297"/>
              <a:gd name="connsiteY39" fmla="*/ 1512281 h 1970826"/>
              <a:gd name="connsiteX40" fmla="*/ 1677610 w 1971297"/>
              <a:gd name="connsiteY40" fmla="*/ 1689905 h 1970826"/>
              <a:gd name="connsiteX41" fmla="*/ 1554277 w 1971297"/>
              <a:gd name="connsiteY41" fmla="*/ 1791961 h 1970826"/>
              <a:gd name="connsiteX42" fmla="*/ 1402854 w 1971297"/>
              <a:gd name="connsiteY42" fmla="*/ 1660626 h 1970826"/>
              <a:gd name="connsiteX43" fmla="*/ 1363848 w 1971297"/>
              <a:gd name="connsiteY43" fmla="*/ 1687117 h 1970826"/>
              <a:gd name="connsiteX44" fmla="*/ 1398945 w 1971297"/>
              <a:gd name="connsiteY44" fmla="*/ 1886133 h 1970826"/>
              <a:gd name="connsiteX45" fmla="*/ 1247240 w 1971297"/>
              <a:gd name="connsiteY45" fmla="*/ 1941349 h 1970826"/>
              <a:gd name="connsiteX46" fmla="*/ 1146202 w 1971297"/>
              <a:gd name="connsiteY46" fmla="*/ 1766334 h 1970826"/>
              <a:gd name="connsiteX47" fmla="*/ 1100680 w 1971297"/>
              <a:gd name="connsiteY47" fmla="*/ 1773318 h 1970826"/>
              <a:gd name="connsiteX48" fmla="*/ 1062288 w 1971297"/>
              <a:gd name="connsiteY48" fmla="*/ 1970826 h 1970826"/>
              <a:gd name="connsiteX49" fmla="*/ 902210 w 1971297"/>
              <a:gd name="connsiteY49" fmla="*/ 1969728 h 1970826"/>
              <a:gd name="connsiteX50" fmla="*/ 870884 w 1971297"/>
              <a:gd name="connsiteY50" fmla="*/ 1773359 h 1970826"/>
              <a:gd name="connsiteX51" fmla="*/ 825096 w 1971297"/>
              <a:gd name="connsiteY51" fmla="*/ 1766334 h 1970826"/>
              <a:gd name="connsiteX52" fmla="*/ 724057 w 1971297"/>
              <a:gd name="connsiteY52" fmla="*/ 1941349 h 1970826"/>
              <a:gd name="connsiteX53" fmla="*/ 572352 w 1971297"/>
              <a:gd name="connsiteY53" fmla="*/ 1886133 h 1970826"/>
              <a:gd name="connsiteX54" fmla="*/ 607450 w 1971297"/>
              <a:gd name="connsiteY54" fmla="*/ 1687117 h 1970826"/>
              <a:gd name="connsiteX55" fmla="*/ 571181 w 1971297"/>
              <a:gd name="connsiteY55" fmla="*/ 1662485 h 1970826"/>
              <a:gd name="connsiteX56" fmla="*/ 421150 w 1971297"/>
              <a:gd name="connsiteY56" fmla="*/ 1792613 h 1970826"/>
              <a:gd name="connsiteX57" fmla="*/ 297817 w 1971297"/>
              <a:gd name="connsiteY57" fmla="*/ 1690557 h 1970826"/>
              <a:gd name="connsiteX58" fmla="*/ 395006 w 1971297"/>
              <a:gd name="connsiteY58" fmla="*/ 1515223 h 1970826"/>
              <a:gd name="connsiteX59" fmla="*/ 361468 w 1971297"/>
              <a:gd name="connsiteY59" fmla="*/ 1480715 h 1970826"/>
              <a:gd name="connsiteX60" fmla="*/ 171570 w 1971297"/>
              <a:gd name="connsiteY60" fmla="*/ 1549837 h 1970826"/>
              <a:gd name="connsiteX61" fmla="*/ 90850 w 1971297"/>
              <a:gd name="connsiteY61" fmla="*/ 1410026 h 1970826"/>
              <a:gd name="connsiteX62" fmla="*/ 245661 w 1971297"/>
              <a:gd name="connsiteY62" fmla="*/ 1280131 h 1970826"/>
              <a:gd name="connsiteX63" fmla="*/ 233972 w 1971297"/>
              <a:gd name="connsiteY63" fmla="*/ 1245643 h 1970826"/>
              <a:gd name="connsiteX64" fmla="*/ 31451 w 1971297"/>
              <a:gd name="connsiteY64" fmla="*/ 1248953 h 1970826"/>
              <a:gd name="connsiteX65" fmla="*/ 2573 w 1971297"/>
              <a:gd name="connsiteY65" fmla="*/ 1091497 h 1970826"/>
              <a:gd name="connsiteX66" fmla="*/ 191133 w 1971297"/>
              <a:gd name="connsiteY66" fmla="*/ 1019115 h 1970826"/>
              <a:gd name="connsiteX67" fmla="*/ 189902 w 1971297"/>
              <a:gd name="connsiteY67" fmla="*/ 963904 h 1970826"/>
              <a:gd name="connsiteX68" fmla="*/ 0 w 1971297"/>
              <a:gd name="connsiteY68" fmla="*/ 894790 h 1970826"/>
              <a:gd name="connsiteX69" fmla="*/ 28034 w 1971297"/>
              <a:gd name="connsiteY69" fmla="*/ 735802 h 1970826"/>
              <a:gd name="connsiteX70" fmla="*/ 230121 w 1971297"/>
              <a:gd name="connsiteY70" fmla="*/ 735808 h 1970826"/>
              <a:gd name="connsiteX71" fmla="*/ 240919 w 1971297"/>
              <a:gd name="connsiteY71" fmla="*/ 708079 h 1970826"/>
              <a:gd name="connsiteX72" fmla="*/ 84936 w 1971297"/>
              <a:gd name="connsiteY72" fmla="*/ 585933 h 1970826"/>
              <a:gd name="connsiteX73" fmla="*/ 161584 w 1971297"/>
              <a:gd name="connsiteY73" fmla="*/ 445393 h 1970826"/>
              <a:gd name="connsiteX74" fmla="*/ 354366 w 1971297"/>
              <a:gd name="connsiteY74" fmla="*/ 508031 h 1970826"/>
              <a:gd name="connsiteX75" fmla="*/ 390674 w 1971297"/>
              <a:gd name="connsiteY75" fmla="*/ 457722 h 1970826"/>
              <a:gd name="connsiteX76" fmla="*/ 289626 w 1971297"/>
              <a:gd name="connsiteY76" fmla="*/ 282712 h 1970826"/>
              <a:gd name="connsiteX77" fmla="*/ 413297 w 1971297"/>
              <a:gd name="connsiteY77" fmla="*/ 178940 h 1970826"/>
              <a:gd name="connsiteX78" fmla="*/ 568101 w 1971297"/>
              <a:gd name="connsiteY78" fmla="*/ 308843 h 1970826"/>
              <a:gd name="connsiteX79" fmla="*/ 611018 w 1971297"/>
              <a:gd name="connsiteY79" fmla="*/ 285324 h 1970826"/>
              <a:gd name="connsiteX80" fmla="*/ 576674 w 1971297"/>
              <a:gd name="connsiteY80" fmla="*/ 89277 h 1970826"/>
              <a:gd name="connsiteX81" fmla="*/ 727674 w 1971297"/>
              <a:gd name="connsiteY81" fmla="*/ 36123 h 1970826"/>
              <a:gd name="connsiteX82" fmla="*/ 826689 w 1971297"/>
              <a:gd name="connsiteY82" fmla="*/ 207623 h 1970826"/>
              <a:gd name="connsiteX83" fmla="*/ 869841 w 1971297"/>
              <a:gd name="connsiteY83" fmla="*/ 199018 h 1970826"/>
              <a:gd name="connsiteX84" fmla="*/ 904928 w 1971297"/>
              <a:gd name="connsiteY84" fmla="*/ 0 h 1970826"/>
              <a:gd name="connsiteX0" fmla="*/ 1658502 w 1971297"/>
              <a:gd name="connsiteY0" fmla="*/ 565633 h 1970826"/>
              <a:gd name="connsiteX1" fmla="*/ 1664864 w 1971297"/>
              <a:gd name="connsiteY1" fmla="*/ 574448 h 1970826"/>
              <a:gd name="connsiteX2" fmla="*/ 1664611 w 1971297"/>
              <a:gd name="connsiteY2" fmla="*/ 573966 h 1970826"/>
              <a:gd name="connsiteX3" fmla="*/ 1658502 w 1971297"/>
              <a:gd name="connsiteY3" fmla="*/ 565633 h 1970826"/>
              <a:gd name="connsiteX4" fmla="*/ 985649 w 1971297"/>
              <a:gd name="connsiteY4" fmla="*/ 323553 h 1970826"/>
              <a:gd name="connsiteX5" fmla="*/ 322581 w 1971297"/>
              <a:gd name="connsiteY5" fmla="*/ 986621 h 1970826"/>
              <a:gd name="connsiteX6" fmla="*/ 985649 w 1971297"/>
              <a:gd name="connsiteY6" fmla="*/ 1649689 h 1970826"/>
              <a:gd name="connsiteX7" fmla="*/ 1648717 w 1971297"/>
              <a:gd name="connsiteY7" fmla="*/ 986621 h 1970826"/>
              <a:gd name="connsiteX8" fmla="*/ 985649 w 1971297"/>
              <a:gd name="connsiteY8" fmla="*/ 323553 h 1970826"/>
              <a:gd name="connsiteX9" fmla="*/ 904928 w 1971297"/>
              <a:gd name="connsiteY9" fmla="*/ 0 h 1970826"/>
              <a:gd name="connsiteX10" fmla="*/ 1066369 w 1971297"/>
              <a:gd name="connsiteY10" fmla="*/ 0 h 1970826"/>
              <a:gd name="connsiteX11" fmla="*/ 1101456 w 1971297"/>
              <a:gd name="connsiteY11" fmla="*/ 199018 h 1970826"/>
              <a:gd name="connsiteX12" fmla="*/ 1149113 w 1971297"/>
              <a:gd name="connsiteY12" fmla="*/ 208521 h 1970826"/>
              <a:gd name="connsiteX13" fmla="*/ 1245734 w 1971297"/>
              <a:gd name="connsiteY13" fmla="*/ 36367 h 1970826"/>
              <a:gd name="connsiteX14" fmla="*/ 1396309 w 1971297"/>
              <a:gd name="connsiteY14" fmla="*/ 90716 h 1970826"/>
              <a:gd name="connsiteX15" fmla="*/ 1364293 w 1971297"/>
              <a:gd name="connsiteY15" fmla="*/ 287523 h 1970826"/>
              <a:gd name="connsiteX16" fmla="*/ 1403197 w 1971297"/>
              <a:gd name="connsiteY16" fmla="*/ 308843 h 1970826"/>
              <a:gd name="connsiteX17" fmla="*/ 1558001 w 1971297"/>
              <a:gd name="connsiteY17" fmla="*/ 178940 h 1970826"/>
              <a:gd name="connsiteX18" fmla="*/ 1681671 w 1971297"/>
              <a:gd name="connsiteY18" fmla="*/ 282712 h 1970826"/>
              <a:gd name="connsiteX19" fmla="*/ 1580623 w 1971297"/>
              <a:gd name="connsiteY19" fmla="*/ 457722 h 1970826"/>
              <a:gd name="connsiteX20" fmla="*/ 1610608 w 1971297"/>
              <a:gd name="connsiteY20" fmla="*/ 499270 h 1970826"/>
              <a:gd name="connsiteX21" fmla="*/ 1802874 w 1971297"/>
              <a:gd name="connsiteY21" fmla="*/ 433067 h 1970826"/>
              <a:gd name="connsiteX22" fmla="*/ 1881963 w 1971297"/>
              <a:gd name="connsiteY22" fmla="*/ 572248 h 1970826"/>
              <a:gd name="connsiteX23" fmla="*/ 1726590 w 1971297"/>
              <a:gd name="connsiteY23" fmla="*/ 698353 h 1970826"/>
              <a:gd name="connsiteX24" fmla="*/ 1741176 w 1971297"/>
              <a:gd name="connsiteY24" fmla="*/ 735808 h 1970826"/>
              <a:gd name="connsiteX25" fmla="*/ 1943264 w 1971297"/>
              <a:gd name="connsiteY25" fmla="*/ 735802 h 1970826"/>
              <a:gd name="connsiteX26" fmla="*/ 1971297 w 1971297"/>
              <a:gd name="connsiteY26" fmla="*/ 894790 h 1970826"/>
              <a:gd name="connsiteX27" fmla="*/ 1781396 w 1971297"/>
              <a:gd name="connsiteY27" fmla="*/ 963903 h 1970826"/>
              <a:gd name="connsiteX28" fmla="*/ 1780264 w 1971297"/>
              <a:gd name="connsiteY28" fmla="*/ 1014677 h 1970826"/>
              <a:gd name="connsiteX29" fmla="*/ 1969010 w 1971297"/>
              <a:gd name="connsiteY29" fmla="*/ 1087130 h 1970826"/>
              <a:gd name="connsiteX30" fmla="*/ 1940132 w 1971297"/>
              <a:gd name="connsiteY30" fmla="*/ 1244586 h 1970826"/>
              <a:gd name="connsiteX31" fmla="*/ 1738798 w 1971297"/>
              <a:gd name="connsiteY31" fmla="*/ 1241295 h 1970826"/>
              <a:gd name="connsiteX32" fmla="*/ 1725636 w 1971297"/>
              <a:gd name="connsiteY32" fmla="*/ 1280130 h 1970826"/>
              <a:gd name="connsiteX33" fmla="*/ 1880447 w 1971297"/>
              <a:gd name="connsiteY33" fmla="*/ 1410026 h 1970826"/>
              <a:gd name="connsiteX34" fmla="*/ 1799727 w 1971297"/>
              <a:gd name="connsiteY34" fmla="*/ 1549837 h 1970826"/>
              <a:gd name="connsiteX35" fmla="*/ 1609829 w 1971297"/>
              <a:gd name="connsiteY35" fmla="*/ 1480714 h 1970826"/>
              <a:gd name="connsiteX36" fmla="*/ 1579151 w 1971297"/>
              <a:gd name="connsiteY36" fmla="*/ 1512281 h 1970826"/>
              <a:gd name="connsiteX37" fmla="*/ 1677610 w 1971297"/>
              <a:gd name="connsiteY37" fmla="*/ 1689905 h 1970826"/>
              <a:gd name="connsiteX38" fmla="*/ 1554277 w 1971297"/>
              <a:gd name="connsiteY38" fmla="*/ 1791961 h 1970826"/>
              <a:gd name="connsiteX39" fmla="*/ 1402854 w 1971297"/>
              <a:gd name="connsiteY39" fmla="*/ 1660626 h 1970826"/>
              <a:gd name="connsiteX40" fmla="*/ 1363848 w 1971297"/>
              <a:gd name="connsiteY40" fmla="*/ 1687117 h 1970826"/>
              <a:gd name="connsiteX41" fmla="*/ 1398945 w 1971297"/>
              <a:gd name="connsiteY41" fmla="*/ 1886133 h 1970826"/>
              <a:gd name="connsiteX42" fmla="*/ 1247240 w 1971297"/>
              <a:gd name="connsiteY42" fmla="*/ 1941349 h 1970826"/>
              <a:gd name="connsiteX43" fmla="*/ 1146202 w 1971297"/>
              <a:gd name="connsiteY43" fmla="*/ 1766334 h 1970826"/>
              <a:gd name="connsiteX44" fmla="*/ 1100680 w 1971297"/>
              <a:gd name="connsiteY44" fmla="*/ 1773318 h 1970826"/>
              <a:gd name="connsiteX45" fmla="*/ 1062288 w 1971297"/>
              <a:gd name="connsiteY45" fmla="*/ 1970826 h 1970826"/>
              <a:gd name="connsiteX46" fmla="*/ 902210 w 1971297"/>
              <a:gd name="connsiteY46" fmla="*/ 1969728 h 1970826"/>
              <a:gd name="connsiteX47" fmla="*/ 870884 w 1971297"/>
              <a:gd name="connsiteY47" fmla="*/ 1773359 h 1970826"/>
              <a:gd name="connsiteX48" fmla="*/ 825096 w 1971297"/>
              <a:gd name="connsiteY48" fmla="*/ 1766334 h 1970826"/>
              <a:gd name="connsiteX49" fmla="*/ 724057 w 1971297"/>
              <a:gd name="connsiteY49" fmla="*/ 1941349 h 1970826"/>
              <a:gd name="connsiteX50" fmla="*/ 572352 w 1971297"/>
              <a:gd name="connsiteY50" fmla="*/ 1886133 h 1970826"/>
              <a:gd name="connsiteX51" fmla="*/ 607450 w 1971297"/>
              <a:gd name="connsiteY51" fmla="*/ 1687117 h 1970826"/>
              <a:gd name="connsiteX52" fmla="*/ 571181 w 1971297"/>
              <a:gd name="connsiteY52" fmla="*/ 1662485 h 1970826"/>
              <a:gd name="connsiteX53" fmla="*/ 421150 w 1971297"/>
              <a:gd name="connsiteY53" fmla="*/ 1792613 h 1970826"/>
              <a:gd name="connsiteX54" fmla="*/ 297817 w 1971297"/>
              <a:gd name="connsiteY54" fmla="*/ 1690557 h 1970826"/>
              <a:gd name="connsiteX55" fmla="*/ 395006 w 1971297"/>
              <a:gd name="connsiteY55" fmla="*/ 1515223 h 1970826"/>
              <a:gd name="connsiteX56" fmla="*/ 361468 w 1971297"/>
              <a:gd name="connsiteY56" fmla="*/ 1480715 h 1970826"/>
              <a:gd name="connsiteX57" fmla="*/ 171570 w 1971297"/>
              <a:gd name="connsiteY57" fmla="*/ 1549837 h 1970826"/>
              <a:gd name="connsiteX58" fmla="*/ 90850 w 1971297"/>
              <a:gd name="connsiteY58" fmla="*/ 1410026 h 1970826"/>
              <a:gd name="connsiteX59" fmla="*/ 245661 w 1971297"/>
              <a:gd name="connsiteY59" fmla="*/ 1280131 h 1970826"/>
              <a:gd name="connsiteX60" fmla="*/ 233972 w 1971297"/>
              <a:gd name="connsiteY60" fmla="*/ 1245643 h 1970826"/>
              <a:gd name="connsiteX61" fmla="*/ 31451 w 1971297"/>
              <a:gd name="connsiteY61" fmla="*/ 1248953 h 1970826"/>
              <a:gd name="connsiteX62" fmla="*/ 2573 w 1971297"/>
              <a:gd name="connsiteY62" fmla="*/ 1091497 h 1970826"/>
              <a:gd name="connsiteX63" fmla="*/ 191133 w 1971297"/>
              <a:gd name="connsiteY63" fmla="*/ 1019115 h 1970826"/>
              <a:gd name="connsiteX64" fmla="*/ 189902 w 1971297"/>
              <a:gd name="connsiteY64" fmla="*/ 963904 h 1970826"/>
              <a:gd name="connsiteX65" fmla="*/ 0 w 1971297"/>
              <a:gd name="connsiteY65" fmla="*/ 894790 h 1970826"/>
              <a:gd name="connsiteX66" fmla="*/ 28034 w 1971297"/>
              <a:gd name="connsiteY66" fmla="*/ 735802 h 1970826"/>
              <a:gd name="connsiteX67" fmla="*/ 230121 w 1971297"/>
              <a:gd name="connsiteY67" fmla="*/ 735808 h 1970826"/>
              <a:gd name="connsiteX68" fmla="*/ 240919 w 1971297"/>
              <a:gd name="connsiteY68" fmla="*/ 708079 h 1970826"/>
              <a:gd name="connsiteX69" fmla="*/ 84936 w 1971297"/>
              <a:gd name="connsiteY69" fmla="*/ 585933 h 1970826"/>
              <a:gd name="connsiteX70" fmla="*/ 161584 w 1971297"/>
              <a:gd name="connsiteY70" fmla="*/ 445393 h 1970826"/>
              <a:gd name="connsiteX71" fmla="*/ 354366 w 1971297"/>
              <a:gd name="connsiteY71" fmla="*/ 508031 h 1970826"/>
              <a:gd name="connsiteX72" fmla="*/ 390674 w 1971297"/>
              <a:gd name="connsiteY72" fmla="*/ 457722 h 1970826"/>
              <a:gd name="connsiteX73" fmla="*/ 289626 w 1971297"/>
              <a:gd name="connsiteY73" fmla="*/ 282712 h 1970826"/>
              <a:gd name="connsiteX74" fmla="*/ 413297 w 1971297"/>
              <a:gd name="connsiteY74" fmla="*/ 178940 h 1970826"/>
              <a:gd name="connsiteX75" fmla="*/ 568101 w 1971297"/>
              <a:gd name="connsiteY75" fmla="*/ 308843 h 1970826"/>
              <a:gd name="connsiteX76" fmla="*/ 611018 w 1971297"/>
              <a:gd name="connsiteY76" fmla="*/ 285324 h 1970826"/>
              <a:gd name="connsiteX77" fmla="*/ 576674 w 1971297"/>
              <a:gd name="connsiteY77" fmla="*/ 89277 h 1970826"/>
              <a:gd name="connsiteX78" fmla="*/ 727674 w 1971297"/>
              <a:gd name="connsiteY78" fmla="*/ 36123 h 1970826"/>
              <a:gd name="connsiteX79" fmla="*/ 826689 w 1971297"/>
              <a:gd name="connsiteY79" fmla="*/ 207623 h 1970826"/>
              <a:gd name="connsiteX80" fmla="*/ 869841 w 1971297"/>
              <a:gd name="connsiteY80" fmla="*/ 199018 h 1970826"/>
              <a:gd name="connsiteX81" fmla="*/ 904928 w 1971297"/>
              <a:gd name="connsiteY81" fmla="*/ 0 h 1970826"/>
              <a:gd name="connsiteX0" fmla="*/ 1664611 w 1971297"/>
              <a:gd name="connsiteY0" fmla="*/ 573966 h 1970826"/>
              <a:gd name="connsiteX1" fmla="*/ 1664864 w 1971297"/>
              <a:gd name="connsiteY1" fmla="*/ 574448 h 1970826"/>
              <a:gd name="connsiteX2" fmla="*/ 1664611 w 1971297"/>
              <a:gd name="connsiteY2" fmla="*/ 573966 h 1970826"/>
              <a:gd name="connsiteX3" fmla="*/ 985649 w 1971297"/>
              <a:gd name="connsiteY3" fmla="*/ 323553 h 1970826"/>
              <a:gd name="connsiteX4" fmla="*/ 322581 w 1971297"/>
              <a:gd name="connsiteY4" fmla="*/ 986621 h 1970826"/>
              <a:gd name="connsiteX5" fmla="*/ 985649 w 1971297"/>
              <a:gd name="connsiteY5" fmla="*/ 1649689 h 1970826"/>
              <a:gd name="connsiteX6" fmla="*/ 1648717 w 1971297"/>
              <a:gd name="connsiteY6" fmla="*/ 986621 h 1970826"/>
              <a:gd name="connsiteX7" fmla="*/ 985649 w 1971297"/>
              <a:gd name="connsiteY7" fmla="*/ 323553 h 1970826"/>
              <a:gd name="connsiteX8" fmla="*/ 904928 w 1971297"/>
              <a:gd name="connsiteY8" fmla="*/ 0 h 1970826"/>
              <a:gd name="connsiteX9" fmla="*/ 1066369 w 1971297"/>
              <a:gd name="connsiteY9" fmla="*/ 0 h 1970826"/>
              <a:gd name="connsiteX10" fmla="*/ 1101456 w 1971297"/>
              <a:gd name="connsiteY10" fmla="*/ 199018 h 1970826"/>
              <a:gd name="connsiteX11" fmla="*/ 1149113 w 1971297"/>
              <a:gd name="connsiteY11" fmla="*/ 208521 h 1970826"/>
              <a:gd name="connsiteX12" fmla="*/ 1245734 w 1971297"/>
              <a:gd name="connsiteY12" fmla="*/ 36367 h 1970826"/>
              <a:gd name="connsiteX13" fmla="*/ 1396309 w 1971297"/>
              <a:gd name="connsiteY13" fmla="*/ 90716 h 1970826"/>
              <a:gd name="connsiteX14" fmla="*/ 1364293 w 1971297"/>
              <a:gd name="connsiteY14" fmla="*/ 287523 h 1970826"/>
              <a:gd name="connsiteX15" fmla="*/ 1403197 w 1971297"/>
              <a:gd name="connsiteY15" fmla="*/ 308843 h 1970826"/>
              <a:gd name="connsiteX16" fmla="*/ 1558001 w 1971297"/>
              <a:gd name="connsiteY16" fmla="*/ 178940 h 1970826"/>
              <a:gd name="connsiteX17" fmla="*/ 1681671 w 1971297"/>
              <a:gd name="connsiteY17" fmla="*/ 282712 h 1970826"/>
              <a:gd name="connsiteX18" fmla="*/ 1580623 w 1971297"/>
              <a:gd name="connsiteY18" fmla="*/ 457722 h 1970826"/>
              <a:gd name="connsiteX19" fmla="*/ 1610608 w 1971297"/>
              <a:gd name="connsiteY19" fmla="*/ 499270 h 1970826"/>
              <a:gd name="connsiteX20" fmla="*/ 1802874 w 1971297"/>
              <a:gd name="connsiteY20" fmla="*/ 433067 h 1970826"/>
              <a:gd name="connsiteX21" fmla="*/ 1881963 w 1971297"/>
              <a:gd name="connsiteY21" fmla="*/ 572248 h 1970826"/>
              <a:gd name="connsiteX22" fmla="*/ 1726590 w 1971297"/>
              <a:gd name="connsiteY22" fmla="*/ 698353 h 1970826"/>
              <a:gd name="connsiteX23" fmla="*/ 1741176 w 1971297"/>
              <a:gd name="connsiteY23" fmla="*/ 735808 h 1970826"/>
              <a:gd name="connsiteX24" fmla="*/ 1943264 w 1971297"/>
              <a:gd name="connsiteY24" fmla="*/ 735802 h 1970826"/>
              <a:gd name="connsiteX25" fmla="*/ 1971297 w 1971297"/>
              <a:gd name="connsiteY25" fmla="*/ 894790 h 1970826"/>
              <a:gd name="connsiteX26" fmla="*/ 1781396 w 1971297"/>
              <a:gd name="connsiteY26" fmla="*/ 963903 h 1970826"/>
              <a:gd name="connsiteX27" fmla="*/ 1780264 w 1971297"/>
              <a:gd name="connsiteY27" fmla="*/ 1014677 h 1970826"/>
              <a:gd name="connsiteX28" fmla="*/ 1969010 w 1971297"/>
              <a:gd name="connsiteY28" fmla="*/ 1087130 h 1970826"/>
              <a:gd name="connsiteX29" fmla="*/ 1940132 w 1971297"/>
              <a:gd name="connsiteY29" fmla="*/ 1244586 h 1970826"/>
              <a:gd name="connsiteX30" fmla="*/ 1738798 w 1971297"/>
              <a:gd name="connsiteY30" fmla="*/ 1241295 h 1970826"/>
              <a:gd name="connsiteX31" fmla="*/ 1725636 w 1971297"/>
              <a:gd name="connsiteY31" fmla="*/ 1280130 h 1970826"/>
              <a:gd name="connsiteX32" fmla="*/ 1880447 w 1971297"/>
              <a:gd name="connsiteY32" fmla="*/ 1410026 h 1970826"/>
              <a:gd name="connsiteX33" fmla="*/ 1799727 w 1971297"/>
              <a:gd name="connsiteY33" fmla="*/ 1549837 h 1970826"/>
              <a:gd name="connsiteX34" fmla="*/ 1609829 w 1971297"/>
              <a:gd name="connsiteY34" fmla="*/ 1480714 h 1970826"/>
              <a:gd name="connsiteX35" fmla="*/ 1579151 w 1971297"/>
              <a:gd name="connsiteY35" fmla="*/ 1512281 h 1970826"/>
              <a:gd name="connsiteX36" fmla="*/ 1677610 w 1971297"/>
              <a:gd name="connsiteY36" fmla="*/ 1689905 h 1970826"/>
              <a:gd name="connsiteX37" fmla="*/ 1554277 w 1971297"/>
              <a:gd name="connsiteY37" fmla="*/ 1791961 h 1970826"/>
              <a:gd name="connsiteX38" fmla="*/ 1402854 w 1971297"/>
              <a:gd name="connsiteY38" fmla="*/ 1660626 h 1970826"/>
              <a:gd name="connsiteX39" fmla="*/ 1363848 w 1971297"/>
              <a:gd name="connsiteY39" fmla="*/ 1687117 h 1970826"/>
              <a:gd name="connsiteX40" fmla="*/ 1398945 w 1971297"/>
              <a:gd name="connsiteY40" fmla="*/ 1886133 h 1970826"/>
              <a:gd name="connsiteX41" fmla="*/ 1247240 w 1971297"/>
              <a:gd name="connsiteY41" fmla="*/ 1941349 h 1970826"/>
              <a:gd name="connsiteX42" fmla="*/ 1146202 w 1971297"/>
              <a:gd name="connsiteY42" fmla="*/ 1766334 h 1970826"/>
              <a:gd name="connsiteX43" fmla="*/ 1100680 w 1971297"/>
              <a:gd name="connsiteY43" fmla="*/ 1773318 h 1970826"/>
              <a:gd name="connsiteX44" fmla="*/ 1062288 w 1971297"/>
              <a:gd name="connsiteY44" fmla="*/ 1970826 h 1970826"/>
              <a:gd name="connsiteX45" fmla="*/ 902210 w 1971297"/>
              <a:gd name="connsiteY45" fmla="*/ 1969728 h 1970826"/>
              <a:gd name="connsiteX46" fmla="*/ 870884 w 1971297"/>
              <a:gd name="connsiteY46" fmla="*/ 1773359 h 1970826"/>
              <a:gd name="connsiteX47" fmla="*/ 825096 w 1971297"/>
              <a:gd name="connsiteY47" fmla="*/ 1766334 h 1970826"/>
              <a:gd name="connsiteX48" fmla="*/ 724057 w 1971297"/>
              <a:gd name="connsiteY48" fmla="*/ 1941349 h 1970826"/>
              <a:gd name="connsiteX49" fmla="*/ 572352 w 1971297"/>
              <a:gd name="connsiteY49" fmla="*/ 1886133 h 1970826"/>
              <a:gd name="connsiteX50" fmla="*/ 607450 w 1971297"/>
              <a:gd name="connsiteY50" fmla="*/ 1687117 h 1970826"/>
              <a:gd name="connsiteX51" fmla="*/ 571181 w 1971297"/>
              <a:gd name="connsiteY51" fmla="*/ 1662485 h 1970826"/>
              <a:gd name="connsiteX52" fmla="*/ 421150 w 1971297"/>
              <a:gd name="connsiteY52" fmla="*/ 1792613 h 1970826"/>
              <a:gd name="connsiteX53" fmla="*/ 297817 w 1971297"/>
              <a:gd name="connsiteY53" fmla="*/ 1690557 h 1970826"/>
              <a:gd name="connsiteX54" fmla="*/ 395006 w 1971297"/>
              <a:gd name="connsiteY54" fmla="*/ 1515223 h 1970826"/>
              <a:gd name="connsiteX55" fmla="*/ 361468 w 1971297"/>
              <a:gd name="connsiteY55" fmla="*/ 1480715 h 1970826"/>
              <a:gd name="connsiteX56" fmla="*/ 171570 w 1971297"/>
              <a:gd name="connsiteY56" fmla="*/ 1549837 h 1970826"/>
              <a:gd name="connsiteX57" fmla="*/ 90850 w 1971297"/>
              <a:gd name="connsiteY57" fmla="*/ 1410026 h 1970826"/>
              <a:gd name="connsiteX58" fmla="*/ 245661 w 1971297"/>
              <a:gd name="connsiteY58" fmla="*/ 1280131 h 1970826"/>
              <a:gd name="connsiteX59" fmla="*/ 233972 w 1971297"/>
              <a:gd name="connsiteY59" fmla="*/ 1245643 h 1970826"/>
              <a:gd name="connsiteX60" fmla="*/ 31451 w 1971297"/>
              <a:gd name="connsiteY60" fmla="*/ 1248953 h 1970826"/>
              <a:gd name="connsiteX61" fmla="*/ 2573 w 1971297"/>
              <a:gd name="connsiteY61" fmla="*/ 1091497 h 1970826"/>
              <a:gd name="connsiteX62" fmla="*/ 191133 w 1971297"/>
              <a:gd name="connsiteY62" fmla="*/ 1019115 h 1970826"/>
              <a:gd name="connsiteX63" fmla="*/ 189902 w 1971297"/>
              <a:gd name="connsiteY63" fmla="*/ 963904 h 1970826"/>
              <a:gd name="connsiteX64" fmla="*/ 0 w 1971297"/>
              <a:gd name="connsiteY64" fmla="*/ 894790 h 1970826"/>
              <a:gd name="connsiteX65" fmla="*/ 28034 w 1971297"/>
              <a:gd name="connsiteY65" fmla="*/ 735802 h 1970826"/>
              <a:gd name="connsiteX66" fmla="*/ 230121 w 1971297"/>
              <a:gd name="connsiteY66" fmla="*/ 735808 h 1970826"/>
              <a:gd name="connsiteX67" fmla="*/ 240919 w 1971297"/>
              <a:gd name="connsiteY67" fmla="*/ 708079 h 1970826"/>
              <a:gd name="connsiteX68" fmla="*/ 84936 w 1971297"/>
              <a:gd name="connsiteY68" fmla="*/ 585933 h 1970826"/>
              <a:gd name="connsiteX69" fmla="*/ 161584 w 1971297"/>
              <a:gd name="connsiteY69" fmla="*/ 445393 h 1970826"/>
              <a:gd name="connsiteX70" fmla="*/ 354366 w 1971297"/>
              <a:gd name="connsiteY70" fmla="*/ 508031 h 1970826"/>
              <a:gd name="connsiteX71" fmla="*/ 390674 w 1971297"/>
              <a:gd name="connsiteY71" fmla="*/ 457722 h 1970826"/>
              <a:gd name="connsiteX72" fmla="*/ 289626 w 1971297"/>
              <a:gd name="connsiteY72" fmla="*/ 282712 h 1970826"/>
              <a:gd name="connsiteX73" fmla="*/ 413297 w 1971297"/>
              <a:gd name="connsiteY73" fmla="*/ 178940 h 1970826"/>
              <a:gd name="connsiteX74" fmla="*/ 568101 w 1971297"/>
              <a:gd name="connsiteY74" fmla="*/ 308843 h 1970826"/>
              <a:gd name="connsiteX75" fmla="*/ 611018 w 1971297"/>
              <a:gd name="connsiteY75" fmla="*/ 285324 h 1970826"/>
              <a:gd name="connsiteX76" fmla="*/ 576674 w 1971297"/>
              <a:gd name="connsiteY76" fmla="*/ 89277 h 1970826"/>
              <a:gd name="connsiteX77" fmla="*/ 727674 w 1971297"/>
              <a:gd name="connsiteY77" fmla="*/ 36123 h 1970826"/>
              <a:gd name="connsiteX78" fmla="*/ 826689 w 1971297"/>
              <a:gd name="connsiteY78" fmla="*/ 207623 h 1970826"/>
              <a:gd name="connsiteX79" fmla="*/ 869841 w 1971297"/>
              <a:gd name="connsiteY79" fmla="*/ 199018 h 1970826"/>
              <a:gd name="connsiteX80" fmla="*/ 904928 w 1971297"/>
              <a:gd name="connsiteY80"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1648717 w 1971297"/>
              <a:gd name="connsiteY3" fmla="*/ 986621 h 1970826"/>
              <a:gd name="connsiteX4" fmla="*/ 985649 w 1971297"/>
              <a:gd name="connsiteY4" fmla="*/ 323553 h 1970826"/>
              <a:gd name="connsiteX5" fmla="*/ 904928 w 1971297"/>
              <a:gd name="connsiteY5" fmla="*/ 0 h 1970826"/>
              <a:gd name="connsiteX6" fmla="*/ 1066369 w 1971297"/>
              <a:gd name="connsiteY6" fmla="*/ 0 h 1970826"/>
              <a:gd name="connsiteX7" fmla="*/ 1101456 w 1971297"/>
              <a:gd name="connsiteY7" fmla="*/ 199018 h 1970826"/>
              <a:gd name="connsiteX8" fmla="*/ 1149113 w 1971297"/>
              <a:gd name="connsiteY8" fmla="*/ 208521 h 1970826"/>
              <a:gd name="connsiteX9" fmla="*/ 1245734 w 1971297"/>
              <a:gd name="connsiteY9" fmla="*/ 36367 h 1970826"/>
              <a:gd name="connsiteX10" fmla="*/ 1396309 w 1971297"/>
              <a:gd name="connsiteY10" fmla="*/ 90716 h 1970826"/>
              <a:gd name="connsiteX11" fmla="*/ 1364293 w 1971297"/>
              <a:gd name="connsiteY11" fmla="*/ 287523 h 1970826"/>
              <a:gd name="connsiteX12" fmla="*/ 1403197 w 1971297"/>
              <a:gd name="connsiteY12" fmla="*/ 308843 h 1970826"/>
              <a:gd name="connsiteX13" fmla="*/ 1558001 w 1971297"/>
              <a:gd name="connsiteY13" fmla="*/ 178940 h 1970826"/>
              <a:gd name="connsiteX14" fmla="*/ 1681671 w 1971297"/>
              <a:gd name="connsiteY14" fmla="*/ 282712 h 1970826"/>
              <a:gd name="connsiteX15" fmla="*/ 1580623 w 1971297"/>
              <a:gd name="connsiteY15" fmla="*/ 457722 h 1970826"/>
              <a:gd name="connsiteX16" fmla="*/ 1610608 w 1971297"/>
              <a:gd name="connsiteY16" fmla="*/ 499270 h 1970826"/>
              <a:gd name="connsiteX17" fmla="*/ 1802874 w 1971297"/>
              <a:gd name="connsiteY17" fmla="*/ 433067 h 1970826"/>
              <a:gd name="connsiteX18" fmla="*/ 1881963 w 1971297"/>
              <a:gd name="connsiteY18" fmla="*/ 572248 h 1970826"/>
              <a:gd name="connsiteX19" fmla="*/ 1726590 w 1971297"/>
              <a:gd name="connsiteY19" fmla="*/ 698353 h 1970826"/>
              <a:gd name="connsiteX20" fmla="*/ 1741176 w 1971297"/>
              <a:gd name="connsiteY20" fmla="*/ 735808 h 1970826"/>
              <a:gd name="connsiteX21" fmla="*/ 1943264 w 1971297"/>
              <a:gd name="connsiteY21" fmla="*/ 735802 h 1970826"/>
              <a:gd name="connsiteX22" fmla="*/ 1971297 w 1971297"/>
              <a:gd name="connsiteY22" fmla="*/ 894790 h 1970826"/>
              <a:gd name="connsiteX23" fmla="*/ 1781396 w 1971297"/>
              <a:gd name="connsiteY23" fmla="*/ 963903 h 1970826"/>
              <a:gd name="connsiteX24" fmla="*/ 1780264 w 1971297"/>
              <a:gd name="connsiteY24" fmla="*/ 1014677 h 1970826"/>
              <a:gd name="connsiteX25" fmla="*/ 1969010 w 1971297"/>
              <a:gd name="connsiteY25" fmla="*/ 1087130 h 1970826"/>
              <a:gd name="connsiteX26" fmla="*/ 1940132 w 1971297"/>
              <a:gd name="connsiteY26" fmla="*/ 1244586 h 1970826"/>
              <a:gd name="connsiteX27" fmla="*/ 1738798 w 1971297"/>
              <a:gd name="connsiteY27" fmla="*/ 1241295 h 1970826"/>
              <a:gd name="connsiteX28" fmla="*/ 1725636 w 1971297"/>
              <a:gd name="connsiteY28" fmla="*/ 1280130 h 1970826"/>
              <a:gd name="connsiteX29" fmla="*/ 1880447 w 1971297"/>
              <a:gd name="connsiteY29" fmla="*/ 1410026 h 1970826"/>
              <a:gd name="connsiteX30" fmla="*/ 1799727 w 1971297"/>
              <a:gd name="connsiteY30" fmla="*/ 1549837 h 1970826"/>
              <a:gd name="connsiteX31" fmla="*/ 1609829 w 1971297"/>
              <a:gd name="connsiteY31" fmla="*/ 1480714 h 1970826"/>
              <a:gd name="connsiteX32" fmla="*/ 1579151 w 1971297"/>
              <a:gd name="connsiteY32" fmla="*/ 1512281 h 1970826"/>
              <a:gd name="connsiteX33" fmla="*/ 1677610 w 1971297"/>
              <a:gd name="connsiteY33" fmla="*/ 1689905 h 1970826"/>
              <a:gd name="connsiteX34" fmla="*/ 1554277 w 1971297"/>
              <a:gd name="connsiteY34" fmla="*/ 1791961 h 1970826"/>
              <a:gd name="connsiteX35" fmla="*/ 1402854 w 1971297"/>
              <a:gd name="connsiteY35" fmla="*/ 1660626 h 1970826"/>
              <a:gd name="connsiteX36" fmla="*/ 1363848 w 1971297"/>
              <a:gd name="connsiteY36" fmla="*/ 1687117 h 1970826"/>
              <a:gd name="connsiteX37" fmla="*/ 1398945 w 1971297"/>
              <a:gd name="connsiteY37" fmla="*/ 1886133 h 1970826"/>
              <a:gd name="connsiteX38" fmla="*/ 1247240 w 1971297"/>
              <a:gd name="connsiteY38" fmla="*/ 1941349 h 1970826"/>
              <a:gd name="connsiteX39" fmla="*/ 1146202 w 1971297"/>
              <a:gd name="connsiteY39" fmla="*/ 1766334 h 1970826"/>
              <a:gd name="connsiteX40" fmla="*/ 1100680 w 1971297"/>
              <a:gd name="connsiteY40" fmla="*/ 1773318 h 1970826"/>
              <a:gd name="connsiteX41" fmla="*/ 1062288 w 1971297"/>
              <a:gd name="connsiteY41" fmla="*/ 1970826 h 1970826"/>
              <a:gd name="connsiteX42" fmla="*/ 902210 w 1971297"/>
              <a:gd name="connsiteY42" fmla="*/ 1969728 h 1970826"/>
              <a:gd name="connsiteX43" fmla="*/ 870884 w 1971297"/>
              <a:gd name="connsiteY43" fmla="*/ 1773359 h 1970826"/>
              <a:gd name="connsiteX44" fmla="*/ 825096 w 1971297"/>
              <a:gd name="connsiteY44" fmla="*/ 1766334 h 1970826"/>
              <a:gd name="connsiteX45" fmla="*/ 724057 w 1971297"/>
              <a:gd name="connsiteY45" fmla="*/ 1941349 h 1970826"/>
              <a:gd name="connsiteX46" fmla="*/ 572352 w 1971297"/>
              <a:gd name="connsiteY46" fmla="*/ 1886133 h 1970826"/>
              <a:gd name="connsiteX47" fmla="*/ 607450 w 1971297"/>
              <a:gd name="connsiteY47" fmla="*/ 1687117 h 1970826"/>
              <a:gd name="connsiteX48" fmla="*/ 571181 w 1971297"/>
              <a:gd name="connsiteY48" fmla="*/ 1662485 h 1970826"/>
              <a:gd name="connsiteX49" fmla="*/ 421150 w 1971297"/>
              <a:gd name="connsiteY49" fmla="*/ 1792613 h 1970826"/>
              <a:gd name="connsiteX50" fmla="*/ 297817 w 1971297"/>
              <a:gd name="connsiteY50" fmla="*/ 1690557 h 1970826"/>
              <a:gd name="connsiteX51" fmla="*/ 395006 w 1971297"/>
              <a:gd name="connsiteY51" fmla="*/ 1515223 h 1970826"/>
              <a:gd name="connsiteX52" fmla="*/ 361468 w 1971297"/>
              <a:gd name="connsiteY52" fmla="*/ 1480715 h 1970826"/>
              <a:gd name="connsiteX53" fmla="*/ 171570 w 1971297"/>
              <a:gd name="connsiteY53" fmla="*/ 1549837 h 1970826"/>
              <a:gd name="connsiteX54" fmla="*/ 90850 w 1971297"/>
              <a:gd name="connsiteY54" fmla="*/ 1410026 h 1970826"/>
              <a:gd name="connsiteX55" fmla="*/ 245661 w 1971297"/>
              <a:gd name="connsiteY55" fmla="*/ 1280131 h 1970826"/>
              <a:gd name="connsiteX56" fmla="*/ 233972 w 1971297"/>
              <a:gd name="connsiteY56" fmla="*/ 1245643 h 1970826"/>
              <a:gd name="connsiteX57" fmla="*/ 31451 w 1971297"/>
              <a:gd name="connsiteY57" fmla="*/ 1248953 h 1970826"/>
              <a:gd name="connsiteX58" fmla="*/ 2573 w 1971297"/>
              <a:gd name="connsiteY58" fmla="*/ 1091497 h 1970826"/>
              <a:gd name="connsiteX59" fmla="*/ 191133 w 1971297"/>
              <a:gd name="connsiteY59" fmla="*/ 1019115 h 1970826"/>
              <a:gd name="connsiteX60" fmla="*/ 189902 w 1971297"/>
              <a:gd name="connsiteY60" fmla="*/ 963904 h 1970826"/>
              <a:gd name="connsiteX61" fmla="*/ 0 w 1971297"/>
              <a:gd name="connsiteY61" fmla="*/ 894790 h 1970826"/>
              <a:gd name="connsiteX62" fmla="*/ 28034 w 1971297"/>
              <a:gd name="connsiteY62" fmla="*/ 735802 h 1970826"/>
              <a:gd name="connsiteX63" fmla="*/ 230121 w 1971297"/>
              <a:gd name="connsiteY63" fmla="*/ 735808 h 1970826"/>
              <a:gd name="connsiteX64" fmla="*/ 240919 w 1971297"/>
              <a:gd name="connsiteY64" fmla="*/ 708079 h 1970826"/>
              <a:gd name="connsiteX65" fmla="*/ 84936 w 1971297"/>
              <a:gd name="connsiteY65" fmla="*/ 585933 h 1970826"/>
              <a:gd name="connsiteX66" fmla="*/ 161584 w 1971297"/>
              <a:gd name="connsiteY66" fmla="*/ 445393 h 1970826"/>
              <a:gd name="connsiteX67" fmla="*/ 354366 w 1971297"/>
              <a:gd name="connsiteY67" fmla="*/ 508031 h 1970826"/>
              <a:gd name="connsiteX68" fmla="*/ 390674 w 1971297"/>
              <a:gd name="connsiteY68" fmla="*/ 457722 h 1970826"/>
              <a:gd name="connsiteX69" fmla="*/ 289626 w 1971297"/>
              <a:gd name="connsiteY69" fmla="*/ 282712 h 1970826"/>
              <a:gd name="connsiteX70" fmla="*/ 413297 w 1971297"/>
              <a:gd name="connsiteY70" fmla="*/ 178940 h 1970826"/>
              <a:gd name="connsiteX71" fmla="*/ 568101 w 1971297"/>
              <a:gd name="connsiteY71" fmla="*/ 308843 h 1970826"/>
              <a:gd name="connsiteX72" fmla="*/ 611018 w 1971297"/>
              <a:gd name="connsiteY72" fmla="*/ 285324 h 1970826"/>
              <a:gd name="connsiteX73" fmla="*/ 576674 w 1971297"/>
              <a:gd name="connsiteY73" fmla="*/ 89277 h 1970826"/>
              <a:gd name="connsiteX74" fmla="*/ 727674 w 1971297"/>
              <a:gd name="connsiteY74" fmla="*/ 36123 h 1970826"/>
              <a:gd name="connsiteX75" fmla="*/ 826689 w 1971297"/>
              <a:gd name="connsiteY75" fmla="*/ 207623 h 1970826"/>
              <a:gd name="connsiteX76" fmla="*/ 869841 w 1971297"/>
              <a:gd name="connsiteY76" fmla="*/ 199018 h 1970826"/>
              <a:gd name="connsiteX77" fmla="*/ 904928 w 1971297"/>
              <a:gd name="connsiteY77"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985649 w 1971297"/>
              <a:gd name="connsiteY3" fmla="*/ 323553 h 1970826"/>
              <a:gd name="connsiteX4" fmla="*/ 904928 w 1971297"/>
              <a:gd name="connsiteY4" fmla="*/ 0 h 1970826"/>
              <a:gd name="connsiteX5" fmla="*/ 1066369 w 1971297"/>
              <a:gd name="connsiteY5" fmla="*/ 0 h 1970826"/>
              <a:gd name="connsiteX6" fmla="*/ 1101456 w 1971297"/>
              <a:gd name="connsiteY6" fmla="*/ 199018 h 1970826"/>
              <a:gd name="connsiteX7" fmla="*/ 1149113 w 1971297"/>
              <a:gd name="connsiteY7" fmla="*/ 208521 h 1970826"/>
              <a:gd name="connsiteX8" fmla="*/ 1245734 w 1971297"/>
              <a:gd name="connsiteY8" fmla="*/ 36367 h 1970826"/>
              <a:gd name="connsiteX9" fmla="*/ 1396309 w 1971297"/>
              <a:gd name="connsiteY9" fmla="*/ 90716 h 1970826"/>
              <a:gd name="connsiteX10" fmla="*/ 1364293 w 1971297"/>
              <a:gd name="connsiteY10" fmla="*/ 287523 h 1970826"/>
              <a:gd name="connsiteX11" fmla="*/ 1403197 w 1971297"/>
              <a:gd name="connsiteY11" fmla="*/ 308843 h 1970826"/>
              <a:gd name="connsiteX12" fmla="*/ 1558001 w 1971297"/>
              <a:gd name="connsiteY12" fmla="*/ 178940 h 1970826"/>
              <a:gd name="connsiteX13" fmla="*/ 1681671 w 1971297"/>
              <a:gd name="connsiteY13" fmla="*/ 282712 h 1970826"/>
              <a:gd name="connsiteX14" fmla="*/ 1580623 w 1971297"/>
              <a:gd name="connsiteY14" fmla="*/ 457722 h 1970826"/>
              <a:gd name="connsiteX15" fmla="*/ 1610608 w 1971297"/>
              <a:gd name="connsiteY15" fmla="*/ 499270 h 1970826"/>
              <a:gd name="connsiteX16" fmla="*/ 1802874 w 1971297"/>
              <a:gd name="connsiteY16" fmla="*/ 433067 h 1970826"/>
              <a:gd name="connsiteX17" fmla="*/ 1881963 w 1971297"/>
              <a:gd name="connsiteY17" fmla="*/ 572248 h 1970826"/>
              <a:gd name="connsiteX18" fmla="*/ 1726590 w 1971297"/>
              <a:gd name="connsiteY18" fmla="*/ 698353 h 1970826"/>
              <a:gd name="connsiteX19" fmla="*/ 1741176 w 1971297"/>
              <a:gd name="connsiteY19" fmla="*/ 735808 h 1970826"/>
              <a:gd name="connsiteX20" fmla="*/ 1943264 w 1971297"/>
              <a:gd name="connsiteY20" fmla="*/ 735802 h 1970826"/>
              <a:gd name="connsiteX21" fmla="*/ 1971297 w 1971297"/>
              <a:gd name="connsiteY21" fmla="*/ 894790 h 1970826"/>
              <a:gd name="connsiteX22" fmla="*/ 1781396 w 1971297"/>
              <a:gd name="connsiteY22" fmla="*/ 963903 h 1970826"/>
              <a:gd name="connsiteX23" fmla="*/ 1780264 w 1971297"/>
              <a:gd name="connsiteY23" fmla="*/ 1014677 h 1970826"/>
              <a:gd name="connsiteX24" fmla="*/ 1969010 w 1971297"/>
              <a:gd name="connsiteY24" fmla="*/ 1087130 h 1970826"/>
              <a:gd name="connsiteX25" fmla="*/ 1940132 w 1971297"/>
              <a:gd name="connsiteY25" fmla="*/ 1244586 h 1970826"/>
              <a:gd name="connsiteX26" fmla="*/ 1738798 w 1971297"/>
              <a:gd name="connsiteY26" fmla="*/ 1241295 h 1970826"/>
              <a:gd name="connsiteX27" fmla="*/ 1725636 w 1971297"/>
              <a:gd name="connsiteY27" fmla="*/ 1280130 h 1970826"/>
              <a:gd name="connsiteX28" fmla="*/ 1880447 w 1971297"/>
              <a:gd name="connsiteY28" fmla="*/ 1410026 h 1970826"/>
              <a:gd name="connsiteX29" fmla="*/ 1799727 w 1971297"/>
              <a:gd name="connsiteY29" fmla="*/ 1549837 h 1970826"/>
              <a:gd name="connsiteX30" fmla="*/ 1609829 w 1971297"/>
              <a:gd name="connsiteY30" fmla="*/ 1480714 h 1970826"/>
              <a:gd name="connsiteX31" fmla="*/ 1579151 w 1971297"/>
              <a:gd name="connsiteY31" fmla="*/ 1512281 h 1970826"/>
              <a:gd name="connsiteX32" fmla="*/ 1677610 w 1971297"/>
              <a:gd name="connsiteY32" fmla="*/ 1689905 h 1970826"/>
              <a:gd name="connsiteX33" fmla="*/ 1554277 w 1971297"/>
              <a:gd name="connsiteY33" fmla="*/ 1791961 h 1970826"/>
              <a:gd name="connsiteX34" fmla="*/ 1402854 w 1971297"/>
              <a:gd name="connsiteY34" fmla="*/ 1660626 h 1970826"/>
              <a:gd name="connsiteX35" fmla="*/ 1363848 w 1971297"/>
              <a:gd name="connsiteY35" fmla="*/ 1687117 h 1970826"/>
              <a:gd name="connsiteX36" fmla="*/ 1398945 w 1971297"/>
              <a:gd name="connsiteY36" fmla="*/ 1886133 h 1970826"/>
              <a:gd name="connsiteX37" fmla="*/ 1247240 w 1971297"/>
              <a:gd name="connsiteY37" fmla="*/ 1941349 h 1970826"/>
              <a:gd name="connsiteX38" fmla="*/ 1146202 w 1971297"/>
              <a:gd name="connsiteY38" fmla="*/ 1766334 h 1970826"/>
              <a:gd name="connsiteX39" fmla="*/ 1100680 w 1971297"/>
              <a:gd name="connsiteY39" fmla="*/ 1773318 h 1970826"/>
              <a:gd name="connsiteX40" fmla="*/ 1062288 w 1971297"/>
              <a:gd name="connsiteY40" fmla="*/ 1970826 h 1970826"/>
              <a:gd name="connsiteX41" fmla="*/ 902210 w 1971297"/>
              <a:gd name="connsiteY41" fmla="*/ 1969728 h 1970826"/>
              <a:gd name="connsiteX42" fmla="*/ 870884 w 1971297"/>
              <a:gd name="connsiteY42" fmla="*/ 1773359 h 1970826"/>
              <a:gd name="connsiteX43" fmla="*/ 825096 w 1971297"/>
              <a:gd name="connsiteY43" fmla="*/ 1766334 h 1970826"/>
              <a:gd name="connsiteX44" fmla="*/ 724057 w 1971297"/>
              <a:gd name="connsiteY44" fmla="*/ 1941349 h 1970826"/>
              <a:gd name="connsiteX45" fmla="*/ 572352 w 1971297"/>
              <a:gd name="connsiteY45" fmla="*/ 1886133 h 1970826"/>
              <a:gd name="connsiteX46" fmla="*/ 607450 w 1971297"/>
              <a:gd name="connsiteY46" fmla="*/ 1687117 h 1970826"/>
              <a:gd name="connsiteX47" fmla="*/ 571181 w 1971297"/>
              <a:gd name="connsiteY47" fmla="*/ 1662485 h 1970826"/>
              <a:gd name="connsiteX48" fmla="*/ 421150 w 1971297"/>
              <a:gd name="connsiteY48" fmla="*/ 1792613 h 1970826"/>
              <a:gd name="connsiteX49" fmla="*/ 297817 w 1971297"/>
              <a:gd name="connsiteY49" fmla="*/ 1690557 h 1970826"/>
              <a:gd name="connsiteX50" fmla="*/ 395006 w 1971297"/>
              <a:gd name="connsiteY50" fmla="*/ 1515223 h 1970826"/>
              <a:gd name="connsiteX51" fmla="*/ 361468 w 1971297"/>
              <a:gd name="connsiteY51" fmla="*/ 1480715 h 1970826"/>
              <a:gd name="connsiteX52" fmla="*/ 171570 w 1971297"/>
              <a:gd name="connsiteY52" fmla="*/ 1549837 h 1970826"/>
              <a:gd name="connsiteX53" fmla="*/ 90850 w 1971297"/>
              <a:gd name="connsiteY53" fmla="*/ 1410026 h 1970826"/>
              <a:gd name="connsiteX54" fmla="*/ 245661 w 1971297"/>
              <a:gd name="connsiteY54" fmla="*/ 1280131 h 1970826"/>
              <a:gd name="connsiteX55" fmla="*/ 233972 w 1971297"/>
              <a:gd name="connsiteY55" fmla="*/ 1245643 h 1970826"/>
              <a:gd name="connsiteX56" fmla="*/ 31451 w 1971297"/>
              <a:gd name="connsiteY56" fmla="*/ 1248953 h 1970826"/>
              <a:gd name="connsiteX57" fmla="*/ 2573 w 1971297"/>
              <a:gd name="connsiteY57" fmla="*/ 1091497 h 1970826"/>
              <a:gd name="connsiteX58" fmla="*/ 191133 w 1971297"/>
              <a:gd name="connsiteY58" fmla="*/ 1019115 h 1970826"/>
              <a:gd name="connsiteX59" fmla="*/ 189902 w 1971297"/>
              <a:gd name="connsiteY59" fmla="*/ 963904 h 1970826"/>
              <a:gd name="connsiteX60" fmla="*/ 0 w 1971297"/>
              <a:gd name="connsiteY60" fmla="*/ 894790 h 1970826"/>
              <a:gd name="connsiteX61" fmla="*/ 28034 w 1971297"/>
              <a:gd name="connsiteY61" fmla="*/ 735802 h 1970826"/>
              <a:gd name="connsiteX62" fmla="*/ 230121 w 1971297"/>
              <a:gd name="connsiteY62" fmla="*/ 735808 h 1970826"/>
              <a:gd name="connsiteX63" fmla="*/ 240919 w 1971297"/>
              <a:gd name="connsiteY63" fmla="*/ 708079 h 1970826"/>
              <a:gd name="connsiteX64" fmla="*/ 84936 w 1971297"/>
              <a:gd name="connsiteY64" fmla="*/ 585933 h 1970826"/>
              <a:gd name="connsiteX65" fmla="*/ 161584 w 1971297"/>
              <a:gd name="connsiteY65" fmla="*/ 445393 h 1970826"/>
              <a:gd name="connsiteX66" fmla="*/ 354366 w 1971297"/>
              <a:gd name="connsiteY66" fmla="*/ 508031 h 1970826"/>
              <a:gd name="connsiteX67" fmla="*/ 390674 w 1971297"/>
              <a:gd name="connsiteY67" fmla="*/ 457722 h 1970826"/>
              <a:gd name="connsiteX68" fmla="*/ 289626 w 1971297"/>
              <a:gd name="connsiteY68" fmla="*/ 282712 h 1970826"/>
              <a:gd name="connsiteX69" fmla="*/ 413297 w 1971297"/>
              <a:gd name="connsiteY69" fmla="*/ 178940 h 1970826"/>
              <a:gd name="connsiteX70" fmla="*/ 568101 w 1971297"/>
              <a:gd name="connsiteY70" fmla="*/ 308843 h 1970826"/>
              <a:gd name="connsiteX71" fmla="*/ 611018 w 1971297"/>
              <a:gd name="connsiteY71" fmla="*/ 285324 h 1970826"/>
              <a:gd name="connsiteX72" fmla="*/ 576674 w 1971297"/>
              <a:gd name="connsiteY72" fmla="*/ 89277 h 1970826"/>
              <a:gd name="connsiteX73" fmla="*/ 727674 w 1971297"/>
              <a:gd name="connsiteY73" fmla="*/ 36123 h 1970826"/>
              <a:gd name="connsiteX74" fmla="*/ 826689 w 1971297"/>
              <a:gd name="connsiteY74" fmla="*/ 207623 h 1970826"/>
              <a:gd name="connsiteX75" fmla="*/ 869841 w 1971297"/>
              <a:gd name="connsiteY75" fmla="*/ 199018 h 1970826"/>
              <a:gd name="connsiteX76" fmla="*/ 904928 w 1971297"/>
              <a:gd name="connsiteY76" fmla="*/ 0 h 1970826"/>
              <a:gd name="connsiteX0" fmla="*/ 985649 w 1971297"/>
              <a:gd name="connsiteY0" fmla="*/ 323553 h 1970826"/>
              <a:gd name="connsiteX1" fmla="*/ 322581 w 1971297"/>
              <a:gd name="connsiteY1" fmla="*/ 986621 h 1970826"/>
              <a:gd name="connsiteX2" fmla="*/ 985649 w 1971297"/>
              <a:gd name="connsiteY2" fmla="*/ 323553 h 1970826"/>
              <a:gd name="connsiteX3" fmla="*/ 904928 w 1971297"/>
              <a:gd name="connsiteY3" fmla="*/ 0 h 1970826"/>
              <a:gd name="connsiteX4" fmla="*/ 1066369 w 1971297"/>
              <a:gd name="connsiteY4" fmla="*/ 0 h 1970826"/>
              <a:gd name="connsiteX5" fmla="*/ 1101456 w 1971297"/>
              <a:gd name="connsiteY5" fmla="*/ 199018 h 1970826"/>
              <a:gd name="connsiteX6" fmla="*/ 1149113 w 1971297"/>
              <a:gd name="connsiteY6" fmla="*/ 208521 h 1970826"/>
              <a:gd name="connsiteX7" fmla="*/ 1245734 w 1971297"/>
              <a:gd name="connsiteY7" fmla="*/ 36367 h 1970826"/>
              <a:gd name="connsiteX8" fmla="*/ 1396309 w 1971297"/>
              <a:gd name="connsiteY8" fmla="*/ 90716 h 1970826"/>
              <a:gd name="connsiteX9" fmla="*/ 1364293 w 1971297"/>
              <a:gd name="connsiteY9" fmla="*/ 287523 h 1970826"/>
              <a:gd name="connsiteX10" fmla="*/ 1403197 w 1971297"/>
              <a:gd name="connsiteY10" fmla="*/ 308843 h 1970826"/>
              <a:gd name="connsiteX11" fmla="*/ 1558001 w 1971297"/>
              <a:gd name="connsiteY11" fmla="*/ 178940 h 1970826"/>
              <a:gd name="connsiteX12" fmla="*/ 1681671 w 1971297"/>
              <a:gd name="connsiteY12" fmla="*/ 282712 h 1970826"/>
              <a:gd name="connsiteX13" fmla="*/ 1580623 w 1971297"/>
              <a:gd name="connsiteY13" fmla="*/ 457722 h 1970826"/>
              <a:gd name="connsiteX14" fmla="*/ 1610608 w 1971297"/>
              <a:gd name="connsiteY14" fmla="*/ 499270 h 1970826"/>
              <a:gd name="connsiteX15" fmla="*/ 1802874 w 1971297"/>
              <a:gd name="connsiteY15" fmla="*/ 433067 h 1970826"/>
              <a:gd name="connsiteX16" fmla="*/ 1881963 w 1971297"/>
              <a:gd name="connsiteY16" fmla="*/ 572248 h 1970826"/>
              <a:gd name="connsiteX17" fmla="*/ 1726590 w 1971297"/>
              <a:gd name="connsiteY17" fmla="*/ 698353 h 1970826"/>
              <a:gd name="connsiteX18" fmla="*/ 1741176 w 1971297"/>
              <a:gd name="connsiteY18" fmla="*/ 735808 h 1970826"/>
              <a:gd name="connsiteX19" fmla="*/ 1943264 w 1971297"/>
              <a:gd name="connsiteY19" fmla="*/ 735802 h 1970826"/>
              <a:gd name="connsiteX20" fmla="*/ 1971297 w 1971297"/>
              <a:gd name="connsiteY20" fmla="*/ 894790 h 1970826"/>
              <a:gd name="connsiteX21" fmla="*/ 1781396 w 1971297"/>
              <a:gd name="connsiteY21" fmla="*/ 963903 h 1970826"/>
              <a:gd name="connsiteX22" fmla="*/ 1780264 w 1971297"/>
              <a:gd name="connsiteY22" fmla="*/ 1014677 h 1970826"/>
              <a:gd name="connsiteX23" fmla="*/ 1969010 w 1971297"/>
              <a:gd name="connsiteY23" fmla="*/ 1087130 h 1970826"/>
              <a:gd name="connsiteX24" fmla="*/ 1940132 w 1971297"/>
              <a:gd name="connsiteY24" fmla="*/ 1244586 h 1970826"/>
              <a:gd name="connsiteX25" fmla="*/ 1738798 w 1971297"/>
              <a:gd name="connsiteY25" fmla="*/ 1241295 h 1970826"/>
              <a:gd name="connsiteX26" fmla="*/ 1725636 w 1971297"/>
              <a:gd name="connsiteY26" fmla="*/ 1280130 h 1970826"/>
              <a:gd name="connsiteX27" fmla="*/ 1880447 w 1971297"/>
              <a:gd name="connsiteY27" fmla="*/ 1410026 h 1970826"/>
              <a:gd name="connsiteX28" fmla="*/ 1799727 w 1971297"/>
              <a:gd name="connsiteY28" fmla="*/ 1549837 h 1970826"/>
              <a:gd name="connsiteX29" fmla="*/ 1609829 w 1971297"/>
              <a:gd name="connsiteY29" fmla="*/ 1480714 h 1970826"/>
              <a:gd name="connsiteX30" fmla="*/ 1579151 w 1971297"/>
              <a:gd name="connsiteY30" fmla="*/ 1512281 h 1970826"/>
              <a:gd name="connsiteX31" fmla="*/ 1677610 w 1971297"/>
              <a:gd name="connsiteY31" fmla="*/ 1689905 h 1970826"/>
              <a:gd name="connsiteX32" fmla="*/ 1554277 w 1971297"/>
              <a:gd name="connsiteY32" fmla="*/ 1791961 h 1970826"/>
              <a:gd name="connsiteX33" fmla="*/ 1402854 w 1971297"/>
              <a:gd name="connsiteY33" fmla="*/ 1660626 h 1970826"/>
              <a:gd name="connsiteX34" fmla="*/ 1363848 w 1971297"/>
              <a:gd name="connsiteY34" fmla="*/ 1687117 h 1970826"/>
              <a:gd name="connsiteX35" fmla="*/ 1398945 w 1971297"/>
              <a:gd name="connsiteY35" fmla="*/ 1886133 h 1970826"/>
              <a:gd name="connsiteX36" fmla="*/ 1247240 w 1971297"/>
              <a:gd name="connsiteY36" fmla="*/ 1941349 h 1970826"/>
              <a:gd name="connsiteX37" fmla="*/ 1146202 w 1971297"/>
              <a:gd name="connsiteY37" fmla="*/ 1766334 h 1970826"/>
              <a:gd name="connsiteX38" fmla="*/ 1100680 w 1971297"/>
              <a:gd name="connsiteY38" fmla="*/ 1773318 h 1970826"/>
              <a:gd name="connsiteX39" fmla="*/ 1062288 w 1971297"/>
              <a:gd name="connsiteY39" fmla="*/ 1970826 h 1970826"/>
              <a:gd name="connsiteX40" fmla="*/ 902210 w 1971297"/>
              <a:gd name="connsiteY40" fmla="*/ 1969728 h 1970826"/>
              <a:gd name="connsiteX41" fmla="*/ 870884 w 1971297"/>
              <a:gd name="connsiteY41" fmla="*/ 1773359 h 1970826"/>
              <a:gd name="connsiteX42" fmla="*/ 825096 w 1971297"/>
              <a:gd name="connsiteY42" fmla="*/ 1766334 h 1970826"/>
              <a:gd name="connsiteX43" fmla="*/ 724057 w 1971297"/>
              <a:gd name="connsiteY43" fmla="*/ 1941349 h 1970826"/>
              <a:gd name="connsiteX44" fmla="*/ 572352 w 1971297"/>
              <a:gd name="connsiteY44" fmla="*/ 1886133 h 1970826"/>
              <a:gd name="connsiteX45" fmla="*/ 607450 w 1971297"/>
              <a:gd name="connsiteY45" fmla="*/ 1687117 h 1970826"/>
              <a:gd name="connsiteX46" fmla="*/ 571181 w 1971297"/>
              <a:gd name="connsiteY46" fmla="*/ 1662485 h 1970826"/>
              <a:gd name="connsiteX47" fmla="*/ 421150 w 1971297"/>
              <a:gd name="connsiteY47" fmla="*/ 1792613 h 1970826"/>
              <a:gd name="connsiteX48" fmla="*/ 297817 w 1971297"/>
              <a:gd name="connsiteY48" fmla="*/ 1690557 h 1970826"/>
              <a:gd name="connsiteX49" fmla="*/ 395006 w 1971297"/>
              <a:gd name="connsiteY49" fmla="*/ 1515223 h 1970826"/>
              <a:gd name="connsiteX50" fmla="*/ 361468 w 1971297"/>
              <a:gd name="connsiteY50" fmla="*/ 1480715 h 1970826"/>
              <a:gd name="connsiteX51" fmla="*/ 171570 w 1971297"/>
              <a:gd name="connsiteY51" fmla="*/ 1549837 h 1970826"/>
              <a:gd name="connsiteX52" fmla="*/ 90850 w 1971297"/>
              <a:gd name="connsiteY52" fmla="*/ 1410026 h 1970826"/>
              <a:gd name="connsiteX53" fmla="*/ 245661 w 1971297"/>
              <a:gd name="connsiteY53" fmla="*/ 1280131 h 1970826"/>
              <a:gd name="connsiteX54" fmla="*/ 233972 w 1971297"/>
              <a:gd name="connsiteY54" fmla="*/ 1245643 h 1970826"/>
              <a:gd name="connsiteX55" fmla="*/ 31451 w 1971297"/>
              <a:gd name="connsiteY55" fmla="*/ 1248953 h 1970826"/>
              <a:gd name="connsiteX56" fmla="*/ 2573 w 1971297"/>
              <a:gd name="connsiteY56" fmla="*/ 1091497 h 1970826"/>
              <a:gd name="connsiteX57" fmla="*/ 191133 w 1971297"/>
              <a:gd name="connsiteY57" fmla="*/ 1019115 h 1970826"/>
              <a:gd name="connsiteX58" fmla="*/ 189902 w 1971297"/>
              <a:gd name="connsiteY58" fmla="*/ 963904 h 1970826"/>
              <a:gd name="connsiteX59" fmla="*/ 0 w 1971297"/>
              <a:gd name="connsiteY59" fmla="*/ 894790 h 1970826"/>
              <a:gd name="connsiteX60" fmla="*/ 28034 w 1971297"/>
              <a:gd name="connsiteY60" fmla="*/ 735802 h 1970826"/>
              <a:gd name="connsiteX61" fmla="*/ 230121 w 1971297"/>
              <a:gd name="connsiteY61" fmla="*/ 735808 h 1970826"/>
              <a:gd name="connsiteX62" fmla="*/ 240919 w 1971297"/>
              <a:gd name="connsiteY62" fmla="*/ 708079 h 1970826"/>
              <a:gd name="connsiteX63" fmla="*/ 84936 w 1971297"/>
              <a:gd name="connsiteY63" fmla="*/ 585933 h 1970826"/>
              <a:gd name="connsiteX64" fmla="*/ 161584 w 1971297"/>
              <a:gd name="connsiteY64" fmla="*/ 445393 h 1970826"/>
              <a:gd name="connsiteX65" fmla="*/ 354366 w 1971297"/>
              <a:gd name="connsiteY65" fmla="*/ 508031 h 1970826"/>
              <a:gd name="connsiteX66" fmla="*/ 390674 w 1971297"/>
              <a:gd name="connsiteY66" fmla="*/ 457722 h 1970826"/>
              <a:gd name="connsiteX67" fmla="*/ 289626 w 1971297"/>
              <a:gd name="connsiteY67" fmla="*/ 282712 h 1970826"/>
              <a:gd name="connsiteX68" fmla="*/ 413297 w 1971297"/>
              <a:gd name="connsiteY68" fmla="*/ 178940 h 1970826"/>
              <a:gd name="connsiteX69" fmla="*/ 568101 w 1971297"/>
              <a:gd name="connsiteY69" fmla="*/ 308843 h 1970826"/>
              <a:gd name="connsiteX70" fmla="*/ 611018 w 1971297"/>
              <a:gd name="connsiteY70" fmla="*/ 285324 h 1970826"/>
              <a:gd name="connsiteX71" fmla="*/ 576674 w 1971297"/>
              <a:gd name="connsiteY71" fmla="*/ 89277 h 1970826"/>
              <a:gd name="connsiteX72" fmla="*/ 727674 w 1971297"/>
              <a:gd name="connsiteY72" fmla="*/ 36123 h 1970826"/>
              <a:gd name="connsiteX73" fmla="*/ 826689 w 1971297"/>
              <a:gd name="connsiteY73" fmla="*/ 207623 h 1970826"/>
              <a:gd name="connsiteX74" fmla="*/ 869841 w 1971297"/>
              <a:gd name="connsiteY74" fmla="*/ 199018 h 1970826"/>
              <a:gd name="connsiteX75" fmla="*/ 904928 w 1971297"/>
              <a:gd name="connsiteY75" fmla="*/ 0 h 1970826"/>
              <a:gd name="connsiteX0" fmla="*/ 904928 w 1971297"/>
              <a:gd name="connsiteY0" fmla="*/ 0 h 1970826"/>
              <a:gd name="connsiteX1" fmla="*/ 1066369 w 1971297"/>
              <a:gd name="connsiteY1" fmla="*/ 0 h 1970826"/>
              <a:gd name="connsiteX2" fmla="*/ 1101456 w 1971297"/>
              <a:gd name="connsiteY2" fmla="*/ 199018 h 1970826"/>
              <a:gd name="connsiteX3" fmla="*/ 1149113 w 1971297"/>
              <a:gd name="connsiteY3" fmla="*/ 208521 h 1970826"/>
              <a:gd name="connsiteX4" fmla="*/ 1245734 w 1971297"/>
              <a:gd name="connsiteY4" fmla="*/ 36367 h 1970826"/>
              <a:gd name="connsiteX5" fmla="*/ 1396309 w 1971297"/>
              <a:gd name="connsiteY5" fmla="*/ 90716 h 1970826"/>
              <a:gd name="connsiteX6" fmla="*/ 1364293 w 1971297"/>
              <a:gd name="connsiteY6" fmla="*/ 287523 h 1970826"/>
              <a:gd name="connsiteX7" fmla="*/ 1403197 w 1971297"/>
              <a:gd name="connsiteY7" fmla="*/ 308843 h 1970826"/>
              <a:gd name="connsiteX8" fmla="*/ 1558001 w 1971297"/>
              <a:gd name="connsiteY8" fmla="*/ 178940 h 1970826"/>
              <a:gd name="connsiteX9" fmla="*/ 1681671 w 1971297"/>
              <a:gd name="connsiteY9" fmla="*/ 282712 h 1970826"/>
              <a:gd name="connsiteX10" fmla="*/ 1580623 w 1971297"/>
              <a:gd name="connsiteY10" fmla="*/ 457722 h 1970826"/>
              <a:gd name="connsiteX11" fmla="*/ 1610608 w 1971297"/>
              <a:gd name="connsiteY11" fmla="*/ 499270 h 1970826"/>
              <a:gd name="connsiteX12" fmla="*/ 1802874 w 1971297"/>
              <a:gd name="connsiteY12" fmla="*/ 433067 h 1970826"/>
              <a:gd name="connsiteX13" fmla="*/ 1881963 w 1971297"/>
              <a:gd name="connsiteY13" fmla="*/ 572248 h 1970826"/>
              <a:gd name="connsiteX14" fmla="*/ 1726590 w 1971297"/>
              <a:gd name="connsiteY14" fmla="*/ 698353 h 1970826"/>
              <a:gd name="connsiteX15" fmla="*/ 1741176 w 1971297"/>
              <a:gd name="connsiteY15" fmla="*/ 735808 h 1970826"/>
              <a:gd name="connsiteX16" fmla="*/ 1943264 w 1971297"/>
              <a:gd name="connsiteY16" fmla="*/ 735802 h 1970826"/>
              <a:gd name="connsiteX17" fmla="*/ 1971297 w 1971297"/>
              <a:gd name="connsiteY17" fmla="*/ 894790 h 1970826"/>
              <a:gd name="connsiteX18" fmla="*/ 1781396 w 1971297"/>
              <a:gd name="connsiteY18" fmla="*/ 963903 h 1970826"/>
              <a:gd name="connsiteX19" fmla="*/ 1780264 w 1971297"/>
              <a:gd name="connsiteY19" fmla="*/ 1014677 h 1970826"/>
              <a:gd name="connsiteX20" fmla="*/ 1969010 w 1971297"/>
              <a:gd name="connsiteY20" fmla="*/ 1087130 h 1970826"/>
              <a:gd name="connsiteX21" fmla="*/ 1940132 w 1971297"/>
              <a:gd name="connsiteY21" fmla="*/ 1244586 h 1970826"/>
              <a:gd name="connsiteX22" fmla="*/ 1738798 w 1971297"/>
              <a:gd name="connsiteY22" fmla="*/ 1241295 h 1970826"/>
              <a:gd name="connsiteX23" fmla="*/ 1725636 w 1971297"/>
              <a:gd name="connsiteY23" fmla="*/ 1280130 h 1970826"/>
              <a:gd name="connsiteX24" fmla="*/ 1880447 w 1971297"/>
              <a:gd name="connsiteY24" fmla="*/ 1410026 h 1970826"/>
              <a:gd name="connsiteX25" fmla="*/ 1799727 w 1971297"/>
              <a:gd name="connsiteY25" fmla="*/ 1549837 h 1970826"/>
              <a:gd name="connsiteX26" fmla="*/ 1609829 w 1971297"/>
              <a:gd name="connsiteY26" fmla="*/ 1480714 h 1970826"/>
              <a:gd name="connsiteX27" fmla="*/ 1579151 w 1971297"/>
              <a:gd name="connsiteY27" fmla="*/ 1512281 h 1970826"/>
              <a:gd name="connsiteX28" fmla="*/ 1677610 w 1971297"/>
              <a:gd name="connsiteY28" fmla="*/ 1689905 h 1970826"/>
              <a:gd name="connsiteX29" fmla="*/ 1554277 w 1971297"/>
              <a:gd name="connsiteY29" fmla="*/ 1791961 h 1970826"/>
              <a:gd name="connsiteX30" fmla="*/ 1402854 w 1971297"/>
              <a:gd name="connsiteY30" fmla="*/ 1660626 h 1970826"/>
              <a:gd name="connsiteX31" fmla="*/ 1363848 w 1971297"/>
              <a:gd name="connsiteY31" fmla="*/ 1687117 h 1970826"/>
              <a:gd name="connsiteX32" fmla="*/ 1398945 w 1971297"/>
              <a:gd name="connsiteY32" fmla="*/ 1886133 h 1970826"/>
              <a:gd name="connsiteX33" fmla="*/ 1247240 w 1971297"/>
              <a:gd name="connsiteY33" fmla="*/ 1941349 h 1970826"/>
              <a:gd name="connsiteX34" fmla="*/ 1146202 w 1971297"/>
              <a:gd name="connsiteY34" fmla="*/ 1766334 h 1970826"/>
              <a:gd name="connsiteX35" fmla="*/ 1100680 w 1971297"/>
              <a:gd name="connsiteY35" fmla="*/ 1773318 h 1970826"/>
              <a:gd name="connsiteX36" fmla="*/ 1062288 w 1971297"/>
              <a:gd name="connsiteY36" fmla="*/ 1970826 h 1970826"/>
              <a:gd name="connsiteX37" fmla="*/ 902210 w 1971297"/>
              <a:gd name="connsiteY37" fmla="*/ 1969728 h 1970826"/>
              <a:gd name="connsiteX38" fmla="*/ 870884 w 1971297"/>
              <a:gd name="connsiteY38" fmla="*/ 1773359 h 1970826"/>
              <a:gd name="connsiteX39" fmla="*/ 825096 w 1971297"/>
              <a:gd name="connsiteY39" fmla="*/ 1766334 h 1970826"/>
              <a:gd name="connsiteX40" fmla="*/ 724057 w 1971297"/>
              <a:gd name="connsiteY40" fmla="*/ 1941349 h 1970826"/>
              <a:gd name="connsiteX41" fmla="*/ 572352 w 1971297"/>
              <a:gd name="connsiteY41" fmla="*/ 1886133 h 1970826"/>
              <a:gd name="connsiteX42" fmla="*/ 607450 w 1971297"/>
              <a:gd name="connsiteY42" fmla="*/ 1687117 h 1970826"/>
              <a:gd name="connsiteX43" fmla="*/ 571181 w 1971297"/>
              <a:gd name="connsiteY43" fmla="*/ 1662485 h 1970826"/>
              <a:gd name="connsiteX44" fmla="*/ 421150 w 1971297"/>
              <a:gd name="connsiteY44" fmla="*/ 1792613 h 1970826"/>
              <a:gd name="connsiteX45" fmla="*/ 297817 w 1971297"/>
              <a:gd name="connsiteY45" fmla="*/ 1690557 h 1970826"/>
              <a:gd name="connsiteX46" fmla="*/ 395006 w 1971297"/>
              <a:gd name="connsiteY46" fmla="*/ 1515223 h 1970826"/>
              <a:gd name="connsiteX47" fmla="*/ 361468 w 1971297"/>
              <a:gd name="connsiteY47" fmla="*/ 1480715 h 1970826"/>
              <a:gd name="connsiteX48" fmla="*/ 171570 w 1971297"/>
              <a:gd name="connsiteY48" fmla="*/ 1549837 h 1970826"/>
              <a:gd name="connsiteX49" fmla="*/ 90850 w 1971297"/>
              <a:gd name="connsiteY49" fmla="*/ 1410026 h 1970826"/>
              <a:gd name="connsiteX50" fmla="*/ 245661 w 1971297"/>
              <a:gd name="connsiteY50" fmla="*/ 1280131 h 1970826"/>
              <a:gd name="connsiteX51" fmla="*/ 233972 w 1971297"/>
              <a:gd name="connsiteY51" fmla="*/ 1245643 h 1970826"/>
              <a:gd name="connsiteX52" fmla="*/ 31451 w 1971297"/>
              <a:gd name="connsiteY52" fmla="*/ 1248953 h 1970826"/>
              <a:gd name="connsiteX53" fmla="*/ 2573 w 1971297"/>
              <a:gd name="connsiteY53" fmla="*/ 1091497 h 1970826"/>
              <a:gd name="connsiteX54" fmla="*/ 191133 w 1971297"/>
              <a:gd name="connsiteY54" fmla="*/ 1019115 h 1970826"/>
              <a:gd name="connsiteX55" fmla="*/ 189902 w 1971297"/>
              <a:gd name="connsiteY55" fmla="*/ 963904 h 1970826"/>
              <a:gd name="connsiteX56" fmla="*/ 0 w 1971297"/>
              <a:gd name="connsiteY56" fmla="*/ 894790 h 1970826"/>
              <a:gd name="connsiteX57" fmla="*/ 28034 w 1971297"/>
              <a:gd name="connsiteY57" fmla="*/ 735802 h 1970826"/>
              <a:gd name="connsiteX58" fmla="*/ 230121 w 1971297"/>
              <a:gd name="connsiteY58" fmla="*/ 735808 h 1970826"/>
              <a:gd name="connsiteX59" fmla="*/ 240919 w 1971297"/>
              <a:gd name="connsiteY59" fmla="*/ 708079 h 1970826"/>
              <a:gd name="connsiteX60" fmla="*/ 84936 w 1971297"/>
              <a:gd name="connsiteY60" fmla="*/ 585933 h 1970826"/>
              <a:gd name="connsiteX61" fmla="*/ 161584 w 1971297"/>
              <a:gd name="connsiteY61" fmla="*/ 445393 h 1970826"/>
              <a:gd name="connsiteX62" fmla="*/ 354366 w 1971297"/>
              <a:gd name="connsiteY62" fmla="*/ 508031 h 1970826"/>
              <a:gd name="connsiteX63" fmla="*/ 390674 w 1971297"/>
              <a:gd name="connsiteY63" fmla="*/ 457722 h 1970826"/>
              <a:gd name="connsiteX64" fmla="*/ 289626 w 1971297"/>
              <a:gd name="connsiteY64" fmla="*/ 282712 h 1970826"/>
              <a:gd name="connsiteX65" fmla="*/ 413297 w 1971297"/>
              <a:gd name="connsiteY65" fmla="*/ 178940 h 1970826"/>
              <a:gd name="connsiteX66" fmla="*/ 568101 w 1971297"/>
              <a:gd name="connsiteY66" fmla="*/ 308843 h 1970826"/>
              <a:gd name="connsiteX67" fmla="*/ 611018 w 1971297"/>
              <a:gd name="connsiteY67" fmla="*/ 285324 h 1970826"/>
              <a:gd name="connsiteX68" fmla="*/ 576674 w 1971297"/>
              <a:gd name="connsiteY68" fmla="*/ 89277 h 1970826"/>
              <a:gd name="connsiteX69" fmla="*/ 727674 w 1971297"/>
              <a:gd name="connsiteY69" fmla="*/ 36123 h 1970826"/>
              <a:gd name="connsiteX70" fmla="*/ 826689 w 1971297"/>
              <a:gd name="connsiteY70" fmla="*/ 207623 h 1970826"/>
              <a:gd name="connsiteX71" fmla="*/ 869841 w 1971297"/>
              <a:gd name="connsiteY71" fmla="*/ 199018 h 1970826"/>
              <a:gd name="connsiteX72" fmla="*/ 904928 w 1971297"/>
              <a:gd name="connsiteY72" fmla="*/ 0 h 197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971297" h="1970826">
                <a:moveTo>
                  <a:pt x="904928" y="0"/>
                </a:moveTo>
                <a:lnTo>
                  <a:pt x="1066369" y="0"/>
                </a:lnTo>
                <a:lnTo>
                  <a:pt x="1101456" y="199018"/>
                </a:lnTo>
                <a:lnTo>
                  <a:pt x="1149113" y="208521"/>
                </a:lnTo>
                <a:lnTo>
                  <a:pt x="1245734" y="36367"/>
                </a:lnTo>
                <a:lnTo>
                  <a:pt x="1396309" y="90716"/>
                </a:lnTo>
                <a:lnTo>
                  <a:pt x="1364293" y="287523"/>
                </a:lnTo>
                <a:lnTo>
                  <a:pt x="1403197" y="308843"/>
                </a:lnTo>
                <a:lnTo>
                  <a:pt x="1558001" y="178940"/>
                </a:lnTo>
                <a:lnTo>
                  <a:pt x="1681671" y="282712"/>
                </a:lnTo>
                <a:lnTo>
                  <a:pt x="1580623" y="457722"/>
                </a:lnTo>
                <a:lnTo>
                  <a:pt x="1610608" y="499270"/>
                </a:lnTo>
                <a:lnTo>
                  <a:pt x="1802874" y="433067"/>
                </a:lnTo>
                <a:lnTo>
                  <a:pt x="1881963" y="572248"/>
                </a:lnTo>
                <a:lnTo>
                  <a:pt x="1726590" y="698353"/>
                </a:lnTo>
                <a:lnTo>
                  <a:pt x="1741176" y="735808"/>
                </a:lnTo>
                <a:lnTo>
                  <a:pt x="1943264" y="735802"/>
                </a:lnTo>
                <a:lnTo>
                  <a:pt x="1971297" y="894790"/>
                </a:lnTo>
                <a:lnTo>
                  <a:pt x="1781396" y="963903"/>
                </a:lnTo>
                <a:cubicBezTo>
                  <a:pt x="1781019" y="980828"/>
                  <a:pt x="1780641" y="997752"/>
                  <a:pt x="1780264" y="1014677"/>
                </a:cubicBezTo>
                <a:lnTo>
                  <a:pt x="1969010" y="1087130"/>
                </a:lnTo>
                <a:lnTo>
                  <a:pt x="1940132" y="1244586"/>
                </a:lnTo>
                <a:lnTo>
                  <a:pt x="1738798" y="1241295"/>
                </a:lnTo>
                <a:lnTo>
                  <a:pt x="1725636" y="1280130"/>
                </a:lnTo>
                <a:lnTo>
                  <a:pt x="1880447" y="1410026"/>
                </a:lnTo>
                <a:lnTo>
                  <a:pt x="1799727" y="1549837"/>
                </a:lnTo>
                <a:lnTo>
                  <a:pt x="1609829" y="1480714"/>
                </a:lnTo>
                <a:lnTo>
                  <a:pt x="1579151" y="1512281"/>
                </a:lnTo>
                <a:lnTo>
                  <a:pt x="1677610" y="1689905"/>
                </a:lnTo>
                <a:lnTo>
                  <a:pt x="1554277" y="1791961"/>
                </a:lnTo>
                <a:lnTo>
                  <a:pt x="1402854" y="1660626"/>
                </a:lnTo>
                <a:lnTo>
                  <a:pt x="1363848" y="1687117"/>
                </a:lnTo>
                <a:lnTo>
                  <a:pt x="1398945" y="1886133"/>
                </a:lnTo>
                <a:lnTo>
                  <a:pt x="1247240" y="1941349"/>
                </a:lnTo>
                <a:lnTo>
                  <a:pt x="1146202" y="1766334"/>
                </a:lnTo>
                <a:lnTo>
                  <a:pt x="1100680" y="1773318"/>
                </a:lnTo>
                <a:lnTo>
                  <a:pt x="1062288" y="1970826"/>
                </a:lnTo>
                <a:lnTo>
                  <a:pt x="902210" y="1969728"/>
                </a:lnTo>
                <a:lnTo>
                  <a:pt x="870884" y="1773359"/>
                </a:lnTo>
                <a:lnTo>
                  <a:pt x="825096" y="1766334"/>
                </a:lnTo>
                <a:lnTo>
                  <a:pt x="724057" y="1941349"/>
                </a:lnTo>
                <a:lnTo>
                  <a:pt x="572352" y="1886133"/>
                </a:lnTo>
                <a:lnTo>
                  <a:pt x="607450" y="1687117"/>
                </a:lnTo>
                <a:lnTo>
                  <a:pt x="571181" y="1662485"/>
                </a:lnTo>
                <a:lnTo>
                  <a:pt x="421150" y="1792613"/>
                </a:lnTo>
                <a:lnTo>
                  <a:pt x="297817" y="1690557"/>
                </a:lnTo>
                <a:lnTo>
                  <a:pt x="395006" y="1515223"/>
                </a:lnTo>
                <a:lnTo>
                  <a:pt x="361468" y="1480715"/>
                </a:lnTo>
                <a:lnTo>
                  <a:pt x="171570" y="1549837"/>
                </a:lnTo>
                <a:lnTo>
                  <a:pt x="90850" y="1410026"/>
                </a:lnTo>
                <a:lnTo>
                  <a:pt x="245661" y="1280131"/>
                </a:lnTo>
                <a:lnTo>
                  <a:pt x="233972" y="1245643"/>
                </a:lnTo>
                <a:lnTo>
                  <a:pt x="31451" y="1248953"/>
                </a:lnTo>
                <a:lnTo>
                  <a:pt x="2573" y="1091497"/>
                </a:lnTo>
                <a:lnTo>
                  <a:pt x="191133" y="1019115"/>
                </a:lnTo>
                <a:cubicBezTo>
                  <a:pt x="190723" y="1000711"/>
                  <a:pt x="190312" y="982308"/>
                  <a:pt x="189902" y="963904"/>
                </a:cubicBezTo>
                <a:lnTo>
                  <a:pt x="0" y="894790"/>
                </a:lnTo>
                <a:lnTo>
                  <a:pt x="28034" y="735802"/>
                </a:lnTo>
                <a:lnTo>
                  <a:pt x="230121" y="735808"/>
                </a:lnTo>
                <a:lnTo>
                  <a:pt x="240919" y="708079"/>
                </a:lnTo>
                <a:lnTo>
                  <a:pt x="84936" y="585933"/>
                </a:lnTo>
                <a:lnTo>
                  <a:pt x="161584" y="445393"/>
                </a:lnTo>
                <a:lnTo>
                  <a:pt x="354366" y="508031"/>
                </a:lnTo>
                <a:lnTo>
                  <a:pt x="390674" y="457722"/>
                </a:lnTo>
                <a:lnTo>
                  <a:pt x="289626" y="282712"/>
                </a:lnTo>
                <a:lnTo>
                  <a:pt x="413297" y="178940"/>
                </a:lnTo>
                <a:lnTo>
                  <a:pt x="568101" y="308843"/>
                </a:lnTo>
                <a:lnTo>
                  <a:pt x="611018" y="285324"/>
                </a:lnTo>
                <a:lnTo>
                  <a:pt x="576674" y="89277"/>
                </a:lnTo>
                <a:lnTo>
                  <a:pt x="727674" y="36123"/>
                </a:lnTo>
                <a:lnTo>
                  <a:pt x="826689" y="207623"/>
                </a:lnTo>
                <a:lnTo>
                  <a:pt x="869841" y="199018"/>
                </a:lnTo>
                <a:lnTo>
                  <a:pt x="904928" y="0"/>
                </a:lnTo>
                <a:close/>
              </a:path>
            </a:pathLst>
          </a:custGeom>
          <a:solidFill>
            <a:schemeClr val="accent1">
              <a:lumMod val="20000"/>
              <a:lumOff val="80000"/>
            </a:scheme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70287" tIns="769233" rIns="670287" bIns="821356" numCol="1" spcCol="1270" anchor="ctr" anchorCtr="0">
            <a:noAutofit/>
          </a:bodyPr>
          <a:lstStyle/>
          <a:p>
            <a:pPr algn="ctr" defTabSz="2489138">
              <a:lnSpc>
                <a:spcPct val="90000"/>
              </a:lnSpc>
              <a:spcBef>
                <a:spcPct val="0"/>
              </a:spcBef>
              <a:spcAft>
                <a:spcPct val="35000"/>
              </a:spcAft>
            </a:pPr>
            <a:endParaRPr lang="en-US" sz="5600" dirty="0">
              <a:solidFill>
                <a:prstClr val="white"/>
              </a:solidFill>
              <a:latin typeface="Arial" panose="020B0604020202020204"/>
            </a:endParaRPr>
          </a:p>
        </p:txBody>
      </p:sp>
      <p:sp>
        <p:nvSpPr>
          <p:cNvPr id="27" name="Freeform 23">
            <a:extLst>
              <a:ext uri="{FF2B5EF4-FFF2-40B4-BE49-F238E27FC236}">
                <a16:creationId xmlns:a16="http://schemas.microsoft.com/office/drawing/2014/main" id="{AF959CF3-F948-44D9-BE51-174448A904BD}"/>
              </a:ext>
            </a:extLst>
          </p:cNvPr>
          <p:cNvSpPr>
            <a:spLocks noChangeAspect="1"/>
          </p:cNvSpPr>
          <p:nvPr/>
        </p:nvSpPr>
        <p:spPr>
          <a:xfrm flipH="1">
            <a:off x="7910709" y="3422332"/>
            <a:ext cx="183865" cy="183865"/>
          </a:xfrm>
          <a:custGeom>
            <a:avLst/>
            <a:gdLst>
              <a:gd name="connsiteX0" fmla="*/ 212598 w 1971297"/>
              <a:gd name="connsiteY0" fmla="*/ 1172544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98126 w 1971297"/>
              <a:gd name="connsiteY6" fmla="*/ 1096370 h 1970826"/>
              <a:gd name="connsiteX7" fmla="*/ 199057 w 1971297"/>
              <a:gd name="connsiteY7" fmla="*/ 1110557 h 1970826"/>
              <a:gd name="connsiteX8" fmla="*/ 200997 w 1971297"/>
              <a:gd name="connsiteY8" fmla="*/ 1119440 h 1970826"/>
              <a:gd name="connsiteX9" fmla="*/ 1658502 w 1971297"/>
              <a:gd name="connsiteY9" fmla="*/ 565633 h 1970826"/>
              <a:gd name="connsiteX10" fmla="*/ 1664864 w 1971297"/>
              <a:gd name="connsiteY10" fmla="*/ 574448 h 1970826"/>
              <a:gd name="connsiteX11" fmla="*/ 1664611 w 1971297"/>
              <a:gd name="connsiteY11" fmla="*/ 573966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0" fmla="*/ 217129 w 1971297"/>
              <a:gd name="connsiteY0" fmla="*/ 1192320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773168 w 1971297"/>
              <a:gd name="connsiteY6" fmla="*/ 1096396 h 1970826"/>
              <a:gd name="connsiteX7" fmla="*/ 198126 w 1971297"/>
              <a:gd name="connsiteY7" fmla="*/ 1096370 h 1970826"/>
              <a:gd name="connsiteX8" fmla="*/ 199057 w 1971297"/>
              <a:gd name="connsiteY8" fmla="*/ 1110557 h 1970826"/>
              <a:gd name="connsiteX9" fmla="*/ 200997 w 1971297"/>
              <a:gd name="connsiteY9" fmla="*/ 1119440 h 1970826"/>
              <a:gd name="connsiteX10" fmla="*/ 198126 w 1971297"/>
              <a:gd name="connsiteY10" fmla="*/ 1096370 h 1970826"/>
              <a:gd name="connsiteX11" fmla="*/ 1658502 w 1971297"/>
              <a:gd name="connsiteY11" fmla="*/ 565633 h 1970826"/>
              <a:gd name="connsiteX12" fmla="*/ 1664864 w 1971297"/>
              <a:gd name="connsiteY12" fmla="*/ 574448 h 1970826"/>
              <a:gd name="connsiteX13" fmla="*/ 1664611 w 1971297"/>
              <a:gd name="connsiteY13" fmla="*/ 573966 h 1970826"/>
              <a:gd name="connsiteX14" fmla="*/ 1658502 w 1971297"/>
              <a:gd name="connsiteY14" fmla="*/ 565633 h 1970826"/>
              <a:gd name="connsiteX15" fmla="*/ 985649 w 1971297"/>
              <a:gd name="connsiteY15" fmla="*/ 323553 h 1970826"/>
              <a:gd name="connsiteX16" fmla="*/ 322581 w 1971297"/>
              <a:gd name="connsiteY16" fmla="*/ 986621 h 1970826"/>
              <a:gd name="connsiteX17" fmla="*/ 985649 w 1971297"/>
              <a:gd name="connsiteY17" fmla="*/ 1649689 h 1970826"/>
              <a:gd name="connsiteX18" fmla="*/ 1648717 w 1971297"/>
              <a:gd name="connsiteY18" fmla="*/ 986621 h 1970826"/>
              <a:gd name="connsiteX19" fmla="*/ 985649 w 1971297"/>
              <a:gd name="connsiteY19" fmla="*/ 323553 h 1970826"/>
              <a:gd name="connsiteX20" fmla="*/ 904928 w 1971297"/>
              <a:gd name="connsiteY20" fmla="*/ 0 h 1970826"/>
              <a:gd name="connsiteX21" fmla="*/ 1066369 w 1971297"/>
              <a:gd name="connsiteY21" fmla="*/ 0 h 1970826"/>
              <a:gd name="connsiteX22" fmla="*/ 1101456 w 1971297"/>
              <a:gd name="connsiteY22" fmla="*/ 199018 h 1970826"/>
              <a:gd name="connsiteX23" fmla="*/ 1149113 w 1971297"/>
              <a:gd name="connsiteY23" fmla="*/ 208521 h 1970826"/>
              <a:gd name="connsiteX24" fmla="*/ 1245734 w 1971297"/>
              <a:gd name="connsiteY24" fmla="*/ 36367 h 1970826"/>
              <a:gd name="connsiteX25" fmla="*/ 1396309 w 1971297"/>
              <a:gd name="connsiteY25" fmla="*/ 90716 h 1970826"/>
              <a:gd name="connsiteX26" fmla="*/ 1364293 w 1971297"/>
              <a:gd name="connsiteY26" fmla="*/ 287523 h 1970826"/>
              <a:gd name="connsiteX27" fmla="*/ 1403197 w 1971297"/>
              <a:gd name="connsiteY27" fmla="*/ 308843 h 1970826"/>
              <a:gd name="connsiteX28" fmla="*/ 1558001 w 1971297"/>
              <a:gd name="connsiteY28" fmla="*/ 178940 h 1970826"/>
              <a:gd name="connsiteX29" fmla="*/ 1681671 w 1971297"/>
              <a:gd name="connsiteY29" fmla="*/ 282712 h 1970826"/>
              <a:gd name="connsiteX30" fmla="*/ 1580623 w 1971297"/>
              <a:gd name="connsiteY30" fmla="*/ 457722 h 1970826"/>
              <a:gd name="connsiteX31" fmla="*/ 1610608 w 1971297"/>
              <a:gd name="connsiteY31" fmla="*/ 499270 h 1970826"/>
              <a:gd name="connsiteX32" fmla="*/ 1802874 w 1971297"/>
              <a:gd name="connsiteY32" fmla="*/ 433067 h 1970826"/>
              <a:gd name="connsiteX33" fmla="*/ 1881963 w 1971297"/>
              <a:gd name="connsiteY33" fmla="*/ 572248 h 1970826"/>
              <a:gd name="connsiteX34" fmla="*/ 1726590 w 1971297"/>
              <a:gd name="connsiteY34" fmla="*/ 698353 h 1970826"/>
              <a:gd name="connsiteX35" fmla="*/ 1741176 w 1971297"/>
              <a:gd name="connsiteY35" fmla="*/ 735808 h 1970826"/>
              <a:gd name="connsiteX36" fmla="*/ 1943264 w 1971297"/>
              <a:gd name="connsiteY36" fmla="*/ 735802 h 1970826"/>
              <a:gd name="connsiteX37" fmla="*/ 1971297 w 1971297"/>
              <a:gd name="connsiteY37" fmla="*/ 894790 h 1970826"/>
              <a:gd name="connsiteX38" fmla="*/ 1781396 w 1971297"/>
              <a:gd name="connsiteY38" fmla="*/ 963903 h 1970826"/>
              <a:gd name="connsiteX39" fmla="*/ 1780264 w 1971297"/>
              <a:gd name="connsiteY39" fmla="*/ 1014677 h 1970826"/>
              <a:gd name="connsiteX40" fmla="*/ 1969010 w 1971297"/>
              <a:gd name="connsiteY40" fmla="*/ 1087130 h 1970826"/>
              <a:gd name="connsiteX41" fmla="*/ 1940132 w 1971297"/>
              <a:gd name="connsiteY41" fmla="*/ 1244586 h 1970826"/>
              <a:gd name="connsiteX42" fmla="*/ 1738798 w 1971297"/>
              <a:gd name="connsiteY42" fmla="*/ 1241295 h 1970826"/>
              <a:gd name="connsiteX43" fmla="*/ 1725636 w 1971297"/>
              <a:gd name="connsiteY43" fmla="*/ 1280130 h 1970826"/>
              <a:gd name="connsiteX44" fmla="*/ 1880447 w 1971297"/>
              <a:gd name="connsiteY44" fmla="*/ 1410026 h 1970826"/>
              <a:gd name="connsiteX45" fmla="*/ 1799727 w 1971297"/>
              <a:gd name="connsiteY45" fmla="*/ 1549837 h 1970826"/>
              <a:gd name="connsiteX46" fmla="*/ 1609829 w 1971297"/>
              <a:gd name="connsiteY46" fmla="*/ 1480714 h 1970826"/>
              <a:gd name="connsiteX47" fmla="*/ 1579151 w 1971297"/>
              <a:gd name="connsiteY47" fmla="*/ 1512281 h 1970826"/>
              <a:gd name="connsiteX48" fmla="*/ 1677610 w 1971297"/>
              <a:gd name="connsiteY48" fmla="*/ 1689905 h 1970826"/>
              <a:gd name="connsiteX49" fmla="*/ 1554277 w 1971297"/>
              <a:gd name="connsiteY49" fmla="*/ 1791961 h 1970826"/>
              <a:gd name="connsiteX50" fmla="*/ 1402854 w 1971297"/>
              <a:gd name="connsiteY50" fmla="*/ 1660626 h 1970826"/>
              <a:gd name="connsiteX51" fmla="*/ 1363848 w 1971297"/>
              <a:gd name="connsiteY51" fmla="*/ 1687117 h 1970826"/>
              <a:gd name="connsiteX52" fmla="*/ 1398945 w 1971297"/>
              <a:gd name="connsiteY52" fmla="*/ 1886133 h 1970826"/>
              <a:gd name="connsiteX53" fmla="*/ 1247240 w 1971297"/>
              <a:gd name="connsiteY53" fmla="*/ 1941349 h 1970826"/>
              <a:gd name="connsiteX54" fmla="*/ 1146202 w 1971297"/>
              <a:gd name="connsiteY54" fmla="*/ 1766334 h 1970826"/>
              <a:gd name="connsiteX55" fmla="*/ 1100680 w 1971297"/>
              <a:gd name="connsiteY55" fmla="*/ 1773318 h 1970826"/>
              <a:gd name="connsiteX56" fmla="*/ 1062288 w 1971297"/>
              <a:gd name="connsiteY56" fmla="*/ 1970826 h 1970826"/>
              <a:gd name="connsiteX57" fmla="*/ 902210 w 1971297"/>
              <a:gd name="connsiteY57" fmla="*/ 1969728 h 1970826"/>
              <a:gd name="connsiteX58" fmla="*/ 870884 w 1971297"/>
              <a:gd name="connsiteY58" fmla="*/ 1773359 h 1970826"/>
              <a:gd name="connsiteX59" fmla="*/ 825096 w 1971297"/>
              <a:gd name="connsiteY59" fmla="*/ 1766334 h 1970826"/>
              <a:gd name="connsiteX60" fmla="*/ 724057 w 1971297"/>
              <a:gd name="connsiteY60" fmla="*/ 1941349 h 1970826"/>
              <a:gd name="connsiteX61" fmla="*/ 572352 w 1971297"/>
              <a:gd name="connsiteY61" fmla="*/ 1886133 h 1970826"/>
              <a:gd name="connsiteX62" fmla="*/ 607450 w 1971297"/>
              <a:gd name="connsiteY62" fmla="*/ 1687117 h 1970826"/>
              <a:gd name="connsiteX63" fmla="*/ 571181 w 1971297"/>
              <a:gd name="connsiteY63" fmla="*/ 1662485 h 1970826"/>
              <a:gd name="connsiteX64" fmla="*/ 421150 w 1971297"/>
              <a:gd name="connsiteY64" fmla="*/ 1792613 h 1970826"/>
              <a:gd name="connsiteX65" fmla="*/ 297817 w 1971297"/>
              <a:gd name="connsiteY65" fmla="*/ 1690557 h 1970826"/>
              <a:gd name="connsiteX66" fmla="*/ 395006 w 1971297"/>
              <a:gd name="connsiteY66" fmla="*/ 1515223 h 1970826"/>
              <a:gd name="connsiteX67" fmla="*/ 361468 w 1971297"/>
              <a:gd name="connsiteY67" fmla="*/ 1480715 h 1970826"/>
              <a:gd name="connsiteX68" fmla="*/ 171570 w 1971297"/>
              <a:gd name="connsiteY68" fmla="*/ 1549837 h 1970826"/>
              <a:gd name="connsiteX69" fmla="*/ 90850 w 1971297"/>
              <a:gd name="connsiteY69" fmla="*/ 1410026 h 1970826"/>
              <a:gd name="connsiteX70" fmla="*/ 245661 w 1971297"/>
              <a:gd name="connsiteY70" fmla="*/ 1280131 h 1970826"/>
              <a:gd name="connsiteX71" fmla="*/ 233972 w 1971297"/>
              <a:gd name="connsiteY71" fmla="*/ 1245643 h 1970826"/>
              <a:gd name="connsiteX72" fmla="*/ 31451 w 1971297"/>
              <a:gd name="connsiteY72" fmla="*/ 1248953 h 1970826"/>
              <a:gd name="connsiteX73" fmla="*/ 2573 w 1971297"/>
              <a:gd name="connsiteY73" fmla="*/ 1091497 h 1970826"/>
              <a:gd name="connsiteX74" fmla="*/ 191133 w 1971297"/>
              <a:gd name="connsiteY74" fmla="*/ 1019115 h 1970826"/>
              <a:gd name="connsiteX75" fmla="*/ 189902 w 1971297"/>
              <a:gd name="connsiteY75" fmla="*/ 963904 h 1970826"/>
              <a:gd name="connsiteX76" fmla="*/ 0 w 1971297"/>
              <a:gd name="connsiteY76" fmla="*/ 894790 h 1970826"/>
              <a:gd name="connsiteX77" fmla="*/ 28034 w 1971297"/>
              <a:gd name="connsiteY77" fmla="*/ 735802 h 1970826"/>
              <a:gd name="connsiteX78" fmla="*/ 230121 w 1971297"/>
              <a:gd name="connsiteY78" fmla="*/ 735808 h 1970826"/>
              <a:gd name="connsiteX79" fmla="*/ 240919 w 1971297"/>
              <a:gd name="connsiteY79" fmla="*/ 708079 h 1970826"/>
              <a:gd name="connsiteX80" fmla="*/ 84936 w 1971297"/>
              <a:gd name="connsiteY80" fmla="*/ 585933 h 1970826"/>
              <a:gd name="connsiteX81" fmla="*/ 161584 w 1971297"/>
              <a:gd name="connsiteY81" fmla="*/ 445393 h 1970826"/>
              <a:gd name="connsiteX82" fmla="*/ 354366 w 1971297"/>
              <a:gd name="connsiteY82" fmla="*/ 508031 h 1970826"/>
              <a:gd name="connsiteX83" fmla="*/ 390674 w 1971297"/>
              <a:gd name="connsiteY83" fmla="*/ 457722 h 1970826"/>
              <a:gd name="connsiteX84" fmla="*/ 289626 w 1971297"/>
              <a:gd name="connsiteY84" fmla="*/ 282712 h 1970826"/>
              <a:gd name="connsiteX85" fmla="*/ 413297 w 1971297"/>
              <a:gd name="connsiteY85" fmla="*/ 178940 h 1970826"/>
              <a:gd name="connsiteX86" fmla="*/ 568101 w 1971297"/>
              <a:gd name="connsiteY86" fmla="*/ 308843 h 1970826"/>
              <a:gd name="connsiteX87" fmla="*/ 611018 w 1971297"/>
              <a:gd name="connsiteY87" fmla="*/ 285324 h 1970826"/>
              <a:gd name="connsiteX88" fmla="*/ 576674 w 1971297"/>
              <a:gd name="connsiteY88" fmla="*/ 89277 h 1970826"/>
              <a:gd name="connsiteX89" fmla="*/ 727674 w 1971297"/>
              <a:gd name="connsiteY89" fmla="*/ 36123 h 1970826"/>
              <a:gd name="connsiteX90" fmla="*/ 826689 w 1971297"/>
              <a:gd name="connsiteY90" fmla="*/ 207623 h 1970826"/>
              <a:gd name="connsiteX91" fmla="*/ 869841 w 1971297"/>
              <a:gd name="connsiteY91" fmla="*/ 199018 h 1970826"/>
              <a:gd name="connsiteX92" fmla="*/ 904928 w 1971297"/>
              <a:gd name="connsiteY92" fmla="*/ 0 h 1970826"/>
              <a:gd name="connsiteX0" fmla="*/ 1773168 w 1971297"/>
              <a:gd name="connsiteY0" fmla="*/ 1096396 h 1970826"/>
              <a:gd name="connsiteX1" fmla="*/ 1771186 w 1971297"/>
              <a:gd name="connsiteY1" fmla="*/ 1112322 h 1970826"/>
              <a:gd name="connsiteX2" fmla="*/ 1772526 w 1971297"/>
              <a:gd name="connsiteY2" fmla="*/ 1106190 h 1970826"/>
              <a:gd name="connsiteX3" fmla="*/ 1773168 w 1971297"/>
              <a:gd name="connsiteY3" fmla="*/ 1096396 h 1970826"/>
              <a:gd name="connsiteX4" fmla="*/ 198126 w 1971297"/>
              <a:gd name="connsiteY4" fmla="*/ 1096370 h 1970826"/>
              <a:gd name="connsiteX5" fmla="*/ 199057 w 1971297"/>
              <a:gd name="connsiteY5" fmla="*/ 1110557 h 1970826"/>
              <a:gd name="connsiteX6" fmla="*/ 200997 w 1971297"/>
              <a:gd name="connsiteY6" fmla="*/ 1119440 h 1970826"/>
              <a:gd name="connsiteX7" fmla="*/ 198126 w 1971297"/>
              <a:gd name="connsiteY7" fmla="*/ 1096370 h 1970826"/>
              <a:gd name="connsiteX8" fmla="*/ 1658502 w 1971297"/>
              <a:gd name="connsiteY8" fmla="*/ 565633 h 1970826"/>
              <a:gd name="connsiteX9" fmla="*/ 1664864 w 1971297"/>
              <a:gd name="connsiteY9" fmla="*/ 574448 h 1970826"/>
              <a:gd name="connsiteX10" fmla="*/ 1664611 w 1971297"/>
              <a:gd name="connsiteY10" fmla="*/ 573966 h 1970826"/>
              <a:gd name="connsiteX11" fmla="*/ 1658502 w 1971297"/>
              <a:gd name="connsiteY11" fmla="*/ 565633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89" fmla="*/ 904928 w 1971297"/>
              <a:gd name="connsiteY89" fmla="*/ 0 h 1970826"/>
              <a:gd name="connsiteX0" fmla="*/ 1772526 w 1971297"/>
              <a:gd name="connsiteY0" fmla="*/ 1106190 h 1970826"/>
              <a:gd name="connsiteX1" fmla="*/ 1771186 w 1971297"/>
              <a:gd name="connsiteY1" fmla="*/ 1112322 h 1970826"/>
              <a:gd name="connsiteX2" fmla="*/ 1772526 w 1971297"/>
              <a:gd name="connsiteY2" fmla="*/ 1106190 h 1970826"/>
              <a:gd name="connsiteX3" fmla="*/ 198126 w 1971297"/>
              <a:gd name="connsiteY3" fmla="*/ 1096370 h 1970826"/>
              <a:gd name="connsiteX4" fmla="*/ 199057 w 1971297"/>
              <a:gd name="connsiteY4" fmla="*/ 1110557 h 1970826"/>
              <a:gd name="connsiteX5" fmla="*/ 200997 w 1971297"/>
              <a:gd name="connsiteY5" fmla="*/ 1119440 h 1970826"/>
              <a:gd name="connsiteX6" fmla="*/ 198126 w 1971297"/>
              <a:gd name="connsiteY6" fmla="*/ 1096370 h 1970826"/>
              <a:gd name="connsiteX7" fmla="*/ 1658502 w 1971297"/>
              <a:gd name="connsiteY7" fmla="*/ 565633 h 1970826"/>
              <a:gd name="connsiteX8" fmla="*/ 1664864 w 1971297"/>
              <a:gd name="connsiteY8" fmla="*/ 574448 h 1970826"/>
              <a:gd name="connsiteX9" fmla="*/ 1664611 w 1971297"/>
              <a:gd name="connsiteY9" fmla="*/ 573966 h 1970826"/>
              <a:gd name="connsiteX10" fmla="*/ 1658502 w 1971297"/>
              <a:gd name="connsiteY10" fmla="*/ 565633 h 1970826"/>
              <a:gd name="connsiteX11" fmla="*/ 985649 w 1971297"/>
              <a:gd name="connsiteY11" fmla="*/ 323553 h 1970826"/>
              <a:gd name="connsiteX12" fmla="*/ 322581 w 1971297"/>
              <a:gd name="connsiteY12" fmla="*/ 986621 h 1970826"/>
              <a:gd name="connsiteX13" fmla="*/ 985649 w 1971297"/>
              <a:gd name="connsiteY13" fmla="*/ 1649689 h 1970826"/>
              <a:gd name="connsiteX14" fmla="*/ 1648717 w 1971297"/>
              <a:gd name="connsiteY14" fmla="*/ 986621 h 1970826"/>
              <a:gd name="connsiteX15" fmla="*/ 985649 w 1971297"/>
              <a:gd name="connsiteY15" fmla="*/ 323553 h 1970826"/>
              <a:gd name="connsiteX16" fmla="*/ 904928 w 1971297"/>
              <a:gd name="connsiteY16" fmla="*/ 0 h 1970826"/>
              <a:gd name="connsiteX17" fmla="*/ 1066369 w 1971297"/>
              <a:gd name="connsiteY17" fmla="*/ 0 h 1970826"/>
              <a:gd name="connsiteX18" fmla="*/ 1101456 w 1971297"/>
              <a:gd name="connsiteY18" fmla="*/ 199018 h 1970826"/>
              <a:gd name="connsiteX19" fmla="*/ 1149113 w 1971297"/>
              <a:gd name="connsiteY19" fmla="*/ 208521 h 1970826"/>
              <a:gd name="connsiteX20" fmla="*/ 1245734 w 1971297"/>
              <a:gd name="connsiteY20" fmla="*/ 36367 h 1970826"/>
              <a:gd name="connsiteX21" fmla="*/ 1396309 w 1971297"/>
              <a:gd name="connsiteY21" fmla="*/ 90716 h 1970826"/>
              <a:gd name="connsiteX22" fmla="*/ 1364293 w 1971297"/>
              <a:gd name="connsiteY22" fmla="*/ 287523 h 1970826"/>
              <a:gd name="connsiteX23" fmla="*/ 1403197 w 1971297"/>
              <a:gd name="connsiteY23" fmla="*/ 308843 h 1970826"/>
              <a:gd name="connsiteX24" fmla="*/ 1558001 w 1971297"/>
              <a:gd name="connsiteY24" fmla="*/ 178940 h 1970826"/>
              <a:gd name="connsiteX25" fmla="*/ 1681671 w 1971297"/>
              <a:gd name="connsiteY25" fmla="*/ 282712 h 1970826"/>
              <a:gd name="connsiteX26" fmla="*/ 1580623 w 1971297"/>
              <a:gd name="connsiteY26" fmla="*/ 457722 h 1970826"/>
              <a:gd name="connsiteX27" fmla="*/ 1610608 w 1971297"/>
              <a:gd name="connsiteY27" fmla="*/ 499270 h 1970826"/>
              <a:gd name="connsiteX28" fmla="*/ 1802874 w 1971297"/>
              <a:gd name="connsiteY28" fmla="*/ 433067 h 1970826"/>
              <a:gd name="connsiteX29" fmla="*/ 1881963 w 1971297"/>
              <a:gd name="connsiteY29" fmla="*/ 572248 h 1970826"/>
              <a:gd name="connsiteX30" fmla="*/ 1726590 w 1971297"/>
              <a:gd name="connsiteY30" fmla="*/ 698353 h 1970826"/>
              <a:gd name="connsiteX31" fmla="*/ 1741176 w 1971297"/>
              <a:gd name="connsiteY31" fmla="*/ 735808 h 1970826"/>
              <a:gd name="connsiteX32" fmla="*/ 1943264 w 1971297"/>
              <a:gd name="connsiteY32" fmla="*/ 735802 h 1970826"/>
              <a:gd name="connsiteX33" fmla="*/ 1971297 w 1971297"/>
              <a:gd name="connsiteY33" fmla="*/ 894790 h 1970826"/>
              <a:gd name="connsiteX34" fmla="*/ 1781396 w 1971297"/>
              <a:gd name="connsiteY34" fmla="*/ 963903 h 1970826"/>
              <a:gd name="connsiteX35" fmla="*/ 1780264 w 1971297"/>
              <a:gd name="connsiteY35" fmla="*/ 1014677 h 1970826"/>
              <a:gd name="connsiteX36" fmla="*/ 1969010 w 1971297"/>
              <a:gd name="connsiteY36" fmla="*/ 1087130 h 1970826"/>
              <a:gd name="connsiteX37" fmla="*/ 1940132 w 1971297"/>
              <a:gd name="connsiteY37" fmla="*/ 1244586 h 1970826"/>
              <a:gd name="connsiteX38" fmla="*/ 1738798 w 1971297"/>
              <a:gd name="connsiteY38" fmla="*/ 1241295 h 1970826"/>
              <a:gd name="connsiteX39" fmla="*/ 1725636 w 1971297"/>
              <a:gd name="connsiteY39" fmla="*/ 1280130 h 1970826"/>
              <a:gd name="connsiteX40" fmla="*/ 1880447 w 1971297"/>
              <a:gd name="connsiteY40" fmla="*/ 1410026 h 1970826"/>
              <a:gd name="connsiteX41" fmla="*/ 1799727 w 1971297"/>
              <a:gd name="connsiteY41" fmla="*/ 1549837 h 1970826"/>
              <a:gd name="connsiteX42" fmla="*/ 1609829 w 1971297"/>
              <a:gd name="connsiteY42" fmla="*/ 1480714 h 1970826"/>
              <a:gd name="connsiteX43" fmla="*/ 1579151 w 1971297"/>
              <a:gd name="connsiteY43" fmla="*/ 1512281 h 1970826"/>
              <a:gd name="connsiteX44" fmla="*/ 1677610 w 1971297"/>
              <a:gd name="connsiteY44" fmla="*/ 1689905 h 1970826"/>
              <a:gd name="connsiteX45" fmla="*/ 1554277 w 1971297"/>
              <a:gd name="connsiteY45" fmla="*/ 1791961 h 1970826"/>
              <a:gd name="connsiteX46" fmla="*/ 1402854 w 1971297"/>
              <a:gd name="connsiteY46" fmla="*/ 1660626 h 1970826"/>
              <a:gd name="connsiteX47" fmla="*/ 1363848 w 1971297"/>
              <a:gd name="connsiteY47" fmla="*/ 1687117 h 1970826"/>
              <a:gd name="connsiteX48" fmla="*/ 1398945 w 1971297"/>
              <a:gd name="connsiteY48" fmla="*/ 1886133 h 1970826"/>
              <a:gd name="connsiteX49" fmla="*/ 1247240 w 1971297"/>
              <a:gd name="connsiteY49" fmla="*/ 1941349 h 1970826"/>
              <a:gd name="connsiteX50" fmla="*/ 1146202 w 1971297"/>
              <a:gd name="connsiteY50" fmla="*/ 1766334 h 1970826"/>
              <a:gd name="connsiteX51" fmla="*/ 1100680 w 1971297"/>
              <a:gd name="connsiteY51" fmla="*/ 1773318 h 1970826"/>
              <a:gd name="connsiteX52" fmla="*/ 1062288 w 1971297"/>
              <a:gd name="connsiteY52" fmla="*/ 1970826 h 1970826"/>
              <a:gd name="connsiteX53" fmla="*/ 902210 w 1971297"/>
              <a:gd name="connsiteY53" fmla="*/ 1969728 h 1970826"/>
              <a:gd name="connsiteX54" fmla="*/ 870884 w 1971297"/>
              <a:gd name="connsiteY54" fmla="*/ 1773359 h 1970826"/>
              <a:gd name="connsiteX55" fmla="*/ 825096 w 1971297"/>
              <a:gd name="connsiteY55" fmla="*/ 1766334 h 1970826"/>
              <a:gd name="connsiteX56" fmla="*/ 724057 w 1971297"/>
              <a:gd name="connsiteY56" fmla="*/ 1941349 h 1970826"/>
              <a:gd name="connsiteX57" fmla="*/ 572352 w 1971297"/>
              <a:gd name="connsiteY57" fmla="*/ 1886133 h 1970826"/>
              <a:gd name="connsiteX58" fmla="*/ 607450 w 1971297"/>
              <a:gd name="connsiteY58" fmla="*/ 1687117 h 1970826"/>
              <a:gd name="connsiteX59" fmla="*/ 571181 w 1971297"/>
              <a:gd name="connsiteY59" fmla="*/ 1662485 h 1970826"/>
              <a:gd name="connsiteX60" fmla="*/ 421150 w 1971297"/>
              <a:gd name="connsiteY60" fmla="*/ 1792613 h 1970826"/>
              <a:gd name="connsiteX61" fmla="*/ 297817 w 1971297"/>
              <a:gd name="connsiteY61" fmla="*/ 1690557 h 1970826"/>
              <a:gd name="connsiteX62" fmla="*/ 395006 w 1971297"/>
              <a:gd name="connsiteY62" fmla="*/ 1515223 h 1970826"/>
              <a:gd name="connsiteX63" fmla="*/ 361468 w 1971297"/>
              <a:gd name="connsiteY63" fmla="*/ 1480715 h 1970826"/>
              <a:gd name="connsiteX64" fmla="*/ 171570 w 1971297"/>
              <a:gd name="connsiteY64" fmla="*/ 1549837 h 1970826"/>
              <a:gd name="connsiteX65" fmla="*/ 90850 w 1971297"/>
              <a:gd name="connsiteY65" fmla="*/ 1410026 h 1970826"/>
              <a:gd name="connsiteX66" fmla="*/ 245661 w 1971297"/>
              <a:gd name="connsiteY66" fmla="*/ 1280131 h 1970826"/>
              <a:gd name="connsiteX67" fmla="*/ 233972 w 1971297"/>
              <a:gd name="connsiteY67" fmla="*/ 1245643 h 1970826"/>
              <a:gd name="connsiteX68" fmla="*/ 31451 w 1971297"/>
              <a:gd name="connsiteY68" fmla="*/ 1248953 h 1970826"/>
              <a:gd name="connsiteX69" fmla="*/ 2573 w 1971297"/>
              <a:gd name="connsiteY69" fmla="*/ 1091497 h 1970826"/>
              <a:gd name="connsiteX70" fmla="*/ 191133 w 1971297"/>
              <a:gd name="connsiteY70" fmla="*/ 1019115 h 1970826"/>
              <a:gd name="connsiteX71" fmla="*/ 189902 w 1971297"/>
              <a:gd name="connsiteY71" fmla="*/ 963904 h 1970826"/>
              <a:gd name="connsiteX72" fmla="*/ 0 w 1971297"/>
              <a:gd name="connsiteY72" fmla="*/ 894790 h 1970826"/>
              <a:gd name="connsiteX73" fmla="*/ 28034 w 1971297"/>
              <a:gd name="connsiteY73" fmla="*/ 735802 h 1970826"/>
              <a:gd name="connsiteX74" fmla="*/ 230121 w 1971297"/>
              <a:gd name="connsiteY74" fmla="*/ 735808 h 1970826"/>
              <a:gd name="connsiteX75" fmla="*/ 240919 w 1971297"/>
              <a:gd name="connsiteY75" fmla="*/ 708079 h 1970826"/>
              <a:gd name="connsiteX76" fmla="*/ 84936 w 1971297"/>
              <a:gd name="connsiteY76" fmla="*/ 585933 h 1970826"/>
              <a:gd name="connsiteX77" fmla="*/ 161584 w 1971297"/>
              <a:gd name="connsiteY77" fmla="*/ 445393 h 1970826"/>
              <a:gd name="connsiteX78" fmla="*/ 354366 w 1971297"/>
              <a:gd name="connsiteY78" fmla="*/ 508031 h 1970826"/>
              <a:gd name="connsiteX79" fmla="*/ 390674 w 1971297"/>
              <a:gd name="connsiteY79" fmla="*/ 457722 h 1970826"/>
              <a:gd name="connsiteX80" fmla="*/ 289626 w 1971297"/>
              <a:gd name="connsiteY80" fmla="*/ 282712 h 1970826"/>
              <a:gd name="connsiteX81" fmla="*/ 413297 w 1971297"/>
              <a:gd name="connsiteY81" fmla="*/ 178940 h 1970826"/>
              <a:gd name="connsiteX82" fmla="*/ 568101 w 1971297"/>
              <a:gd name="connsiteY82" fmla="*/ 308843 h 1970826"/>
              <a:gd name="connsiteX83" fmla="*/ 611018 w 1971297"/>
              <a:gd name="connsiteY83" fmla="*/ 285324 h 1970826"/>
              <a:gd name="connsiteX84" fmla="*/ 576674 w 1971297"/>
              <a:gd name="connsiteY84" fmla="*/ 89277 h 1970826"/>
              <a:gd name="connsiteX85" fmla="*/ 727674 w 1971297"/>
              <a:gd name="connsiteY85" fmla="*/ 36123 h 1970826"/>
              <a:gd name="connsiteX86" fmla="*/ 826689 w 1971297"/>
              <a:gd name="connsiteY86" fmla="*/ 207623 h 1970826"/>
              <a:gd name="connsiteX87" fmla="*/ 869841 w 1971297"/>
              <a:gd name="connsiteY87" fmla="*/ 199018 h 1970826"/>
              <a:gd name="connsiteX88" fmla="*/ 904928 w 1971297"/>
              <a:gd name="connsiteY88" fmla="*/ 0 h 1970826"/>
              <a:gd name="connsiteX0" fmla="*/ 198126 w 1971297"/>
              <a:gd name="connsiteY0" fmla="*/ 1096370 h 1970826"/>
              <a:gd name="connsiteX1" fmla="*/ 199057 w 1971297"/>
              <a:gd name="connsiteY1" fmla="*/ 1110557 h 1970826"/>
              <a:gd name="connsiteX2" fmla="*/ 200997 w 1971297"/>
              <a:gd name="connsiteY2" fmla="*/ 1119440 h 1970826"/>
              <a:gd name="connsiteX3" fmla="*/ 198126 w 1971297"/>
              <a:gd name="connsiteY3" fmla="*/ 1096370 h 1970826"/>
              <a:gd name="connsiteX4" fmla="*/ 1658502 w 1971297"/>
              <a:gd name="connsiteY4" fmla="*/ 565633 h 1970826"/>
              <a:gd name="connsiteX5" fmla="*/ 1664864 w 1971297"/>
              <a:gd name="connsiteY5" fmla="*/ 574448 h 1970826"/>
              <a:gd name="connsiteX6" fmla="*/ 1664611 w 1971297"/>
              <a:gd name="connsiteY6" fmla="*/ 573966 h 1970826"/>
              <a:gd name="connsiteX7" fmla="*/ 1658502 w 1971297"/>
              <a:gd name="connsiteY7" fmla="*/ 565633 h 1970826"/>
              <a:gd name="connsiteX8" fmla="*/ 985649 w 1971297"/>
              <a:gd name="connsiteY8" fmla="*/ 323553 h 1970826"/>
              <a:gd name="connsiteX9" fmla="*/ 322581 w 1971297"/>
              <a:gd name="connsiteY9" fmla="*/ 986621 h 1970826"/>
              <a:gd name="connsiteX10" fmla="*/ 985649 w 1971297"/>
              <a:gd name="connsiteY10" fmla="*/ 1649689 h 1970826"/>
              <a:gd name="connsiteX11" fmla="*/ 1648717 w 1971297"/>
              <a:gd name="connsiteY11" fmla="*/ 986621 h 1970826"/>
              <a:gd name="connsiteX12" fmla="*/ 985649 w 1971297"/>
              <a:gd name="connsiteY12" fmla="*/ 323553 h 1970826"/>
              <a:gd name="connsiteX13" fmla="*/ 904928 w 1971297"/>
              <a:gd name="connsiteY13" fmla="*/ 0 h 1970826"/>
              <a:gd name="connsiteX14" fmla="*/ 1066369 w 1971297"/>
              <a:gd name="connsiteY14" fmla="*/ 0 h 1970826"/>
              <a:gd name="connsiteX15" fmla="*/ 1101456 w 1971297"/>
              <a:gd name="connsiteY15" fmla="*/ 199018 h 1970826"/>
              <a:gd name="connsiteX16" fmla="*/ 1149113 w 1971297"/>
              <a:gd name="connsiteY16" fmla="*/ 208521 h 1970826"/>
              <a:gd name="connsiteX17" fmla="*/ 1245734 w 1971297"/>
              <a:gd name="connsiteY17" fmla="*/ 36367 h 1970826"/>
              <a:gd name="connsiteX18" fmla="*/ 1396309 w 1971297"/>
              <a:gd name="connsiteY18" fmla="*/ 90716 h 1970826"/>
              <a:gd name="connsiteX19" fmla="*/ 1364293 w 1971297"/>
              <a:gd name="connsiteY19" fmla="*/ 287523 h 1970826"/>
              <a:gd name="connsiteX20" fmla="*/ 1403197 w 1971297"/>
              <a:gd name="connsiteY20" fmla="*/ 308843 h 1970826"/>
              <a:gd name="connsiteX21" fmla="*/ 1558001 w 1971297"/>
              <a:gd name="connsiteY21" fmla="*/ 178940 h 1970826"/>
              <a:gd name="connsiteX22" fmla="*/ 1681671 w 1971297"/>
              <a:gd name="connsiteY22" fmla="*/ 282712 h 1970826"/>
              <a:gd name="connsiteX23" fmla="*/ 1580623 w 1971297"/>
              <a:gd name="connsiteY23" fmla="*/ 457722 h 1970826"/>
              <a:gd name="connsiteX24" fmla="*/ 1610608 w 1971297"/>
              <a:gd name="connsiteY24" fmla="*/ 499270 h 1970826"/>
              <a:gd name="connsiteX25" fmla="*/ 1802874 w 1971297"/>
              <a:gd name="connsiteY25" fmla="*/ 433067 h 1970826"/>
              <a:gd name="connsiteX26" fmla="*/ 1881963 w 1971297"/>
              <a:gd name="connsiteY26" fmla="*/ 572248 h 1970826"/>
              <a:gd name="connsiteX27" fmla="*/ 1726590 w 1971297"/>
              <a:gd name="connsiteY27" fmla="*/ 698353 h 1970826"/>
              <a:gd name="connsiteX28" fmla="*/ 1741176 w 1971297"/>
              <a:gd name="connsiteY28" fmla="*/ 735808 h 1970826"/>
              <a:gd name="connsiteX29" fmla="*/ 1943264 w 1971297"/>
              <a:gd name="connsiteY29" fmla="*/ 735802 h 1970826"/>
              <a:gd name="connsiteX30" fmla="*/ 1971297 w 1971297"/>
              <a:gd name="connsiteY30" fmla="*/ 894790 h 1970826"/>
              <a:gd name="connsiteX31" fmla="*/ 1781396 w 1971297"/>
              <a:gd name="connsiteY31" fmla="*/ 963903 h 1970826"/>
              <a:gd name="connsiteX32" fmla="*/ 1780264 w 1971297"/>
              <a:gd name="connsiteY32" fmla="*/ 1014677 h 1970826"/>
              <a:gd name="connsiteX33" fmla="*/ 1969010 w 1971297"/>
              <a:gd name="connsiteY33" fmla="*/ 1087130 h 1970826"/>
              <a:gd name="connsiteX34" fmla="*/ 1940132 w 1971297"/>
              <a:gd name="connsiteY34" fmla="*/ 1244586 h 1970826"/>
              <a:gd name="connsiteX35" fmla="*/ 1738798 w 1971297"/>
              <a:gd name="connsiteY35" fmla="*/ 1241295 h 1970826"/>
              <a:gd name="connsiteX36" fmla="*/ 1725636 w 1971297"/>
              <a:gd name="connsiteY36" fmla="*/ 1280130 h 1970826"/>
              <a:gd name="connsiteX37" fmla="*/ 1880447 w 1971297"/>
              <a:gd name="connsiteY37" fmla="*/ 1410026 h 1970826"/>
              <a:gd name="connsiteX38" fmla="*/ 1799727 w 1971297"/>
              <a:gd name="connsiteY38" fmla="*/ 1549837 h 1970826"/>
              <a:gd name="connsiteX39" fmla="*/ 1609829 w 1971297"/>
              <a:gd name="connsiteY39" fmla="*/ 1480714 h 1970826"/>
              <a:gd name="connsiteX40" fmla="*/ 1579151 w 1971297"/>
              <a:gd name="connsiteY40" fmla="*/ 1512281 h 1970826"/>
              <a:gd name="connsiteX41" fmla="*/ 1677610 w 1971297"/>
              <a:gd name="connsiteY41" fmla="*/ 1689905 h 1970826"/>
              <a:gd name="connsiteX42" fmla="*/ 1554277 w 1971297"/>
              <a:gd name="connsiteY42" fmla="*/ 1791961 h 1970826"/>
              <a:gd name="connsiteX43" fmla="*/ 1402854 w 1971297"/>
              <a:gd name="connsiteY43" fmla="*/ 1660626 h 1970826"/>
              <a:gd name="connsiteX44" fmla="*/ 1363848 w 1971297"/>
              <a:gd name="connsiteY44" fmla="*/ 1687117 h 1970826"/>
              <a:gd name="connsiteX45" fmla="*/ 1398945 w 1971297"/>
              <a:gd name="connsiteY45" fmla="*/ 1886133 h 1970826"/>
              <a:gd name="connsiteX46" fmla="*/ 1247240 w 1971297"/>
              <a:gd name="connsiteY46" fmla="*/ 1941349 h 1970826"/>
              <a:gd name="connsiteX47" fmla="*/ 1146202 w 1971297"/>
              <a:gd name="connsiteY47" fmla="*/ 1766334 h 1970826"/>
              <a:gd name="connsiteX48" fmla="*/ 1100680 w 1971297"/>
              <a:gd name="connsiteY48" fmla="*/ 1773318 h 1970826"/>
              <a:gd name="connsiteX49" fmla="*/ 1062288 w 1971297"/>
              <a:gd name="connsiteY49" fmla="*/ 1970826 h 1970826"/>
              <a:gd name="connsiteX50" fmla="*/ 902210 w 1971297"/>
              <a:gd name="connsiteY50" fmla="*/ 1969728 h 1970826"/>
              <a:gd name="connsiteX51" fmla="*/ 870884 w 1971297"/>
              <a:gd name="connsiteY51" fmla="*/ 1773359 h 1970826"/>
              <a:gd name="connsiteX52" fmla="*/ 825096 w 1971297"/>
              <a:gd name="connsiteY52" fmla="*/ 1766334 h 1970826"/>
              <a:gd name="connsiteX53" fmla="*/ 724057 w 1971297"/>
              <a:gd name="connsiteY53" fmla="*/ 1941349 h 1970826"/>
              <a:gd name="connsiteX54" fmla="*/ 572352 w 1971297"/>
              <a:gd name="connsiteY54" fmla="*/ 1886133 h 1970826"/>
              <a:gd name="connsiteX55" fmla="*/ 607450 w 1971297"/>
              <a:gd name="connsiteY55" fmla="*/ 1687117 h 1970826"/>
              <a:gd name="connsiteX56" fmla="*/ 571181 w 1971297"/>
              <a:gd name="connsiteY56" fmla="*/ 1662485 h 1970826"/>
              <a:gd name="connsiteX57" fmla="*/ 421150 w 1971297"/>
              <a:gd name="connsiteY57" fmla="*/ 1792613 h 1970826"/>
              <a:gd name="connsiteX58" fmla="*/ 297817 w 1971297"/>
              <a:gd name="connsiteY58" fmla="*/ 1690557 h 1970826"/>
              <a:gd name="connsiteX59" fmla="*/ 395006 w 1971297"/>
              <a:gd name="connsiteY59" fmla="*/ 1515223 h 1970826"/>
              <a:gd name="connsiteX60" fmla="*/ 361468 w 1971297"/>
              <a:gd name="connsiteY60" fmla="*/ 1480715 h 1970826"/>
              <a:gd name="connsiteX61" fmla="*/ 171570 w 1971297"/>
              <a:gd name="connsiteY61" fmla="*/ 1549837 h 1970826"/>
              <a:gd name="connsiteX62" fmla="*/ 90850 w 1971297"/>
              <a:gd name="connsiteY62" fmla="*/ 1410026 h 1970826"/>
              <a:gd name="connsiteX63" fmla="*/ 245661 w 1971297"/>
              <a:gd name="connsiteY63" fmla="*/ 1280131 h 1970826"/>
              <a:gd name="connsiteX64" fmla="*/ 233972 w 1971297"/>
              <a:gd name="connsiteY64" fmla="*/ 1245643 h 1970826"/>
              <a:gd name="connsiteX65" fmla="*/ 31451 w 1971297"/>
              <a:gd name="connsiteY65" fmla="*/ 1248953 h 1970826"/>
              <a:gd name="connsiteX66" fmla="*/ 2573 w 1971297"/>
              <a:gd name="connsiteY66" fmla="*/ 1091497 h 1970826"/>
              <a:gd name="connsiteX67" fmla="*/ 191133 w 1971297"/>
              <a:gd name="connsiteY67" fmla="*/ 1019115 h 1970826"/>
              <a:gd name="connsiteX68" fmla="*/ 189902 w 1971297"/>
              <a:gd name="connsiteY68" fmla="*/ 963904 h 1970826"/>
              <a:gd name="connsiteX69" fmla="*/ 0 w 1971297"/>
              <a:gd name="connsiteY69" fmla="*/ 894790 h 1970826"/>
              <a:gd name="connsiteX70" fmla="*/ 28034 w 1971297"/>
              <a:gd name="connsiteY70" fmla="*/ 735802 h 1970826"/>
              <a:gd name="connsiteX71" fmla="*/ 230121 w 1971297"/>
              <a:gd name="connsiteY71" fmla="*/ 735808 h 1970826"/>
              <a:gd name="connsiteX72" fmla="*/ 240919 w 1971297"/>
              <a:gd name="connsiteY72" fmla="*/ 708079 h 1970826"/>
              <a:gd name="connsiteX73" fmla="*/ 84936 w 1971297"/>
              <a:gd name="connsiteY73" fmla="*/ 585933 h 1970826"/>
              <a:gd name="connsiteX74" fmla="*/ 161584 w 1971297"/>
              <a:gd name="connsiteY74" fmla="*/ 445393 h 1970826"/>
              <a:gd name="connsiteX75" fmla="*/ 354366 w 1971297"/>
              <a:gd name="connsiteY75" fmla="*/ 508031 h 1970826"/>
              <a:gd name="connsiteX76" fmla="*/ 390674 w 1971297"/>
              <a:gd name="connsiteY76" fmla="*/ 457722 h 1970826"/>
              <a:gd name="connsiteX77" fmla="*/ 289626 w 1971297"/>
              <a:gd name="connsiteY77" fmla="*/ 282712 h 1970826"/>
              <a:gd name="connsiteX78" fmla="*/ 413297 w 1971297"/>
              <a:gd name="connsiteY78" fmla="*/ 178940 h 1970826"/>
              <a:gd name="connsiteX79" fmla="*/ 568101 w 1971297"/>
              <a:gd name="connsiteY79" fmla="*/ 308843 h 1970826"/>
              <a:gd name="connsiteX80" fmla="*/ 611018 w 1971297"/>
              <a:gd name="connsiteY80" fmla="*/ 285324 h 1970826"/>
              <a:gd name="connsiteX81" fmla="*/ 576674 w 1971297"/>
              <a:gd name="connsiteY81" fmla="*/ 89277 h 1970826"/>
              <a:gd name="connsiteX82" fmla="*/ 727674 w 1971297"/>
              <a:gd name="connsiteY82" fmla="*/ 36123 h 1970826"/>
              <a:gd name="connsiteX83" fmla="*/ 826689 w 1971297"/>
              <a:gd name="connsiteY83" fmla="*/ 207623 h 1970826"/>
              <a:gd name="connsiteX84" fmla="*/ 869841 w 1971297"/>
              <a:gd name="connsiteY84" fmla="*/ 199018 h 1970826"/>
              <a:gd name="connsiteX85" fmla="*/ 904928 w 1971297"/>
              <a:gd name="connsiteY85" fmla="*/ 0 h 1970826"/>
              <a:gd name="connsiteX0" fmla="*/ 198126 w 1971297"/>
              <a:gd name="connsiteY0" fmla="*/ 1096370 h 1970826"/>
              <a:gd name="connsiteX1" fmla="*/ 199057 w 1971297"/>
              <a:gd name="connsiteY1" fmla="*/ 1110557 h 1970826"/>
              <a:gd name="connsiteX2" fmla="*/ 198126 w 1971297"/>
              <a:gd name="connsiteY2" fmla="*/ 1096370 h 1970826"/>
              <a:gd name="connsiteX3" fmla="*/ 1658502 w 1971297"/>
              <a:gd name="connsiteY3" fmla="*/ 565633 h 1970826"/>
              <a:gd name="connsiteX4" fmla="*/ 1664864 w 1971297"/>
              <a:gd name="connsiteY4" fmla="*/ 574448 h 1970826"/>
              <a:gd name="connsiteX5" fmla="*/ 1664611 w 1971297"/>
              <a:gd name="connsiteY5" fmla="*/ 573966 h 1970826"/>
              <a:gd name="connsiteX6" fmla="*/ 1658502 w 1971297"/>
              <a:gd name="connsiteY6" fmla="*/ 565633 h 1970826"/>
              <a:gd name="connsiteX7" fmla="*/ 985649 w 1971297"/>
              <a:gd name="connsiteY7" fmla="*/ 323553 h 1970826"/>
              <a:gd name="connsiteX8" fmla="*/ 322581 w 1971297"/>
              <a:gd name="connsiteY8" fmla="*/ 986621 h 1970826"/>
              <a:gd name="connsiteX9" fmla="*/ 985649 w 1971297"/>
              <a:gd name="connsiteY9" fmla="*/ 1649689 h 1970826"/>
              <a:gd name="connsiteX10" fmla="*/ 1648717 w 1971297"/>
              <a:gd name="connsiteY10" fmla="*/ 986621 h 1970826"/>
              <a:gd name="connsiteX11" fmla="*/ 985649 w 1971297"/>
              <a:gd name="connsiteY11" fmla="*/ 323553 h 1970826"/>
              <a:gd name="connsiteX12" fmla="*/ 904928 w 1971297"/>
              <a:gd name="connsiteY12" fmla="*/ 0 h 1970826"/>
              <a:gd name="connsiteX13" fmla="*/ 1066369 w 1971297"/>
              <a:gd name="connsiteY13" fmla="*/ 0 h 1970826"/>
              <a:gd name="connsiteX14" fmla="*/ 1101456 w 1971297"/>
              <a:gd name="connsiteY14" fmla="*/ 199018 h 1970826"/>
              <a:gd name="connsiteX15" fmla="*/ 1149113 w 1971297"/>
              <a:gd name="connsiteY15" fmla="*/ 208521 h 1970826"/>
              <a:gd name="connsiteX16" fmla="*/ 1245734 w 1971297"/>
              <a:gd name="connsiteY16" fmla="*/ 36367 h 1970826"/>
              <a:gd name="connsiteX17" fmla="*/ 1396309 w 1971297"/>
              <a:gd name="connsiteY17" fmla="*/ 90716 h 1970826"/>
              <a:gd name="connsiteX18" fmla="*/ 1364293 w 1971297"/>
              <a:gd name="connsiteY18" fmla="*/ 287523 h 1970826"/>
              <a:gd name="connsiteX19" fmla="*/ 1403197 w 1971297"/>
              <a:gd name="connsiteY19" fmla="*/ 308843 h 1970826"/>
              <a:gd name="connsiteX20" fmla="*/ 1558001 w 1971297"/>
              <a:gd name="connsiteY20" fmla="*/ 178940 h 1970826"/>
              <a:gd name="connsiteX21" fmla="*/ 1681671 w 1971297"/>
              <a:gd name="connsiteY21" fmla="*/ 282712 h 1970826"/>
              <a:gd name="connsiteX22" fmla="*/ 1580623 w 1971297"/>
              <a:gd name="connsiteY22" fmla="*/ 457722 h 1970826"/>
              <a:gd name="connsiteX23" fmla="*/ 1610608 w 1971297"/>
              <a:gd name="connsiteY23" fmla="*/ 499270 h 1970826"/>
              <a:gd name="connsiteX24" fmla="*/ 1802874 w 1971297"/>
              <a:gd name="connsiteY24" fmla="*/ 433067 h 1970826"/>
              <a:gd name="connsiteX25" fmla="*/ 1881963 w 1971297"/>
              <a:gd name="connsiteY25" fmla="*/ 572248 h 1970826"/>
              <a:gd name="connsiteX26" fmla="*/ 1726590 w 1971297"/>
              <a:gd name="connsiteY26" fmla="*/ 698353 h 1970826"/>
              <a:gd name="connsiteX27" fmla="*/ 1741176 w 1971297"/>
              <a:gd name="connsiteY27" fmla="*/ 735808 h 1970826"/>
              <a:gd name="connsiteX28" fmla="*/ 1943264 w 1971297"/>
              <a:gd name="connsiteY28" fmla="*/ 735802 h 1970826"/>
              <a:gd name="connsiteX29" fmla="*/ 1971297 w 1971297"/>
              <a:gd name="connsiteY29" fmla="*/ 894790 h 1970826"/>
              <a:gd name="connsiteX30" fmla="*/ 1781396 w 1971297"/>
              <a:gd name="connsiteY30" fmla="*/ 963903 h 1970826"/>
              <a:gd name="connsiteX31" fmla="*/ 1780264 w 1971297"/>
              <a:gd name="connsiteY31" fmla="*/ 1014677 h 1970826"/>
              <a:gd name="connsiteX32" fmla="*/ 1969010 w 1971297"/>
              <a:gd name="connsiteY32" fmla="*/ 1087130 h 1970826"/>
              <a:gd name="connsiteX33" fmla="*/ 1940132 w 1971297"/>
              <a:gd name="connsiteY33" fmla="*/ 1244586 h 1970826"/>
              <a:gd name="connsiteX34" fmla="*/ 1738798 w 1971297"/>
              <a:gd name="connsiteY34" fmla="*/ 1241295 h 1970826"/>
              <a:gd name="connsiteX35" fmla="*/ 1725636 w 1971297"/>
              <a:gd name="connsiteY35" fmla="*/ 1280130 h 1970826"/>
              <a:gd name="connsiteX36" fmla="*/ 1880447 w 1971297"/>
              <a:gd name="connsiteY36" fmla="*/ 1410026 h 1970826"/>
              <a:gd name="connsiteX37" fmla="*/ 1799727 w 1971297"/>
              <a:gd name="connsiteY37" fmla="*/ 1549837 h 1970826"/>
              <a:gd name="connsiteX38" fmla="*/ 1609829 w 1971297"/>
              <a:gd name="connsiteY38" fmla="*/ 1480714 h 1970826"/>
              <a:gd name="connsiteX39" fmla="*/ 1579151 w 1971297"/>
              <a:gd name="connsiteY39" fmla="*/ 1512281 h 1970826"/>
              <a:gd name="connsiteX40" fmla="*/ 1677610 w 1971297"/>
              <a:gd name="connsiteY40" fmla="*/ 1689905 h 1970826"/>
              <a:gd name="connsiteX41" fmla="*/ 1554277 w 1971297"/>
              <a:gd name="connsiteY41" fmla="*/ 1791961 h 1970826"/>
              <a:gd name="connsiteX42" fmla="*/ 1402854 w 1971297"/>
              <a:gd name="connsiteY42" fmla="*/ 1660626 h 1970826"/>
              <a:gd name="connsiteX43" fmla="*/ 1363848 w 1971297"/>
              <a:gd name="connsiteY43" fmla="*/ 1687117 h 1970826"/>
              <a:gd name="connsiteX44" fmla="*/ 1398945 w 1971297"/>
              <a:gd name="connsiteY44" fmla="*/ 1886133 h 1970826"/>
              <a:gd name="connsiteX45" fmla="*/ 1247240 w 1971297"/>
              <a:gd name="connsiteY45" fmla="*/ 1941349 h 1970826"/>
              <a:gd name="connsiteX46" fmla="*/ 1146202 w 1971297"/>
              <a:gd name="connsiteY46" fmla="*/ 1766334 h 1970826"/>
              <a:gd name="connsiteX47" fmla="*/ 1100680 w 1971297"/>
              <a:gd name="connsiteY47" fmla="*/ 1773318 h 1970826"/>
              <a:gd name="connsiteX48" fmla="*/ 1062288 w 1971297"/>
              <a:gd name="connsiteY48" fmla="*/ 1970826 h 1970826"/>
              <a:gd name="connsiteX49" fmla="*/ 902210 w 1971297"/>
              <a:gd name="connsiteY49" fmla="*/ 1969728 h 1970826"/>
              <a:gd name="connsiteX50" fmla="*/ 870884 w 1971297"/>
              <a:gd name="connsiteY50" fmla="*/ 1773359 h 1970826"/>
              <a:gd name="connsiteX51" fmla="*/ 825096 w 1971297"/>
              <a:gd name="connsiteY51" fmla="*/ 1766334 h 1970826"/>
              <a:gd name="connsiteX52" fmla="*/ 724057 w 1971297"/>
              <a:gd name="connsiteY52" fmla="*/ 1941349 h 1970826"/>
              <a:gd name="connsiteX53" fmla="*/ 572352 w 1971297"/>
              <a:gd name="connsiteY53" fmla="*/ 1886133 h 1970826"/>
              <a:gd name="connsiteX54" fmla="*/ 607450 w 1971297"/>
              <a:gd name="connsiteY54" fmla="*/ 1687117 h 1970826"/>
              <a:gd name="connsiteX55" fmla="*/ 571181 w 1971297"/>
              <a:gd name="connsiteY55" fmla="*/ 1662485 h 1970826"/>
              <a:gd name="connsiteX56" fmla="*/ 421150 w 1971297"/>
              <a:gd name="connsiteY56" fmla="*/ 1792613 h 1970826"/>
              <a:gd name="connsiteX57" fmla="*/ 297817 w 1971297"/>
              <a:gd name="connsiteY57" fmla="*/ 1690557 h 1970826"/>
              <a:gd name="connsiteX58" fmla="*/ 395006 w 1971297"/>
              <a:gd name="connsiteY58" fmla="*/ 1515223 h 1970826"/>
              <a:gd name="connsiteX59" fmla="*/ 361468 w 1971297"/>
              <a:gd name="connsiteY59" fmla="*/ 1480715 h 1970826"/>
              <a:gd name="connsiteX60" fmla="*/ 171570 w 1971297"/>
              <a:gd name="connsiteY60" fmla="*/ 1549837 h 1970826"/>
              <a:gd name="connsiteX61" fmla="*/ 90850 w 1971297"/>
              <a:gd name="connsiteY61" fmla="*/ 1410026 h 1970826"/>
              <a:gd name="connsiteX62" fmla="*/ 245661 w 1971297"/>
              <a:gd name="connsiteY62" fmla="*/ 1280131 h 1970826"/>
              <a:gd name="connsiteX63" fmla="*/ 233972 w 1971297"/>
              <a:gd name="connsiteY63" fmla="*/ 1245643 h 1970826"/>
              <a:gd name="connsiteX64" fmla="*/ 31451 w 1971297"/>
              <a:gd name="connsiteY64" fmla="*/ 1248953 h 1970826"/>
              <a:gd name="connsiteX65" fmla="*/ 2573 w 1971297"/>
              <a:gd name="connsiteY65" fmla="*/ 1091497 h 1970826"/>
              <a:gd name="connsiteX66" fmla="*/ 191133 w 1971297"/>
              <a:gd name="connsiteY66" fmla="*/ 1019115 h 1970826"/>
              <a:gd name="connsiteX67" fmla="*/ 189902 w 1971297"/>
              <a:gd name="connsiteY67" fmla="*/ 963904 h 1970826"/>
              <a:gd name="connsiteX68" fmla="*/ 0 w 1971297"/>
              <a:gd name="connsiteY68" fmla="*/ 894790 h 1970826"/>
              <a:gd name="connsiteX69" fmla="*/ 28034 w 1971297"/>
              <a:gd name="connsiteY69" fmla="*/ 735802 h 1970826"/>
              <a:gd name="connsiteX70" fmla="*/ 230121 w 1971297"/>
              <a:gd name="connsiteY70" fmla="*/ 735808 h 1970826"/>
              <a:gd name="connsiteX71" fmla="*/ 240919 w 1971297"/>
              <a:gd name="connsiteY71" fmla="*/ 708079 h 1970826"/>
              <a:gd name="connsiteX72" fmla="*/ 84936 w 1971297"/>
              <a:gd name="connsiteY72" fmla="*/ 585933 h 1970826"/>
              <a:gd name="connsiteX73" fmla="*/ 161584 w 1971297"/>
              <a:gd name="connsiteY73" fmla="*/ 445393 h 1970826"/>
              <a:gd name="connsiteX74" fmla="*/ 354366 w 1971297"/>
              <a:gd name="connsiteY74" fmla="*/ 508031 h 1970826"/>
              <a:gd name="connsiteX75" fmla="*/ 390674 w 1971297"/>
              <a:gd name="connsiteY75" fmla="*/ 457722 h 1970826"/>
              <a:gd name="connsiteX76" fmla="*/ 289626 w 1971297"/>
              <a:gd name="connsiteY76" fmla="*/ 282712 h 1970826"/>
              <a:gd name="connsiteX77" fmla="*/ 413297 w 1971297"/>
              <a:gd name="connsiteY77" fmla="*/ 178940 h 1970826"/>
              <a:gd name="connsiteX78" fmla="*/ 568101 w 1971297"/>
              <a:gd name="connsiteY78" fmla="*/ 308843 h 1970826"/>
              <a:gd name="connsiteX79" fmla="*/ 611018 w 1971297"/>
              <a:gd name="connsiteY79" fmla="*/ 285324 h 1970826"/>
              <a:gd name="connsiteX80" fmla="*/ 576674 w 1971297"/>
              <a:gd name="connsiteY80" fmla="*/ 89277 h 1970826"/>
              <a:gd name="connsiteX81" fmla="*/ 727674 w 1971297"/>
              <a:gd name="connsiteY81" fmla="*/ 36123 h 1970826"/>
              <a:gd name="connsiteX82" fmla="*/ 826689 w 1971297"/>
              <a:gd name="connsiteY82" fmla="*/ 207623 h 1970826"/>
              <a:gd name="connsiteX83" fmla="*/ 869841 w 1971297"/>
              <a:gd name="connsiteY83" fmla="*/ 199018 h 1970826"/>
              <a:gd name="connsiteX84" fmla="*/ 904928 w 1971297"/>
              <a:gd name="connsiteY84" fmla="*/ 0 h 1970826"/>
              <a:gd name="connsiteX0" fmla="*/ 1658502 w 1971297"/>
              <a:gd name="connsiteY0" fmla="*/ 565633 h 1970826"/>
              <a:gd name="connsiteX1" fmla="*/ 1664864 w 1971297"/>
              <a:gd name="connsiteY1" fmla="*/ 574448 h 1970826"/>
              <a:gd name="connsiteX2" fmla="*/ 1664611 w 1971297"/>
              <a:gd name="connsiteY2" fmla="*/ 573966 h 1970826"/>
              <a:gd name="connsiteX3" fmla="*/ 1658502 w 1971297"/>
              <a:gd name="connsiteY3" fmla="*/ 565633 h 1970826"/>
              <a:gd name="connsiteX4" fmla="*/ 985649 w 1971297"/>
              <a:gd name="connsiteY4" fmla="*/ 323553 h 1970826"/>
              <a:gd name="connsiteX5" fmla="*/ 322581 w 1971297"/>
              <a:gd name="connsiteY5" fmla="*/ 986621 h 1970826"/>
              <a:gd name="connsiteX6" fmla="*/ 985649 w 1971297"/>
              <a:gd name="connsiteY6" fmla="*/ 1649689 h 1970826"/>
              <a:gd name="connsiteX7" fmla="*/ 1648717 w 1971297"/>
              <a:gd name="connsiteY7" fmla="*/ 986621 h 1970826"/>
              <a:gd name="connsiteX8" fmla="*/ 985649 w 1971297"/>
              <a:gd name="connsiteY8" fmla="*/ 323553 h 1970826"/>
              <a:gd name="connsiteX9" fmla="*/ 904928 w 1971297"/>
              <a:gd name="connsiteY9" fmla="*/ 0 h 1970826"/>
              <a:gd name="connsiteX10" fmla="*/ 1066369 w 1971297"/>
              <a:gd name="connsiteY10" fmla="*/ 0 h 1970826"/>
              <a:gd name="connsiteX11" fmla="*/ 1101456 w 1971297"/>
              <a:gd name="connsiteY11" fmla="*/ 199018 h 1970826"/>
              <a:gd name="connsiteX12" fmla="*/ 1149113 w 1971297"/>
              <a:gd name="connsiteY12" fmla="*/ 208521 h 1970826"/>
              <a:gd name="connsiteX13" fmla="*/ 1245734 w 1971297"/>
              <a:gd name="connsiteY13" fmla="*/ 36367 h 1970826"/>
              <a:gd name="connsiteX14" fmla="*/ 1396309 w 1971297"/>
              <a:gd name="connsiteY14" fmla="*/ 90716 h 1970826"/>
              <a:gd name="connsiteX15" fmla="*/ 1364293 w 1971297"/>
              <a:gd name="connsiteY15" fmla="*/ 287523 h 1970826"/>
              <a:gd name="connsiteX16" fmla="*/ 1403197 w 1971297"/>
              <a:gd name="connsiteY16" fmla="*/ 308843 h 1970826"/>
              <a:gd name="connsiteX17" fmla="*/ 1558001 w 1971297"/>
              <a:gd name="connsiteY17" fmla="*/ 178940 h 1970826"/>
              <a:gd name="connsiteX18" fmla="*/ 1681671 w 1971297"/>
              <a:gd name="connsiteY18" fmla="*/ 282712 h 1970826"/>
              <a:gd name="connsiteX19" fmla="*/ 1580623 w 1971297"/>
              <a:gd name="connsiteY19" fmla="*/ 457722 h 1970826"/>
              <a:gd name="connsiteX20" fmla="*/ 1610608 w 1971297"/>
              <a:gd name="connsiteY20" fmla="*/ 499270 h 1970826"/>
              <a:gd name="connsiteX21" fmla="*/ 1802874 w 1971297"/>
              <a:gd name="connsiteY21" fmla="*/ 433067 h 1970826"/>
              <a:gd name="connsiteX22" fmla="*/ 1881963 w 1971297"/>
              <a:gd name="connsiteY22" fmla="*/ 572248 h 1970826"/>
              <a:gd name="connsiteX23" fmla="*/ 1726590 w 1971297"/>
              <a:gd name="connsiteY23" fmla="*/ 698353 h 1970826"/>
              <a:gd name="connsiteX24" fmla="*/ 1741176 w 1971297"/>
              <a:gd name="connsiteY24" fmla="*/ 735808 h 1970826"/>
              <a:gd name="connsiteX25" fmla="*/ 1943264 w 1971297"/>
              <a:gd name="connsiteY25" fmla="*/ 735802 h 1970826"/>
              <a:gd name="connsiteX26" fmla="*/ 1971297 w 1971297"/>
              <a:gd name="connsiteY26" fmla="*/ 894790 h 1970826"/>
              <a:gd name="connsiteX27" fmla="*/ 1781396 w 1971297"/>
              <a:gd name="connsiteY27" fmla="*/ 963903 h 1970826"/>
              <a:gd name="connsiteX28" fmla="*/ 1780264 w 1971297"/>
              <a:gd name="connsiteY28" fmla="*/ 1014677 h 1970826"/>
              <a:gd name="connsiteX29" fmla="*/ 1969010 w 1971297"/>
              <a:gd name="connsiteY29" fmla="*/ 1087130 h 1970826"/>
              <a:gd name="connsiteX30" fmla="*/ 1940132 w 1971297"/>
              <a:gd name="connsiteY30" fmla="*/ 1244586 h 1970826"/>
              <a:gd name="connsiteX31" fmla="*/ 1738798 w 1971297"/>
              <a:gd name="connsiteY31" fmla="*/ 1241295 h 1970826"/>
              <a:gd name="connsiteX32" fmla="*/ 1725636 w 1971297"/>
              <a:gd name="connsiteY32" fmla="*/ 1280130 h 1970826"/>
              <a:gd name="connsiteX33" fmla="*/ 1880447 w 1971297"/>
              <a:gd name="connsiteY33" fmla="*/ 1410026 h 1970826"/>
              <a:gd name="connsiteX34" fmla="*/ 1799727 w 1971297"/>
              <a:gd name="connsiteY34" fmla="*/ 1549837 h 1970826"/>
              <a:gd name="connsiteX35" fmla="*/ 1609829 w 1971297"/>
              <a:gd name="connsiteY35" fmla="*/ 1480714 h 1970826"/>
              <a:gd name="connsiteX36" fmla="*/ 1579151 w 1971297"/>
              <a:gd name="connsiteY36" fmla="*/ 1512281 h 1970826"/>
              <a:gd name="connsiteX37" fmla="*/ 1677610 w 1971297"/>
              <a:gd name="connsiteY37" fmla="*/ 1689905 h 1970826"/>
              <a:gd name="connsiteX38" fmla="*/ 1554277 w 1971297"/>
              <a:gd name="connsiteY38" fmla="*/ 1791961 h 1970826"/>
              <a:gd name="connsiteX39" fmla="*/ 1402854 w 1971297"/>
              <a:gd name="connsiteY39" fmla="*/ 1660626 h 1970826"/>
              <a:gd name="connsiteX40" fmla="*/ 1363848 w 1971297"/>
              <a:gd name="connsiteY40" fmla="*/ 1687117 h 1970826"/>
              <a:gd name="connsiteX41" fmla="*/ 1398945 w 1971297"/>
              <a:gd name="connsiteY41" fmla="*/ 1886133 h 1970826"/>
              <a:gd name="connsiteX42" fmla="*/ 1247240 w 1971297"/>
              <a:gd name="connsiteY42" fmla="*/ 1941349 h 1970826"/>
              <a:gd name="connsiteX43" fmla="*/ 1146202 w 1971297"/>
              <a:gd name="connsiteY43" fmla="*/ 1766334 h 1970826"/>
              <a:gd name="connsiteX44" fmla="*/ 1100680 w 1971297"/>
              <a:gd name="connsiteY44" fmla="*/ 1773318 h 1970826"/>
              <a:gd name="connsiteX45" fmla="*/ 1062288 w 1971297"/>
              <a:gd name="connsiteY45" fmla="*/ 1970826 h 1970826"/>
              <a:gd name="connsiteX46" fmla="*/ 902210 w 1971297"/>
              <a:gd name="connsiteY46" fmla="*/ 1969728 h 1970826"/>
              <a:gd name="connsiteX47" fmla="*/ 870884 w 1971297"/>
              <a:gd name="connsiteY47" fmla="*/ 1773359 h 1970826"/>
              <a:gd name="connsiteX48" fmla="*/ 825096 w 1971297"/>
              <a:gd name="connsiteY48" fmla="*/ 1766334 h 1970826"/>
              <a:gd name="connsiteX49" fmla="*/ 724057 w 1971297"/>
              <a:gd name="connsiteY49" fmla="*/ 1941349 h 1970826"/>
              <a:gd name="connsiteX50" fmla="*/ 572352 w 1971297"/>
              <a:gd name="connsiteY50" fmla="*/ 1886133 h 1970826"/>
              <a:gd name="connsiteX51" fmla="*/ 607450 w 1971297"/>
              <a:gd name="connsiteY51" fmla="*/ 1687117 h 1970826"/>
              <a:gd name="connsiteX52" fmla="*/ 571181 w 1971297"/>
              <a:gd name="connsiteY52" fmla="*/ 1662485 h 1970826"/>
              <a:gd name="connsiteX53" fmla="*/ 421150 w 1971297"/>
              <a:gd name="connsiteY53" fmla="*/ 1792613 h 1970826"/>
              <a:gd name="connsiteX54" fmla="*/ 297817 w 1971297"/>
              <a:gd name="connsiteY54" fmla="*/ 1690557 h 1970826"/>
              <a:gd name="connsiteX55" fmla="*/ 395006 w 1971297"/>
              <a:gd name="connsiteY55" fmla="*/ 1515223 h 1970826"/>
              <a:gd name="connsiteX56" fmla="*/ 361468 w 1971297"/>
              <a:gd name="connsiteY56" fmla="*/ 1480715 h 1970826"/>
              <a:gd name="connsiteX57" fmla="*/ 171570 w 1971297"/>
              <a:gd name="connsiteY57" fmla="*/ 1549837 h 1970826"/>
              <a:gd name="connsiteX58" fmla="*/ 90850 w 1971297"/>
              <a:gd name="connsiteY58" fmla="*/ 1410026 h 1970826"/>
              <a:gd name="connsiteX59" fmla="*/ 245661 w 1971297"/>
              <a:gd name="connsiteY59" fmla="*/ 1280131 h 1970826"/>
              <a:gd name="connsiteX60" fmla="*/ 233972 w 1971297"/>
              <a:gd name="connsiteY60" fmla="*/ 1245643 h 1970826"/>
              <a:gd name="connsiteX61" fmla="*/ 31451 w 1971297"/>
              <a:gd name="connsiteY61" fmla="*/ 1248953 h 1970826"/>
              <a:gd name="connsiteX62" fmla="*/ 2573 w 1971297"/>
              <a:gd name="connsiteY62" fmla="*/ 1091497 h 1970826"/>
              <a:gd name="connsiteX63" fmla="*/ 191133 w 1971297"/>
              <a:gd name="connsiteY63" fmla="*/ 1019115 h 1970826"/>
              <a:gd name="connsiteX64" fmla="*/ 189902 w 1971297"/>
              <a:gd name="connsiteY64" fmla="*/ 963904 h 1970826"/>
              <a:gd name="connsiteX65" fmla="*/ 0 w 1971297"/>
              <a:gd name="connsiteY65" fmla="*/ 894790 h 1970826"/>
              <a:gd name="connsiteX66" fmla="*/ 28034 w 1971297"/>
              <a:gd name="connsiteY66" fmla="*/ 735802 h 1970826"/>
              <a:gd name="connsiteX67" fmla="*/ 230121 w 1971297"/>
              <a:gd name="connsiteY67" fmla="*/ 735808 h 1970826"/>
              <a:gd name="connsiteX68" fmla="*/ 240919 w 1971297"/>
              <a:gd name="connsiteY68" fmla="*/ 708079 h 1970826"/>
              <a:gd name="connsiteX69" fmla="*/ 84936 w 1971297"/>
              <a:gd name="connsiteY69" fmla="*/ 585933 h 1970826"/>
              <a:gd name="connsiteX70" fmla="*/ 161584 w 1971297"/>
              <a:gd name="connsiteY70" fmla="*/ 445393 h 1970826"/>
              <a:gd name="connsiteX71" fmla="*/ 354366 w 1971297"/>
              <a:gd name="connsiteY71" fmla="*/ 508031 h 1970826"/>
              <a:gd name="connsiteX72" fmla="*/ 390674 w 1971297"/>
              <a:gd name="connsiteY72" fmla="*/ 457722 h 1970826"/>
              <a:gd name="connsiteX73" fmla="*/ 289626 w 1971297"/>
              <a:gd name="connsiteY73" fmla="*/ 282712 h 1970826"/>
              <a:gd name="connsiteX74" fmla="*/ 413297 w 1971297"/>
              <a:gd name="connsiteY74" fmla="*/ 178940 h 1970826"/>
              <a:gd name="connsiteX75" fmla="*/ 568101 w 1971297"/>
              <a:gd name="connsiteY75" fmla="*/ 308843 h 1970826"/>
              <a:gd name="connsiteX76" fmla="*/ 611018 w 1971297"/>
              <a:gd name="connsiteY76" fmla="*/ 285324 h 1970826"/>
              <a:gd name="connsiteX77" fmla="*/ 576674 w 1971297"/>
              <a:gd name="connsiteY77" fmla="*/ 89277 h 1970826"/>
              <a:gd name="connsiteX78" fmla="*/ 727674 w 1971297"/>
              <a:gd name="connsiteY78" fmla="*/ 36123 h 1970826"/>
              <a:gd name="connsiteX79" fmla="*/ 826689 w 1971297"/>
              <a:gd name="connsiteY79" fmla="*/ 207623 h 1970826"/>
              <a:gd name="connsiteX80" fmla="*/ 869841 w 1971297"/>
              <a:gd name="connsiteY80" fmla="*/ 199018 h 1970826"/>
              <a:gd name="connsiteX81" fmla="*/ 904928 w 1971297"/>
              <a:gd name="connsiteY81" fmla="*/ 0 h 1970826"/>
              <a:gd name="connsiteX0" fmla="*/ 1664611 w 1971297"/>
              <a:gd name="connsiteY0" fmla="*/ 573966 h 1970826"/>
              <a:gd name="connsiteX1" fmla="*/ 1664864 w 1971297"/>
              <a:gd name="connsiteY1" fmla="*/ 574448 h 1970826"/>
              <a:gd name="connsiteX2" fmla="*/ 1664611 w 1971297"/>
              <a:gd name="connsiteY2" fmla="*/ 573966 h 1970826"/>
              <a:gd name="connsiteX3" fmla="*/ 985649 w 1971297"/>
              <a:gd name="connsiteY3" fmla="*/ 323553 h 1970826"/>
              <a:gd name="connsiteX4" fmla="*/ 322581 w 1971297"/>
              <a:gd name="connsiteY4" fmla="*/ 986621 h 1970826"/>
              <a:gd name="connsiteX5" fmla="*/ 985649 w 1971297"/>
              <a:gd name="connsiteY5" fmla="*/ 1649689 h 1970826"/>
              <a:gd name="connsiteX6" fmla="*/ 1648717 w 1971297"/>
              <a:gd name="connsiteY6" fmla="*/ 986621 h 1970826"/>
              <a:gd name="connsiteX7" fmla="*/ 985649 w 1971297"/>
              <a:gd name="connsiteY7" fmla="*/ 323553 h 1970826"/>
              <a:gd name="connsiteX8" fmla="*/ 904928 w 1971297"/>
              <a:gd name="connsiteY8" fmla="*/ 0 h 1970826"/>
              <a:gd name="connsiteX9" fmla="*/ 1066369 w 1971297"/>
              <a:gd name="connsiteY9" fmla="*/ 0 h 1970826"/>
              <a:gd name="connsiteX10" fmla="*/ 1101456 w 1971297"/>
              <a:gd name="connsiteY10" fmla="*/ 199018 h 1970826"/>
              <a:gd name="connsiteX11" fmla="*/ 1149113 w 1971297"/>
              <a:gd name="connsiteY11" fmla="*/ 208521 h 1970826"/>
              <a:gd name="connsiteX12" fmla="*/ 1245734 w 1971297"/>
              <a:gd name="connsiteY12" fmla="*/ 36367 h 1970826"/>
              <a:gd name="connsiteX13" fmla="*/ 1396309 w 1971297"/>
              <a:gd name="connsiteY13" fmla="*/ 90716 h 1970826"/>
              <a:gd name="connsiteX14" fmla="*/ 1364293 w 1971297"/>
              <a:gd name="connsiteY14" fmla="*/ 287523 h 1970826"/>
              <a:gd name="connsiteX15" fmla="*/ 1403197 w 1971297"/>
              <a:gd name="connsiteY15" fmla="*/ 308843 h 1970826"/>
              <a:gd name="connsiteX16" fmla="*/ 1558001 w 1971297"/>
              <a:gd name="connsiteY16" fmla="*/ 178940 h 1970826"/>
              <a:gd name="connsiteX17" fmla="*/ 1681671 w 1971297"/>
              <a:gd name="connsiteY17" fmla="*/ 282712 h 1970826"/>
              <a:gd name="connsiteX18" fmla="*/ 1580623 w 1971297"/>
              <a:gd name="connsiteY18" fmla="*/ 457722 h 1970826"/>
              <a:gd name="connsiteX19" fmla="*/ 1610608 w 1971297"/>
              <a:gd name="connsiteY19" fmla="*/ 499270 h 1970826"/>
              <a:gd name="connsiteX20" fmla="*/ 1802874 w 1971297"/>
              <a:gd name="connsiteY20" fmla="*/ 433067 h 1970826"/>
              <a:gd name="connsiteX21" fmla="*/ 1881963 w 1971297"/>
              <a:gd name="connsiteY21" fmla="*/ 572248 h 1970826"/>
              <a:gd name="connsiteX22" fmla="*/ 1726590 w 1971297"/>
              <a:gd name="connsiteY22" fmla="*/ 698353 h 1970826"/>
              <a:gd name="connsiteX23" fmla="*/ 1741176 w 1971297"/>
              <a:gd name="connsiteY23" fmla="*/ 735808 h 1970826"/>
              <a:gd name="connsiteX24" fmla="*/ 1943264 w 1971297"/>
              <a:gd name="connsiteY24" fmla="*/ 735802 h 1970826"/>
              <a:gd name="connsiteX25" fmla="*/ 1971297 w 1971297"/>
              <a:gd name="connsiteY25" fmla="*/ 894790 h 1970826"/>
              <a:gd name="connsiteX26" fmla="*/ 1781396 w 1971297"/>
              <a:gd name="connsiteY26" fmla="*/ 963903 h 1970826"/>
              <a:gd name="connsiteX27" fmla="*/ 1780264 w 1971297"/>
              <a:gd name="connsiteY27" fmla="*/ 1014677 h 1970826"/>
              <a:gd name="connsiteX28" fmla="*/ 1969010 w 1971297"/>
              <a:gd name="connsiteY28" fmla="*/ 1087130 h 1970826"/>
              <a:gd name="connsiteX29" fmla="*/ 1940132 w 1971297"/>
              <a:gd name="connsiteY29" fmla="*/ 1244586 h 1970826"/>
              <a:gd name="connsiteX30" fmla="*/ 1738798 w 1971297"/>
              <a:gd name="connsiteY30" fmla="*/ 1241295 h 1970826"/>
              <a:gd name="connsiteX31" fmla="*/ 1725636 w 1971297"/>
              <a:gd name="connsiteY31" fmla="*/ 1280130 h 1970826"/>
              <a:gd name="connsiteX32" fmla="*/ 1880447 w 1971297"/>
              <a:gd name="connsiteY32" fmla="*/ 1410026 h 1970826"/>
              <a:gd name="connsiteX33" fmla="*/ 1799727 w 1971297"/>
              <a:gd name="connsiteY33" fmla="*/ 1549837 h 1970826"/>
              <a:gd name="connsiteX34" fmla="*/ 1609829 w 1971297"/>
              <a:gd name="connsiteY34" fmla="*/ 1480714 h 1970826"/>
              <a:gd name="connsiteX35" fmla="*/ 1579151 w 1971297"/>
              <a:gd name="connsiteY35" fmla="*/ 1512281 h 1970826"/>
              <a:gd name="connsiteX36" fmla="*/ 1677610 w 1971297"/>
              <a:gd name="connsiteY36" fmla="*/ 1689905 h 1970826"/>
              <a:gd name="connsiteX37" fmla="*/ 1554277 w 1971297"/>
              <a:gd name="connsiteY37" fmla="*/ 1791961 h 1970826"/>
              <a:gd name="connsiteX38" fmla="*/ 1402854 w 1971297"/>
              <a:gd name="connsiteY38" fmla="*/ 1660626 h 1970826"/>
              <a:gd name="connsiteX39" fmla="*/ 1363848 w 1971297"/>
              <a:gd name="connsiteY39" fmla="*/ 1687117 h 1970826"/>
              <a:gd name="connsiteX40" fmla="*/ 1398945 w 1971297"/>
              <a:gd name="connsiteY40" fmla="*/ 1886133 h 1970826"/>
              <a:gd name="connsiteX41" fmla="*/ 1247240 w 1971297"/>
              <a:gd name="connsiteY41" fmla="*/ 1941349 h 1970826"/>
              <a:gd name="connsiteX42" fmla="*/ 1146202 w 1971297"/>
              <a:gd name="connsiteY42" fmla="*/ 1766334 h 1970826"/>
              <a:gd name="connsiteX43" fmla="*/ 1100680 w 1971297"/>
              <a:gd name="connsiteY43" fmla="*/ 1773318 h 1970826"/>
              <a:gd name="connsiteX44" fmla="*/ 1062288 w 1971297"/>
              <a:gd name="connsiteY44" fmla="*/ 1970826 h 1970826"/>
              <a:gd name="connsiteX45" fmla="*/ 902210 w 1971297"/>
              <a:gd name="connsiteY45" fmla="*/ 1969728 h 1970826"/>
              <a:gd name="connsiteX46" fmla="*/ 870884 w 1971297"/>
              <a:gd name="connsiteY46" fmla="*/ 1773359 h 1970826"/>
              <a:gd name="connsiteX47" fmla="*/ 825096 w 1971297"/>
              <a:gd name="connsiteY47" fmla="*/ 1766334 h 1970826"/>
              <a:gd name="connsiteX48" fmla="*/ 724057 w 1971297"/>
              <a:gd name="connsiteY48" fmla="*/ 1941349 h 1970826"/>
              <a:gd name="connsiteX49" fmla="*/ 572352 w 1971297"/>
              <a:gd name="connsiteY49" fmla="*/ 1886133 h 1970826"/>
              <a:gd name="connsiteX50" fmla="*/ 607450 w 1971297"/>
              <a:gd name="connsiteY50" fmla="*/ 1687117 h 1970826"/>
              <a:gd name="connsiteX51" fmla="*/ 571181 w 1971297"/>
              <a:gd name="connsiteY51" fmla="*/ 1662485 h 1970826"/>
              <a:gd name="connsiteX52" fmla="*/ 421150 w 1971297"/>
              <a:gd name="connsiteY52" fmla="*/ 1792613 h 1970826"/>
              <a:gd name="connsiteX53" fmla="*/ 297817 w 1971297"/>
              <a:gd name="connsiteY53" fmla="*/ 1690557 h 1970826"/>
              <a:gd name="connsiteX54" fmla="*/ 395006 w 1971297"/>
              <a:gd name="connsiteY54" fmla="*/ 1515223 h 1970826"/>
              <a:gd name="connsiteX55" fmla="*/ 361468 w 1971297"/>
              <a:gd name="connsiteY55" fmla="*/ 1480715 h 1970826"/>
              <a:gd name="connsiteX56" fmla="*/ 171570 w 1971297"/>
              <a:gd name="connsiteY56" fmla="*/ 1549837 h 1970826"/>
              <a:gd name="connsiteX57" fmla="*/ 90850 w 1971297"/>
              <a:gd name="connsiteY57" fmla="*/ 1410026 h 1970826"/>
              <a:gd name="connsiteX58" fmla="*/ 245661 w 1971297"/>
              <a:gd name="connsiteY58" fmla="*/ 1280131 h 1970826"/>
              <a:gd name="connsiteX59" fmla="*/ 233972 w 1971297"/>
              <a:gd name="connsiteY59" fmla="*/ 1245643 h 1970826"/>
              <a:gd name="connsiteX60" fmla="*/ 31451 w 1971297"/>
              <a:gd name="connsiteY60" fmla="*/ 1248953 h 1970826"/>
              <a:gd name="connsiteX61" fmla="*/ 2573 w 1971297"/>
              <a:gd name="connsiteY61" fmla="*/ 1091497 h 1970826"/>
              <a:gd name="connsiteX62" fmla="*/ 191133 w 1971297"/>
              <a:gd name="connsiteY62" fmla="*/ 1019115 h 1970826"/>
              <a:gd name="connsiteX63" fmla="*/ 189902 w 1971297"/>
              <a:gd name="connsiteY63" fmla="*/ 963904 h 1970826"/>
              <a:gd name="connsiteX64" fmla="*/ 0 w 1971297"/>
              <a:gd name="connsiteY64" fmla="*/ 894790 h 1970826"/>
              <a:gd name="connsiteX65" fmla="*/ 28034 w 1971297"/>
              <a:gd name="connsiteY65" fmla="*/ 735802 h 1970826"/>
              <a:gd name="connsiteX66" fmla="*/ 230121 w 1971297"/>
              <a:gd name="connsiteY66" fmla="*/ 735808 h 1970826"/>
              <a:gd name="connsiteX67" fmla="*/ 240919 w 1971297"/>
              <a:gd name="connsiteY67" fmla="*/ 708079 h 1970826"/>
              <a:gd name="connsiteX68" fmla="*/ 84936 w 1971297"/>
              <a:gd name="connsiteY68" fmla="*/ 585933 h 1970826"/>
              <a:gd name="connsiteX69" fmla="*/ 161584 w 1971297"/>
              <a:gd name="connsiteY69" fmla="*/ 445393 h 1970826"/>
              <a:gd name="connsiteX70" fmla="*/ 354366 w 1971297"/>
              <a:gd name="connsiteY70" fmla="*/ 508031 h 1970826"/>
              <a:gd name="connsiteX71" fmla="*/ 390674 w 1971297"/>
              <a:gd name="connsiteY71" fmla="*/ 457722 h 1970826"/>
              <a:gd name="connsiteX72" fmla="*/ 289626 w 1971297"/>
              <a:gd name="connsiteY72" fmla="*/ 282712 h 1970826"/>
              <a:gd name="connsiteX73" fmla="*/ 413297 w 1971297"/>
              <a:gd name="connsiteY73" fmla="*/ 178940 h 1970826"/>
              <a:gd name="connsiteX74" fmla="*/ 568101 w 1971297"/>
              <a:gd name="connsiteY74" fmla="*/ 308843 h 1970826"/>
              <a:gd name="connsiteX75" fmla="*/ 611018 w 1971297"/>
              <a:gd name="connsiteY75" fmla="*/ 285324 h 1970826"/>
              <a:gd name="connsiteX76" fmla="*/ 576674 w 1971297"/>
              <a:gd name="connsiteY76" fmla="*/ 89277 h 1970826"/>
              <a:gd name="connsiteX77" fmla="*/ 727674 w 1971297"/>
              <a:gd name="connsiteY77" fmla="*/ 36123 h 1970826"/>
              <a:gd name="connsiteX78" fmla="*/ 826689 w 1971297"/>
              <a:gd name="connsiteY78" fmla="*/ 207623 h 1970826"/>
              <a:gd name="connsiteX79" fmla="*/ 869841 w 1971297"/>
              <a:gd name="connsiteY79" fmla="*/ 199018 h 1970826"/>
              <a:gd name="connsiteX80" fmla="*/ 904928 w 1971297"/>
              <a:gd name="connsiteY80"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1648717 w 1971297"/>
              <a:gd name="connsiteY3" fmla="*/ 986621 h 1970826"/>
              <a:gd name="connsiteX4" fmla="*/ 985649 w 1971297"/>
              <a:gd name="connsiteY4" fmla="*/ 323553 h 1970826"/>
              <a:gd name="connsiteX5" fmla="*/ 904928 w 1971297"/>
              <a:gd name="connsiteY5" fmla="*/ 0 h 1970826"/>
              <a:gd name="connsiteX6" fmla="*/ 1066369 w 1971297"/>
              <a:gd name="connsiteY6" fmla="*/ 0 h 1970826"/>
              <a:gd name="connsiteX7" fmla="*/ 1101456 w 1971297"/>
              <a:gd name="connsiteY7" fmla="*/ 199018 h 1970826"/>
              <a:gd name="connsiteX8" fmla="*/ 1149113 w 1971297"/>
              <a:gd name="connsiteY8" fmla="*/ 208521 h 1970826"/>
              <a:gd name="connsiteX9" fmla="*/ 1245734 w 1971297"/>
              <a:gd name="connsiteY9" fmla="*/ 36367 h 1970826"/>
              <a:gd name="connsiteX10" fmla="*/ 1396309 w 1971297"/>
              <a:gd name="connsiteY10" fmla="*/ 90716 h 1970826"/>
              <a:gd name="connsiteX11" fmla="*/ 1364293 w 1971297"/>
              <a:gd name="connsiteY11" fmla="*/ 287523 h 1970826"/>
              <a:gd name="connsiteX12" fmla="*/ 1403197 w 1971297"/>
              <a:gd name="connsiteY12" fmla="*/ 308843 h 1970826"/>
              <a:gd name="connsiteX13" fmla="*/ 1558001 w 1971297"/>
              <a:gd name="connsiteY13" fmla="*/ 178940 h 1970826"/>
              <a:gd name="connsiteX14" fmla="*/ 1681671 w 1971297"/>
              <a:gd name="connsiteY14" fmla="*/ 282712 h 1970826"/>
              <a:gd name="connsiteX15" fmla="*/ 1580623 w 1971297"/>
              <a:gd name="connsiteY15" fmla="*/ 457722 h 1970826"/>
              <a:gd name="connsiteX16" fmla="*/ 1610608 w 1971297"/>
              <a:gd name="connsiteY16" fmla="*/ 499270 h 1970826"/>
              <a:gd name="connsiteX17" fmla="*/ 1802874 w 1971297"/>
              <a:gd name="connsiteY17" fmla="*/ 433067 h 1970826"/>
              <a:gd name="connsiteX18" fmla="*/ 1881963 w 1971297"/>
              <a:gd name="connsiteY18" fmla="*/ 572248 h 1970826"/>
              <a:gd name="connsiteX19" fmla="*/ 1726590 w 1971297"/>
              <a:gd name="connsiteY19" fmla="*/ 698353 h 1970826"/>
              <a:gd name="connsiteX20" fmla="*/ 1741176 w 1971297"/>
              <a:gd name="connsiteY20" fmla="*/ 735808 h 1970826"/>
              <a:gd name="connsiteX21" fmla="*/ 1943264 w 1971297"/>
              <a:gd name="connsiteY21" fmla="*/ 735802 h 1970826"/>
              <a:gd name="connsiteX22" fmla="*/ 1971297 w 1971297"/>
              <a:gd name="connsiteY22" fmla="*/ 894790 h 1970826"/>
              <a:gd name="connsiteX23" fmla="*/ 1781396 w 1971297"/>
              <a:gd name="connsiteY23" fmla="*/ 963903 h 1970826"/>
              <a:gd name="connsiteX24" fmla="*/ 1780264 w 1971297"/>
              <a:gd name="connsiteY24" fmla="*/ 1014677 h 1970826"/>
              <a:gd name="connsiteX25" fmla="*/ 1969010 w 1971297"/>
              <a:gd name="connsiteY25" fmla="*/ 1087130 h 1970826"/>
              <a:gd name="connsiteX26" fmla="*/ 1940132 w 1971297"/>
              <a:gd name="connsiteY26" fmla="*/ 1244586 h 1970826"/>
              <a:gd name="connsiteX27" fmla="*/ 1738798 w 1971297"/>
              <a:gd name="connsiteY27" fmla="*/ 1241295 h 1970826"/>
              <a:gd name="connsiteX28" fmla="*/ 1725636 w 1971297"/>
              <a:gd name="connsiteY28" fmla="*/ 1280130 h 1970826"/>
              <a:gd name="connsiteX29" fmla="*/ 1880447 w 1971297"/>
              <a:gd name="connsiteY29" fmla="*/ 1410026 h 1970826"/>
              <a:gd name="connsiteX30" fmla="*/ 1799727 w 1971297"/>
              <a:gd name="connsiteY30" fmla="*/ 1549837 h 1970826"/>
              <a:gd name="connsiteX31" fmla="*/ 1609829 w 1971297"/>
              <a:gd name="connsiteY31" fmla="*/ 1480714 h 1970826"/>
              <a:gd name="connsiteX32" fmla="*/ 1579151 w 1971297"/>
              <a:gd name="connsiteY32" fmla="*/ 1512281 h 1970826"/>
              <a:gd name="connsiteX33" fmla="*/ 1677610 w 1971297"/>
              <a:gd name="connsiteY33" fmla="*/ 1689905 h 1970826"/>
              <a:gd name="connsiteX34" fmla="*/ 1554277 w 1971297"/>
              <a:gd name="connsiteY34" fmla="*/ 1791961 h 1970826"/>
              <a:gd name="connsiteX35" fmla="*/ 1402854 w 1971297"/>
              <a:gd name="connsiteY35" fmla="*/ 1660626 h 1970826"/>
              <a:gd name="connsiteX36" fmla="*/ 1363848 w 1971297"/>
              <a:gd name="connsiteY36" fmla="*/ 1687117 h 1970826"/>
              <a:gd name="connsiteX37" fmla="*/ 1398945 w 1971297"/>
              <a:gd name="connsiteY37" fmla="*/ 1886133 h 1970826"/>
              <a:gd name="connsiteX38" fmla="*/ 1247240 w 1971297"/>
              <a:gd name="connsiteY38" fmla="*/ 1941349 h 1970826"/>
              <a:gd name="connsiteX39" fmla="*/ 1146202 w 1971297"/>
              <a:gd name="connsiteY39" fmla="*/ 1766334 h 1970826"/>
              <a:gd name="connsiteX40" fmla="*/ 1100680 w 1971297"/>
              <a:gd name="connsiteY40" fmla="*/ 1773318 h 1970826"/>
              <a:gd name="connsiteX41" fmla="*/ 1062288 w 1971297"/>
              <a:gd name="connsiteY41" fmla="*/ 1970826 h 1970826"/>
              <a:gd name="connsiteX42" fmla="*/ 902210 w 1971297"/>
              <a:gd name="connsiteY42" fmla="*/ 1969728 h 1970826"/>
              <a:gd name="connsiteX43" fmla="*/ 870884 w 1971297"/>
              <a:gd name="connsiteY43" fmla="*/ 1773359 h 1970826"/>
              <a:gd name="connsiteX44" fmla="*/ 825096 w 1971297"/>
              <a:gd name="connsiteY44" fmla="*/ 1766334 h 1970826"/>
              <a:gd name="connsiteX45" fmla="*/ 724057 w 1971297"/>
              <a:gd name="connsiteY45" fmla="*/ 1941349 h 1970826"/>
              <a:gd name="connsiteX46" fmla="*/ 572352 w 1971297"/>
              <a:gd name="connsiteY46" fmla="*/ 1886133 h 1970826"/>
              <a:gd name="connsiteX47" fmla="*/ 607450 w 1971297"/>
              <a:gd name="connsiteY47" fmla="*/ 1687117 h 1970826"/>
              <a:gd name="connsiteX48" fmla="*/ 571181 w 1971297"/>
              <a:gd name="connsiteY48" fmla="*/ 1662485 h 1970826"/>
              <a:gd name="connsiteX49" fmla="*/ 421150 w 1971297"/>
              <a:gd name="connsiteY49" fmla="*/ 1792613 h 1970826"/>
              <a:gd name="connsiteX50" fmla="*/ 297817 w 1971297"/>
              <a:gd name="connsiteY50" fmla="*/ 1690557 h 1970826"/>
              <a:gd name="connsiteX51" fmla="*/ 395006 w 1971297"/>
              <a:gd name="connsiteY51" fmla="*/ 1515223 h 1970826"/>
              <a:gd name="connsiteX52" fmla="*/ 361468 w 1971297"/>
              <a:gd name="connsiteY52" fmla="*/ 1480715 h 1970826"/>
              <a:gd name="connsiteX53" fmla="*/ 171570 w 1971297"/>
              <a:gd name="connsiteY53" fmla="*/ 1549837 h 1970826"/>
              <a:gd name="connsiteX54" fmla="*/ 90850 w 1971297"/>
              <a:gd name="connsiteY54" fmla="*/ 1410026 h 1970826"/>
              <a:gd name="connsiteX55" fmla="*/ 245661 w 1971297"/>
              <a:gd name="connsiteY55" fmla="*/ 1280131 h 1970826"/>
              <a:gd name="connsiteX56" fmla="*/ 233972 w 1971297"/>
              <a:gd name="connsiteY56" fmla="*/ 1245643 h 1970826"/>
              <a:gd name="connsiteX57" fmla="*/ 31451 w 1971297"/>
              <a:gd name="connsiteY57" fmla="*/ 1248953 h 1970826"/>
              <a:gd name="connsiteX58" fmla="*/ 2573 w 1971297"/>
              <a:gd name="connsiteY58" fmla="*/ 1091497 h 1970826"/>
              <a:gd name="connsiteX59" fmla="*/ 191133 w 1971297"/>
              <a:gd name="connsiteY59" fmla="*/ 1019115 h 1970826"/>
              <a:gd name="connsiteX60" fmla="*/ 189902 w 1971297"/>
              <a:gd name="connsiteY60" fmla="*/ 963904 h 1970826"/>
              <a:gd name="connsiteX61" fmla="*/ 0 w 1971297"/>
              <a:gd name="connsiteY61" fmla="*/ 894790 h 1970826"/>
              <a:gd name="connsiteX62" fmla="*/ 28034 w 1971297"/>
              <a:gd name="connsiteY62" fmla="*/ 735802 h 1970826"/>
              <a:gd name="connsiteX63" fmla="*/ 230121 w 1971297"/>
              <a:gd name="connsiteY63" fmla="*/ 735808 h 1970826"/>
              <a:gd name="connsiteX64" fmla="*/ 240919 w 1971297"/>
              <a:gd name="connsiteY64" fmla="*/ 708079 h 1970826"/>
              <a:gd name="connsiteX65" fmla="*/ 84936 w 1971297"/>
              <a:gd name="connsiteY65" fmla="*/ 585933 h 1970826"/>
              <a:gd name="connsiteX66" fmla="*/ 161584 w 1971297"/>
              <a:gd name="connsiteY66" fmla="*/ 445393 h 1970826"/>
              <a:gd name="connsiteX67" fmla="*/ 354366 w 1971297"/>
              <a:gd name="connsiteY67" fmla="*/ 508031 h 1970826"/>
              <a:gd name="connsiteX68" fmla="*/ 390674 w 1971297"/>
              <a:gd name="connsiteY68" fmla="*/ 457722 h 1970826"/>
              <a:gd name="connsiteX69" fmla="*/ 289626 w 1971297"/>
              <a:gd name="connsiteY69" fmla="*/ 282712 h 1970826"/>
              <a:gd name="connsiteX70" fmla="*/ 413297 w 1971297"/>
              <a:gd name="connsiteY70" fmla="*/ 178940 h 1970826"/>
              <a:gd name="connsiteX71" fmla="*/ 568101 w 1971297"/>
              <a:gd name="connsiteY71" fmla="*/ 308843 h 1970826"/>
              <a:gd name="connsiteX72" fmla="*/ 611018 w 1971297"/>
              <a:gd name="connsiteY72" fmla="*/ 285324 h 1970826"/>
              <a:gd name="connsiteX73" fmla="*/ 576674 w 1971297"/>
              <a:gd name="connsiteY73" fmla="*/ 89277 h 1970826"/>
              <a:gd name="connsiteX74" fmla="*/ 727674 w 1971297"/>
              <a:gd name="connsiteY74" fmla="*/ 36123 h 1970826"/>
              <a:gd name="connsiteX75" fmla="*/ 826689 w 1971297"/>
              <a:gd name="connsiteY75" fmla="*/ 207623 h 1970826"/>
              <a:gd name="connsiteX76" fmla="*/ 869841 w 1971297"/>
              <a:gd name="connsiteY76" fmla="*/ 199018 h 1970826"/>
              <a:gd name="connsiteX77" fmla="*/ 904928 w 1971297"/>
              <a:gd name="connsiteY77"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985649 w 1971297"/>
              <a:gd name="connsiteY3" fmla="*/ 323553 h 1970826"/>
              <a:gd name="connsiteX4" fmla="*/ 904928 w 1971297"/>
              <a:gd name="connsiteY4" fmla="*/ 0 h 1970826"/>
              <a:gd name="connsiteX5" fmla="*/ 1066369 w 1971297"/>
              <a:gd name="connsiteY5" fmla="*/ 0 h 1970826"/>
              <a:gd name="connsiteX6" fmla="*/ 1101456 w 1971297"/>
              <a:gd name="connsiteY6" fmla="*/ 199018 h 1970826"/>
              <a:gd name="connsiteX7" fmla="*/ 1149113 w 1971297"/>
              <a:gd name="connsiteY7" fmla="*/ 208521 h 1970826"/>
              <a:gd name="connsiteX8" fmla="*/ 1245734 w 1971297"/>
              <a:gd name="connsiteY8" fmla="*/ 36367 h 1970826"/>
              <a:gd name="connsiteX9" fmla="*/ 1396309 w 1971297"/>
              <a:gd name="connsiteY9" fmla="*/ 90716 h 1970826"/>
              <a:gd name="connsiteX10" fmla="*/ 1364293 w 1971297"/>
              <a:gd name="connsiteY10" fmla="*/ 287523 h 1970826"/>
              <a:gd name="connsiteX11" fmla="*/ 1403197 w 1971297"/>
              <a:gd name="connsiteY11" fmla="*/ 308843 h 1970826"/>
              <a:gd name="connsiteX12" fmla="*/ 1558001 w 1971297"/>
              <a:gd name="connsiteY12" fmla="*/ 178940 h 1970826"/>
              <a:gd name="connsiteX13" fmla="*/ 1681671 w 1971297"/>
              <a:gd name="connsiteY13" fmla="*/ 282712 h 1970826"/>
              <a:gd name="connsiteX14" fmla="*/ 1580623 w 1971297"/>
              <a:gd name="connsiteY14" fmla="*/ 457722 h 1970826"/>
              <a:gd name="connsiteX15" fmla="*/ 1610608 w 1971297"/>
              <a:gd name="connsiteY15" fmla="*/ 499270 h 1970826"/>
              <a:gd name="connsiteX16" fmla="*/ 1802874 w 1971297"/>
              <a:gd name="connsiteY16" fmla="*/ 433067 h 1970826"/>
              <a:gd name="connsiteX17" fmla="*/ 1881963 w 1971297"/>
              <a:gd name="connsiteY17" fmla="*/ 572248 h 1970826"/>
              <a:gd name="connsiteX18" fmla="*/ 1726590 w 1971297"/>
              <a:gd name="connsiteY18" fmla="*/ 698353 h 1970826"/>
              <a:gd name="connsiteX19" fmla="*/ 1741176 w 1971297"/>
              <a:gd name="connsiteY19" fmla="*/ 735808 h 1970826"/>
              <a:gd name="connsiteX20" fmla="*/ 1943264 w 1971297"/>
              <a:gd name="connsiteY20" fmla="*/ 735802 h 1970826"/>
              <a:gd name="connsiteX21" fmla="*/ 1971297 w 1971297"/>
              <a:gd name="connsiteY21" fmla="*/ 894790 h 1970826"/>
              <a:gd name="connsiteX22" fmla="*/ 1781396 w 1971297"/>
              <a:gd name="connsiteY22" fmla="*/ 963903 h 1970826"/>
              <a:gd name="connsiteX23" fmla="*/ 1780264 w 1971297"/>
              <a:gd name="connsiteY23" fmla="*/ 1014677 h 1970826"/>
              <a:gd name="connsiteX24" fmla="*/ 1969010 w 1971297"/>
              <a:gd name="connsiteY24" fmla="*/ 1087130 h 1970826"/>
              <a:gd name="connsiteX25" fmla="*/ 1940132 w 1971297"/>
              <a:gd name="connsiteY25" fmla="*/ 1244586 h 1970826"/>
              <a:gd name="connsiteX26" fmla="*/ 1738798 w 1971297"/>
              <a:gd name="connsiteY26" fmla="*/ 1241295 h 1970826"/>
              <a:gd name="connsiteX27" fmla="*/ 1725636 w 1971297"/>
              <a:gd name="connsiteY27" fmla="*/ 1280130 h 1970826"/>
              <a:gd name="connsiteX28" fmla="*/ 1880447 w 1971297"/>
              <a:gd name="connsiteY28" fmla="*/ 1410026 h 1970826"/>
              <a:gd name="connsiteX29" fmla="*/ 1799727 w 1971297"/>
              <a:gd name="connsiteY29" fmla="*/ 1549837 h 1970826"/>
              <a:gd name="connsiteX30" fmla="*/ 1609829 w 1971297"/>
              <a:gd name="connsiteY30" fmla="*/ 1480714 h 1970826"/>
              <a:gd name="connsiteX31" fmla="*/ 1579151 w 1971297"/>
              <a:gd name="connsiteY31" fmla="*/ 1512281 h 1970826"/>
              <a:gd name="connsiteX32" fmla="*/ 1677610 w 1971297"/>
              <a:gd name="connsiteY32" fmla="*/ 1689905 h 1970826"/>
              <a:gd name="connsiteX33" fmla="*/ 1554277 w 1971297"/>
              <a:gd name="connsiteY33" fmla="*/ 1791961 h 1970826"/>
              <a:gd name="connsiteX34" fmla="*/ 1402854 w 1971297"/>
              <a:gd name="connsiteY34" fmla="*/ 1660626 h 1970826"/>
              <a:gd name="connsiteX35" fmla="*/ 1363848 w 1971297"/>
              <a:gd name="connsiteY35" fmla="*/ 1687117 h 1970826"/>
              <a:gd name="connsiteX36" fmla="*/ 1398945 w 1971297"/>
              <a:gd name="connsiteY36" fmla="*/ 1886133 h 1970826"/>
              <a:gd name="connsiteX37" fmla="*/ 1247240 w 1971297"/>
              <a:gd name="connsiteY37" fmla="*/ 1941349 h 1970826"/>
              <a:gd name="connsiteX38" fmla="*/ 1146202 w 1971297"/>
              <a:gd name="connsiteY38" fmla="*/ 1766334 h 1970826"/>
              <a:gd name="connsiteX39" fmla="*/ 1100680 w 1971297"/>
              <a:gd name="connsiteY39" fmla="*/ 1773318 h 1970826"/>
              <a:gd name="connsiteX40" fmla="*/ 1062288 w 1971297"/>
              <a:gd name="connsiteY40" fmla="*/ 1970826 h 1970826"/>
              <a:gd name="connsiteX41" fmla="*/ 902210 w 1971297"/>
              <a:gd name="connsiteY41" fmla="*/ 1969728 h 1970826"/>
              <a:gd name="connsiteX42" fmla="*/ 870884 w 1971297"/>
              <a:gd name="connsiteY42" fmla="*/ 1773359 h 1970826"/>
              <a:gd name="connsiteX43" fmla="*/ 825096 w 1971297"/>
              <a:gd name="connsiteY43" fmla="*/ 1766334 h 1970826"/>
              <a:gd name="connsiteX44" fmla="*/ 724057 w 1971297"/>
              <a:gd name="connsiteY44" fmla="*/ 1941349 h 1970826"/>
              <a:gd name="connsiteX45" fmla="*/ 572352 w 1971297"/>
              <a:gd name="connsiteY45" fmla="*/ 1886133 h 1970826"/>
              <a:gd name="connsiteX46" fmla="*/ 607450 w 1971297"/>
              <a:gd name="connsiteY46" fmla="*/ 1687117 h 1970826"/>
              <a:gd name="connsiteX47" fmla="*/ 571181 w 1971297"/>
              <a:gd name="connsiteY47" fmla="*/ 1662485 h 1970826"/>
              <a:gd name="connsiteX48" fmla="*/ 421150 w 1971297"/>
              <a:gd name="connsiteY48" fmla="*/ 1792613 h 1970826"/>
              <a:gd name="connsiteX49" fmla="*/ 297817 w 1971297"/>
              <a:gd name="connsiteY49" fmla="*/ 1690557 h 1970826"/>
              <a:gd name="connsiteX50" fmla="*/ 395006 w 1971297"/>
              <a:gd name="connsiteY50" fmla="*/ 1515223 h 1970826"/>
              <a:gd name="connsiteX51" fmla="*/ 361468 w 1971297"/>
              <a:gd name="connsiteY51" fmla="*/ 1480715 h 1970826"/>
              <a:gd name="connsiteX52" fmla="*/ 171570 w 1971297"/>
              <a:gd name="connsiteY52" fmla="*/ 1549837 h 1970826"/>
              <a:gd name="connsiteX53" fmla="*/ 90850 w 1971297"/>
              <a:gd name="connsiteY53" fmla="*/ 1410026 h 1970826"/>
              <a:gd name="connsiteX54" fmla="*/ 245661 w 1971297"/>
              <a:gd name="connsiteY54" fmla="*/ 1280131 h 1970826"/>
              <a:gd name="connsiteX55" fmla="*/ 233972 w 1971297"/>
              <a:gd name="connsiteY55" fmla="*/ 1245643 h 1970826"/>
              <a:gd name="connsiteX56" fmla="*/ 31451 w 1971297"/>
              <a:gd name="connsiteY56" fmla="*/ 1248953 h 1970826"/>
              <a:gd name="connsiteX57" fmla="*/ 2573 w 1971297"/>
              <a:gd name="connsiteY57" fmla="*/ 1091497 h 1970826"/>
              <a:gd name="connsiteX58" fmla="*/ 191133 w 1971297"/>
              <a:gd name="connsiteY58" fmla="*/ 1019115 h 1970826"/>
              <a:gd name="connsiteX59" fmla="*/ 189902 w 1971297"/>
              <a:gd name="connsiteY59" fmla="*/ 963904 h 1970826"/>
              <a:gd name="connsiteX60" fmla="*/ 0 w 1971297"/>
              <a:gd name="connsiteY60" fmla="*/ 894790 h 1970826"/>
              <a:gd name="connsiteX61" fmla="*/ 28034 w 1971297"/>
              <a:gd name="connsiteY61" fmla="*/ 735802 h 1970826"/>
              <a:gd name="connsiteX62" fmla="*/ 230121 w 1971297"/>
              <a:gd name="connsiteY62" fmla="*/ 735808 h 1970826"/>
              <a:gd name="connsiteX63" fmla="*/ 240919 w 1971297"/>
              <a:gd name="connsiteY63" fmla="*/ 708079 h 1970826"/>
              <a:gd name="connsiteX64" fmla="*/ 84936 w 1971297"/>
              <a:gd name="connsiteY64" fmla="*/ 585933 h 1970826"/>
              <a:gd name="connsiteX65" fmla="*/ 161584 w 1971297"/>
              <a:gd name="connsiteY65" fmla="*/ 445393 h 1970826"/>
              <a:gd name="connsiteX66" fmla="*/ 354366 w 1971297"/>
              <a:gd name="connsiteY66" fmla="*/ 508031 h 1970826"/>
              <a:gd name="connsiteX67" fmla="*/ 390674 w 1971297"/>
              <a:gd name="connsiteY67" fmla="*/ 457722 h 1970826"/>
              <a:gd name="connsiteX68" fmla="*/ 289626 w 1971297"/>
              <a:gd name="connsiteY68" fmla="*/ 282712 h 1970826"/>
              <a:gd name="connsiteX69" fmla="*/ 413297 w 1971297"/>
              <a:gd name="connsiteY69" fmla="*/ 178940 h 1970826"/>
              <a:gd name="connsiteX70" fmla="*/ 568101 w 1971297"/>
              <a:gd name="connsiteY70" fmla="*/ 308843 h 1970826"/>
              <a:gd name="connsiteX71" fmla="*/ 611018 w 1971297"/>
              <a:gd name="connsiteY71" fmla="*/ 285324 h 1970826"/>
              <a:gd name="connsiteX72" fmla="*/ 576674 w 1971297"/>
              <a:gd name="connsiteY72" fmla="*/ 89277 h 1970826"/>
              <a:gd name="connsiteX73" fmla="*/ 727674 w 1971297"/>
              <a:gd name="connsiteY73" fmla="*/ 36123 h 1970826"/>
              <a:gd name="connsiteX74" fmla="*/ 826689 w 1971297"/>
              <a:gd name="connsiteY74" fmla="*/ 207623 h 1970826"/>
              <a:gd name="connsiteX75" fmla="*/ 869841 w 1971297"/>
              <a:gd name="connsiteY75" fmla="*/ 199018 h 1970826"/>
              <a:gd name="connsiteX76" fmla="*/ 904928 w 1971297"/>
              <a:gd name="connsiteY76" fmla="*/ 0 h 1970826"/>
              <a:gd name="connsiteX0" fmla="*/ 985649 w 1971297"/>
              <a:gd name="connsiteY0" fmla="*/ 323553 h 1970826"/>
              <a:gd name="connsiteX1" fmla="*/ 322581 w 1971297"/>
              <a:gd name="connsiteY1" fmla="*/ 986621 h 1970826"/>
              <a:gd name="connsiteX2" fmla="*/ 985649 w 1971297"/>
              <a:gd name="connsiteY2" fmla="*/ 323553 h 1970826"/>
              <a:gd name="connsiteX3" fmla="*/ 904928 w 1971297"/>
              <a:gd name="connsiteY3" fmla="*/ 0 h 1970826"/>
              <a:gd name="connsiteX4" fmla="*/ 1066369 w 1971297"/>
              <a:gd name="connsiteY4" fmla="*/ 0 h 1970826"/>
              <a:gd name="connsiteX5" fmla="*/ 1101456 w 1971297"/>
              <a:gd name="connsiteY5" fmla="*/ 199018 h 1970826"/>
              <a:gd name="connsiteX6" fmla="*/ 1149113 w 1971297"/>
              <a:gd name="connsiteY6" fmla="*/ 208521 h 1970826"/>
              <a:gd name="connsiteX7" fmla="*/ 1245734 w 1971297"/>
              <a:gd name="connsiteY7" fmla="*/ 36367 h 1970826"/>
              <a:gd name="connsiteX8" fmla="*/ 1396309 w 1971297"/>
              <a:gd name="connsiteY8" fmla="*/ 90716 h 1970826"/>
              <a:gd name="connsiteX9" fmla="*/ 1364293 w 1971297"/>
              <a:gd name="connsiteY9" fmla="*/ 287523 h 1970826"/>
              <a:gd name="connsiteX10" fmla="*/ 1403197 w 1971297"/>
              <a:gd name="connsiteY10" fmla="*/ 308843 h 1970826"/>
              <a:gd name="connsiteX11" fmla="*/ 1558001 w 1971297"/>
              <a:gd name="connsiteY11" fmla="*/ 178940 h 1970826"/>
              <a:gd name="connsiteX12" fmla="*/ 1681671 w 1971297"/>
              <a:gd name="connsiteY12" fmla="*/ 282712 h 1970826"/>
              <a:gd name="connsiteX13" fmla="*/ 1580623 w 1971297"/>
              <a:gd name="connsiteY13" fmla="*/ 457722 h 1970826"/>
              <a:gd name="connsiteX14" fmla="*/ 1610608 w 1971297"/>
              <a:gd name="connsiteY14" fmla="*/ 499270 h 1970826"/>
              <a:gd name="connsiteX15" fmla="*/ 1802874 w 1971297"/>
              <a:gd name="connsiteY15" fmla="*/ 433067 h 1970826"/>
              <a:gd name="connsiteX16" fmla="*/ 1881963 w 1971297"/>
              <a:gd name="connsiteY16" fmla="*/ 572248 h 1970826"/>
              <a:gd name="connsiteX17" fmla="*/ 1726590 w 1971297"/>
              <a:gd name="connsiteY17" fmla="*/ 698353 h 1970826"/>
              <a:gd name="connsiteX18" fmla="*/ 1741176 w 1971297"/>
              <a:gd name="connsiteY18" fmla="*/ 735808 h 1970826"/>
              <a:gd name="connsiteX19" fmla="*/ 1943264 w 1971297"/>
              <a:gd name="connsiteY19" fmla="*/ 735802 h 1970826"/>
              <a:gd name="connsiteX20" fmla="*/ 1971297 w 1971297"/>
              <a:gd name="connsiteY20" fmla="*/ 894790 h 1970826"/>
              <a:gd name="connsiteX21" fmla="*/ 1781396 w 1971297"/>
              <a:gd name="connsiteY21" fmla="*/ 963903 h 1970826"/>
              <a:gd name="connsiteX22" fmla="*/ 1780264 w 1971297"/>
              <a:gd name="connsiteY22" fmla="*/ 1014677 h 1970826"/>
              <a:gd name="connsiteX23" fmla="*/ 1969010 w 1971297"/>
              <a:gd name="connsiteY23" fmla="*/ 1087130 h 1970826"/>
              <a:gd name="connsiteX24" fmla="*/ 1940132 w 1971297"/>
              <a:gd name="connsiteY24" fmla="*/ 1244586 h 1970826"/>
              <a:gd name="connsiteX25" fmla="*/ 1738798 w 1971297"/>
              <a:gd name="connsiteY25" fmla="*/ 1241295 h 1970826"/>
              <a:gd name="connsiteX26" fmla="*/ 1725636 w 1971297"/>
              <a:gd name="connsiteY26" fmla="*/ 1280130 h 1970826"/>
              <a:gd name="connsiteX27" fmla="*/ 1880447 w 1971297"/>
              <a:gd name="connsiteY27" fmla="*/ 1410026 h 1970826"/>
              <a:gd name="connsiteX28" fmla="*/ 1799727 w 1971297"/>
              <a:gd name="connsiteY28" fmla="*/ 1549837 h 1970826"/>
              <a:gd name="connsiteX29" fmla="*/ 1609829 w 1971297"/>
              <a:gd name="connsiteY29" fmla="*/ 1480714 h 1970826"/>
              <a:gd name="connsiteX30" fmla="*/ 1579151 w 1971297"/>
              <a:gd name="connsiteY30" fmla="*/ 1512281 h 1970826"/>
              <a:gd name="connsiteX31" fmla="*/ 1677610 w 1971297"/>
              <a:gd name="connsiteY31" fmla="*/ 1689905 h 1970826"/>
              <a:gd name="connsiteX32" fmla="*/ 1554277 w 1971297"/>
              <a:gd name="connsiteY32" fmla="*/ 1791961 h 1970826"/>
              <a:gd name="connsiteX33" fmla="*/ 1402854 w 1971297"/>
              <a:gd name="connsiteY33" fmla="*/ 1660626 h 1970826"/>
              <a:gd name="connsiteX34" fmla="*/ 1363848 w 1971297"/>
              <a:gd name="connsiteY34" fmla="*/ 1687117 h 1970826"/>
              <a:gd name="connsiteX35" fmla="*/ 1398945 w 1971297"/>
              <a:gd name="connsiteY35" fmla="*/ 1886133 h 1970826"/>
              <a:gd name="connsiteX36" fmla="*/ 1247240 w 1971297"/>
              <a:gd name="connsiteY36" fmla="*/ 1941349 h 1970826"/>
              <a:gd name="connsiteX37" fmla="*/ 1146202 w 1971297"/>
              <a:gd name="connsiteY37" fmla="*/ 1766334 h 1970826"/>
              <a:gd name="connsiteX38" fmla="*/ 1100680 w 1971297"/>
              <a:gd name="connsiteY38" fmla="*/ 1773318 h 1970826"/>
              <a:gd name="connsiteX39" fmla="*/ 1062288 w 1971297"/>
              <a:gd name="connsiteY39" fmla="*/ 1970826 h 1970826"/>
              <a:gd name="connsiteX40" fmla="*/ 902210 w 1971297"/>
              <a:gd name="connsiteY40" fmla="*/ 1969728 h 1970826"/>
              <a:gd name="connsiteX41" fmla="*/ 870884 w 1971297"/>
              <a:gd name="connsiteY41" fmla="*/ 1773359 h 1970826"/>
              <a:gd name="connsiteX42" fmla="*/ 825096 w 1971297"/>
              <a:gd name="connsiteY42" fmla="*/ 1766334 h 1970826"/>
              <a:gd name="connsiteX43" fmla="*/ 724057 w 1971297"/>
              <a:gd name="connsiteY43" fmla="*/ 1941349 h 1970826"/>
              <a:gd name="connsiteX44" fmla="*/ 572352 w 1971297"/>
              <a:gd name="connsiteY44" fmla="*/ 1886133 h 1970826"/>
              <a:gd name="connsiteX45" fmla="*/ 607450 w 1971297"/>
              <a:gd name="connsiteY45" fmla="*/ 1687117 h 1970826"/>
              <a:gd name="connsiteX46" fmla="*/ 571181 w 1971297"/>
              <a:gd name="connsiteY46" fmla="*/ 1662485 h 1970826"/>
              <a:gd name="connsiteX47" fmla="*/ 421150 w 1971297"/>
              <a:gd name="connsiteY47" fmla="*/ 1792613 h 1970826"/>
              <a:gd name="connsiteX48" fmla="*/ 297817 w 1971297"/>
              <a:gd name="connsiteY48" fmla="*/ 1690557 h 1970826"/>
              <a:gd name="connsiteX49" fmla="*/ 395006 w 1971297"/>
              <a:gd name="connsiteY49" fmla="*/ 1515223 h 1970826"/>
              <a:gd name="connsiteX50" fmla="*/ 361468 w 1971297"/>
              <a:gd name="connsiteY50" fmla="*/ 1480715 h 1970826"/>
              <a:gd name="connsiteX51" fmla="*/ 171570 w 1971297"/>
              <a:gd name="connsiteY51" fmla="*/ 1549837 h 1970826"/>
              <a:gd name="connsiteX52" fmla="*/ 90850 w 1971297"/>
              <a:gd name="connsiteY52" fmla="*/ 1410026 h 1970826"/>
              <a:gd name="connsiteX53" fmla="*/ 245661 w 1971297"/>
              <a:gd name="connsiteY53" fmla="*/ 1280131 h 1970826"/>
              <a:gd name="connsiteX54" fmla="*/ 233972 w 1971297"/>
              <a:gd name="connsiteY54" fmla="*/ 1245643 h 1970826"/>
              <a:gd name="connsiteX55" fmla="*/ 31451 w 1971297"/>
              <a:gd name="connsiteY55" fmla="*/ 1248953 h 1970826"/>
              <a:gd name="connsiteX56" fmla="*/ 2573 w 1971297"/>
              <a:gd name="connsiteY56" fmla="*/ 1091497 h 1970826"/>
              <a:gd name="connsiteX57" fmla="*/ 191133 w 1971297"/>
              <a:gd name="connsiteY57" fmla="*/ 1019115 h 1970826"/>
              <a:gd name="connsiteX58" fmla="*/ 189902 w 1971297"/>
              <a:gd name="connsiteY58" fmla="*/ 963904 h 1970826"/>
              <a:gd name="connsiteX59" fmla="*/ 0 w 1971297"/>
              <a:gd name="connsiteY59" fmla="*/ 894790 h 1970826"/>
              <a:gd name="connsiteX60" fmla="*/ 28034 w 1971297"/>
              <a:gd name="connsiteY60" fmla="*/ 735802 h 1970826"/>
              <a:gd name="connsiteX61" fmla="*/ 230121 w 1971297"/>
              <a:gd name="connsiteY61" fmla="*/ 735808 h 1970826"/>
              <a:gd name="connsiteX62" fmla="*/ 240919 w 1971297"/>
              <a:gd name="connsiteY62" fmla="*/ 708079 h 1970826"/>
              <a:gd name="connsiteX63" fmla="*/ 84936 w 1971297"/>
              <a:gd name="connsiteY63" fmla="*/ 585933 h 1970826"/>
              <a:gd name="connsiteX64" fmla="*/ 161584 w 1971297"/>
              <a:gd name="connsiteY64" fmla="*/ 445393 h 1970826"/>
              <a:gd name="connsiteX65" fmla="*/ 354366 w 1971297"/>
              <a:gd name="connsiteY65" fmla="*/ 508031 h 1970826"/>
              <a:gd name="connsiteX66" fmla="*/ 390674 w 1971297"/>
              <a:gd name="connsiteY66" fmla="*/ 457722 h 1970826"/>
              <a:gd name="connsiteX67" fmla="*/ 289626 w 1971297"/>
              <a:gd name="connsiteY67" fmla="*/ 282712 h 1970826"/>
              <a:gd name="connsiteX68" fmla="*/ 413297 w 1971297"/>
              <a:gd name="connsiteY68" fmla="*/ 178940 h 1970826"/>
              <a:gd name="connsiteX69" fmla="*/ 568101 w 1971297"/>
              <a:gd name="connsiteY69" fmla="*/ 308843 h 1970826"/>
              <a:gd name="connsiteX70" fmla="*/ 611018 w 1971297"/>
              <a:gd name="connsiteY70" fmla="*/ 285324 h 1970826"/>
              <a:gd name="connsiteX71" fmla="*/ 576674 w 1971297"/>
              <a:gd name="connsiteY71" fmla="*/ 89277 h 1970826"/>
              <a:gd name="connsiteX72" fmla="*/ 727674 w 1971297"/>
              <a:gd name="connsiteY72" fmla="*/ 36123 h 1970826"/>
              <a:gd name="connsiteX73" fmla="*/ 826689 w 1971297"/>
              <a:gd name="connsiteY73" fmla="*/ 207623 h 1970826"/>
              <a:gd name="connsiteX74" fmla="*/ 869841 w 1971297"/>
              <a:gd name="connsiteY74" fmla="*/ 199018 h 1970826"/>
              <a:gd name="connsiteX75" fmla="*/ 904928 w 1971297"/>
              <a:gd name="connsiteY75" fmla="*/ 0 h 1970826"/>
              <a:gd name="connsiteX0" fmla="*/ 904928 w 1971297"/>
              <a:gd name="connsiteY0" fmla="*/ 0 h 1970826"/>
              <a:gd name="connsiteX1" fmla="*/ 1066369 w 1971297"/>
              <a:gd name="connsiteY1" fmla="*/ 0 h 1970826"/>
              <a:gd name="connsiteX2" fmla="*/ 1101456 w 1971297"/>
              <a:gd name="connsiteY2" fmla="*/ 199018 h 1970826"/>
              <a:gd name="connsiteX3" fmla="*/ 1149113 w 1971297"/>
              <a:gd name="connsiteY3" fmla="*/ 208521 h 1970826"/>
              <a:gd name="connsiteX4" fmla="*/ 1245734 w 1971297"/>
              <a:gd name="connsiteY4" fmla="*/ 36367 h 1970826"/>
              <a:gd name="connsiteX5" fmla="*/ 1396309 w 1971297"/>
              <a:gd name="connsiteY5" fmla="*/ 90716 h 1970826"/>
              <a:gd name="connsiteX6" fmla="*/ 1364293 w 1971297"/>
              <a:gd name="connsiteY6" fmla="*/ 287523 h 1970826"/>
              <a:gd name="connsiteX7" fmla="*/ 1403197 w 1971297"/>
              <a:gd name="connsiteY7" fmla="*/ 308843 h 1970826"/>
              <a:gd name="connsiteX8" fmla="*/ 1558001 w 1971297"/>
              <a:gd name="connsiteY8" fmla="*/ 178940 h 1970826"/>
              <a:gd name="connsiteX9" fmla="*/ 1681671 w 1971297"/>
              <a:gd name="connsiteY9" fmla="*/ 282712 h 1970826"/>
              <a:gd name="connsiteX10" fmla="*/ 1580623 w 1971297"/>
              <a:gd name="connsiteY10" fmla="*/ 457722 h 1970826"/>
              <a:gd name="connsiteX11" fmla="*/ 1610608 w 1971297"/>
              <a:gd name="connsiteY11" fmla="*/ 499270 h 1970826"/>
              <a:gd name="connsiteX12" fmla="*/ 1802874 w 1971297"/>
              <a:gd name="connsiteY12" fmla="*/ 433067 h 1970826"/>
              <a:gd name="connsiteX13" fmla="*/ 1881963 w 1971297"/>
              <a:gd name="connsiteY13" fmla="*/ 572248 h 1970826"/>
              <a:gd name="connsiteX14" fmla="*/ 1726590 w 1971297"/>
              <a:gd name="connsiteY14" fmla="*/ 698353 h 1970826"/>
              <a:gd name="connsiteX15" fmla="*/ 1741176 w 1971297"/>
              <a:gd name="connsiteY15" fmla="*/ 735808 h 1970826"/>
              <a:gd name="connsiteX16" fmla="*/ 1943264 w 1971297"/>
              <a:gd name="connsiteY16" fmla="*/ 735802 h 1970826"/>
              <a:gd name="connsiteX17" fmla="*/ 1971297 w 1971297"/>
              <a:gd name="connsiteY17" fmla="*/ 894790 h 1970826"/>
              <a:gd name="connsiteX18" fmla="*/ 1781396 w 1971297"/>
              <a:gd name="connsiteY18" fmla="*/ 963903 h 1970826"/>
              <a:gd name="connsiteX19" fmla="*/ 1780264 w 1971297"/>
              <a:gd name="connsiteY19" fmla="*/ 1014677 h 1970826"/>
              <a:gd name="connsiteX20" fmla="*/ 1969010 w 1971297"/>
              <a:gd name="connsiteY20" fmla="*/ 1087130 h 1970826"/>
              <a:gd name="connsiteX21" fmla="*/ 1940132 w 1971297"/>
              <a:gd name="connsiteY21" fmla="*/ 1244586 h 1970826"/>
              <a:gd name="connsiteX22" fmla="*/ 1738798 w 1971297"/>
              <a:gd name="connsiteY22" fmla="*/ 1241295 h 1970826"/>
              <a:gd name="connsiteX23" fmla="*/ 1725636 w 1971297"/>
              <a:gd name="connsiteY23" fmla="*/ 1280130 h 1970826"/>
              <a:gd name="connsiteX24" fmla="*/ 1880447 w 1971297"/>
              <a:gd name="connsiteY24" fmla="*/ 1410026 h 1970826"/>
              <a:gd name="connsiteX25" fmla="*/ 1799727 w 1971297"/>
              <a:gd name="connsiteY25" fmla="*/ 1549837 h 1970826"/>
              <a:gd name="connsiteX26" fmla="*/ 1609829 w 1971297"/>
              <a:gd name="connsiteY26" fmla="*/ 1480714 h 1970826"/>
              <a:gd name="connsiteX27" fmla="*/ 1579151 w 1971297"/>
              <a:gd name="connsiteY27" fmla="*/ 1512281 h 1970826"/>
              <a:gd name="connsiteX28" fmla="*/ 1677610 w 1971297"/>
              <a:gd name="connsiteY28" fmla="*/ 1689905 h 1970826"/>
              <a:gd name="connsiteX29" fmla="*/ 1554277 w 1971297"/>
              <a:gd name="connsiteY29" fmla="*/ 1791961 h 1970826"/>
              <a:gd name="connsiteX30" fmla="*/ 1402854 w 1971297"/>
              <a:gd name="connsiteY30" fmla="*/ 1660626 h 1970826"/>
              <a:gd name="connsiteX31" fmla="*/ 1363848 w 1971297"/>
              <a:gd name="connsiteY31" fmla="*/ 1687117 h 1970826"/>
              <a:gd name="connsiteX32" fmla="*/ 1398945 w 1971297"/>
              <a:gd name="connsiteY32" fmla="*/ 1886133 h 1970826"/>
              <a:gd name="connsiteX33" fmla="*/ 1247240 w 1971297"/>
              <a:gd name="connsiteY33" fmla="*/ 1941349 h 1970826"/>
              <a:gd name="connsiteX34" fmla="*/ 1146202 w 1971297"/>
              <a:gd name="connsiteY34" fmla="*/ 1766334 h 1970826"/>
              <a:gd name="connsiteX35" fmla="*/ 1100680 w 1971297"/>
              <a:gd name="connsiteY35" fmla="*/ 1773318 h 1970826"/>
              <a:gd name="connsiteX36" fmla="*/ 1062288 w 1971297"/>
              <a:gd name="connsiteY36" fmla="*/ 1970826 h 1970826"/>
              <a:gd name="connsiteX37" fmla="*/ 902210 w 1971297"/>
              <a:gd name="connsiteY37" fmla="*/ 1969728 h 1970826"/>
              <a:gd name="connsiteX38" fmla="*/ 870884 w 1971297"/>
              <a:gd name="connsiteY38" fmla="*/ 1773359 h 1970826"/>
              <a:gd name="connsiteX39" fmla="*/ 825096 w 1971297"/>
              <a:gd name="connsiteY39" fmla="*/ 1766334 h 1970826"/>
              <a:gd name="connsiteX40" fmla="*/ 724057 w 1971297"/>
              <a:gd name="connsiteY40" fmla="*/ 1941349 h 1970826"/>
              <a:gd name="connsiteX41" fmla="*/ 572352 w 1971297"/>
              <a:gd name="connsiteY41" fmla="*/ 1886133 h 1970826"/>
              <a:gd name="connsiteX42" fmla="*/ 607450 w 1971297"/>
              <a:gd name="connsiteY42" fmla="*/ 1687117 h 1970826"/>
              <a:gd name="connsiteX43" fmla="*/ 571181 w 1971297"/>
              <a:gd name="connsiteY43" fmla="*/ 1662485 h 1970826"/>
              <a:gd name="connsiteX44" fmla="*/ 421150 w 1971297"/>
              <a:gd name="connsiteY44" fmla="*/ 1792613 h 1970826"/>
              <a:gd name="connsiteX45" fmla="*/ 297817 w 1971297"/>
              <a:gd name="connsiteY45" fmla="*/ 1690557 h 1970826"/>
              <a:gd name="connsiteX46" fmla="*/ 395006 w 1971297"/>
              <a:gd name="connsiteY46" fmla="*/ 1515223 h 1970826"/>
              <a:gd name="connsiteX47" fmla="*/ 361468 w 1971297"/>
              <a:gd name="connsiteY47" fmla="*/ 1480715 h 1970826"/>
              <a:gd name="connsiteX48" fmla="*/ 171570 w 1971297"/>
              <a:gd name="connsiteY48" fmla="*/ 1549837 h 1970826"/>
              <a:gd name="connsiteX49" fmla="*/ 90850 w 1971297"/>
              <a:gd name="connsiteY49" fmla="*/ 1410026 h 1970826"/>
              <a:gd name="connsiteX50" fmla="*/ 245661 w 1971297"/>
              <a:gd name="connsiteY50" fmla="*/ 1280131 h 1970826"/>
              <a:gd name="connsiteX51" fmla="*/ 233972 w 1971297"/>
              <a:gd name="connsiteY51" fmla="*/ 1245643 h 1970826"/>
              <a:gd name="connsiteX52" fmla="*/ 31451 w 1971297"/>
              <a:gd name="connsiteY52" fmla="*/ 1248953 h 1970826"/>
              <a:gd name="connsiteX53" fmla="*/ 2573 w 1971297"/>
              <a:gd name="connsiteY53" fmla="*/ 1091497 h 1970826"/>
              <a:gd name="connsiteX54" fmla="*/ 191133 w 1971297"/>
              <a:gd name="connsiteY54" fmla="*/ 1019115 h 1970826"/>
              <a:gd name="connsiteX55" fmla="*/ 189902 w 1971297"/>
              <a:gd name="connsiteY55" fmla="*/ 963904 h 1970826"/>
              <a:gd name="connsiteX56" fmla="*/ 0 w 1971297"/>
              <a:gd name="connsiteY56" fmla="*/ 894790 h 1970826"/>
              <a:gd name="connsiteX57" fmla="*/ 28034 w 1971297"/>
              <a:gd name="connsiteY57" fmla="*/ 735802 h 1970826"/>
              <a:gd name="connsiteX58" fmla="*/ 230121 w 1971297"/>
              <a:gd name="connsiteY58" fmla="*/ 735808 h 1970826"/>
              <a:gd name="connsiteX59" fmla="*/ 240919 w 1971297"/>
              <a:gd name="connsiteY59" fmla="*/ 708079 h 1970826"/>
              <a:gd name="connsiteX60" fmla="*/ 84936 w 1971297"/>
              <a:gd name="connsiteY60" fmla="*/ 585933 h 1970826"/>
              <a:gd name="connsiteX61" fmla="*/ 161584 w 1971297"/>
              <a:gd name="connsiteY61" fmla="*/ 445393 h 1970826"/>
              <a:gd name="connsiteX62" fmla="*/ 354366 w 1971297"/>
              <a:gd name="connsiteY62" fmla="*/ 508031 h 1970826"/>
              <a:gd name="connsiteX63" fmla="*/ 390674 w 1971297"/>
              <a:gd name="connsiteY63" fmla="*/ 457722 h 1970826"/>
              <a:gd name="connsiteX64" fmla="*/ 289626 w 1971297"/>
              <a:gd name="connsiteY64" fmla="*/ 282712 h 1970826"/>
              <a:gd name="connsiteX65" fmla="*/ 413297 w 1971297"/>
              <a:gd name="connsiteY65" fmla="*/ 178940 h 1970826"/>
              <a:gd name="connsiteX66" fmla="*/ 568101 w 1971297"/>
              <a:gd name="connsiteY66" fmla="*/ 308843 h 1970826"/>
              <a:gd name="connsiteX67" fmla="*/ 611018 w 1971297"/>
              <a:gd name="connsiteY67" fmla="*/ 285324 h 1970826"/>
              <a:gd name="connsiteX68" fmla="*/ 576674 w 1971297"/>
              <a:gd name="connsiteY68" fmla="*/ 89277 h 1970826"/>
              <a:gd name="connsiteX69" fmla="*/ 727674 w 1971297"/>
              <a:gd name="connsiteY69" fmla="*/ 36123 h 1970826"/>
              <a:gd name="connsiteX70" fmla="*/ 826689 w 1971297"/>
              <a:gd name="connsiteY70" fmla="*/ 207623 h 1970826"/>
              <a:gd name="connsiteX71" fmla="*/ 869841 w 1971297"/>
              <a:gd name="connsiteY71" fmla="*/ 199018 h 1970826"/>
              <a:gd name="connsiteX72" fmla="*/ 904928 w 1971297"/>
              <a:gd name="connsiteY72" fmla="*/ 0 h 197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971297" h="1970826">
                <a:moveTo>
                  <a:pt x="904928" y="0"/>
                </a:moveTo>
                <a:lnTo>
                  <a:pt x="1066369" y="0"/>
                </a:lnTo>
                <a:lnTo>
                  <a:pt x="1101456" y="199018"/>
                </a:lnTo>
                <a:lnTo>
                  <a:pt x="1149113" y="208521"/>
                </a:lnTo>
                <a:lnTo>
                  <a:pt x="1245734" y="36367"/>
                </a:lnTo>
                <a:lnTo>
                  <a:pt x="1396309" y="90716"/>
                </a:lnTo>
                <a:lnTo>
                  <a:pt x="1364293" y="287523"/>
                </a:lnTo>
                <a:lnTo>
                  <a:pt x="1403197" y="308843"/>
                </a:lnTo>
                <a:lnTo>
                  <a:pt x="1558001" y="178940"/>
                </a:lnTo>
                <a:lnTo>
                  <a:pt x="1681671" y="282712"/>
                </a:lnTo>
                <a:lnTo>
                  <a:pt x="1580623" y="457722"/>
                </a:lnTo>
                <a:lnTo>
                  <a:pt x="1610608" y="499270"/>
                </a:lnTo>
                <a:lnTo>
                  <a:pt x="1802874" y="433067"/>
                </a:lnTo>
                <a:lnTo>
                  <a:pt x="1881963" y="572248"/>
                </a:lnTo>
                <a:lnTo>
                  <a:pt x="1726590" y="698353"/>
                </a:lnTo>
                <a:lnTo>
                  <a:pt x="1741176" y="735808"/>
                </a:lnTo>
                <a:lnTo>
                  <a:pt x="1943264" y="735802"/>
                </a:lnTo>
                <a:lnTo>
                  <a:pt x="1971297" y="894790"/>
                </a:lnTo>
                <a:lnTo>
                  <a:pt x="1781396" y="963903"/>
                </a:lnTo>
                <a:cubicBezTo>
                  <a:pt x="1781019" y="980828"/>
                  <a:pt x="1780641" y="997752"/>
                  <a:pt x="1780264" y="1014677"/>
                </a:cubicBezTo>
                <a:lnTo>
                  <a:pt x="1969010" y="1087130"/>
                </a:lnTo>
                <a:lnTo>
                  <a:pt x="1940132" y="1244586"/>
                </a:lnTo>
                <a:lnTo>
                  <a:pt x="1738798" y="1241295"/>
                </a:lnTo>
                <a:lnTo>
                  <a:pt x="1725636" y="1280130"/>
                </a:lnTo>
                <a:lnTo>
                  <a:pt x="1880447" y="1410026"/>
                </a:lnTo>
                <a:lnTo>
                  <a:pt x="1799727" y="1549837"/>
                </a:lnTo>
                <a:lnTo>
                  <a:pt x="1609829" y="1480714"/>
                </a:lnTo>
                <a:lnTo>
                  <a:pt x="1579151" y="1512281"/>
                </a:lnTo>
                <a:lnTo>
                  <a:pt x="1677610" y="1689905"/>
                </a:lnTo>
                <a:lnTo>
                  <a:pt x="1554277" y="1791961"/>
                </a:lnTo>
                <a:lnTo>
                  <a:pt x="1402854" y="1660626"/>
                </a:lnTo>
                <a:lnTo>
                  <a:pt x="1363848" y="1687117"/>
                </a:lnTo>
                <a:lnTo>
                  <a:pt x="1398945" y="1886133"/>
                </a:lnTo>
                <a:lnTo>
                  <a:pt x="1247240" y="1941349"/>
                </a:lnTo>
                <a:lnTo>
                  <a:pt x="1146202" y="1766334"/>
                </a:lnTo>
                <a:lnTo>
                  <a:pt x="1100680" y="1773318"/>
                </a:lnTo>
                <a:lnTo>
                  <a:pt x="1062288" y="1970826"/>
                </a:lnTo>
                <a:lnTo>
                  <a:pt x="902210" y="1969728"/>
                </a:lnTo>
                <a:lnTo>
                  <a:pt x="870884" y="1773359"/>
                </a:lnTo>
                <a:lnTo>
                  <a:pt x="825096" y="1766334"/>
                </a:lnTo>
                <a:lnTo>
                  <a:pt x="724057" y="1941349"/>
                </a:lnTo>
                <a:lnTo>
                  <a:pt x="572352" y="1886133"/>
                </a:lnTo>
                <a:lnTo>
                  <a:pt x="607450" y="1687117"/>
                </a:lnTo>
                <a:lnTo>
                  <a:pt x="571181" y="1662485"/>
                </a:lnTo>
                <a:lnTo>
                  <a:pt x="421150" y="1792613"/>
                </a:lnTo>
                <a:lnTo>
                  <a:pt x="297817" y="1690557"/>
                </a:lnTo>
                <a:lnTo>
                  <a:pt x="395006" y="1515223"/>
                </a:lnTo>
                <a:lnTo>
                  <a:pt x="361468" y="1480715"/>
                </a:lnTo>
                <a:lnTo>
                  <a:pt x="171570" y="1549837"/>
                </a:lnTo>
                <a:lnTo>
                  <a:pt x="90850" y="1410026"/>
                </a:lnTo>
                <a:lnTo>
                  <a:pt x="245661" y="1280131"/>
                </a:lnTo>
                <a:lnTo>
                  <a:pt x="233972" y="1245643"/>
                </a:lnTo>
                <a:lnTo>
                  <a:pt x="31451" y="1248953"/>
                </a:lnTo>
                <a:lnTo>
                  <a:pt x="2573" y="1091497"/>
                </a:lnTo>
                <a:lnTo>
                  <a:pt x="191133" y="1019115"/>
                </a:lnTo>
                <a:cubicBezTo>
                  <a:pt x="190723" y="1000711"/>
                  <a:pt x="190312" y="982308"/>
                  <a:pt x="189902" y="963904"/>
                </a:cubicBezTo>
                <a:lnTo>
                  <a:pt x="0" y="894790"/>
                </a:lnTo>
                <a:lnTo>
                  <a:pt x="28034" y="735802"/>
                </a:lnTo>
                <a:lnTo>
                  <a:pt x="230121" y="735808"/>
                </a:lnTo>
                <a:lnTo>
                  <a:pt x="240919" y="708079"/>
                </a:lnTo>
                <a:lnTo>
                  <a:pt x="84936" y="585933"/>
                </a:lnTo>
                <a:lnTo>
                  <a:pt x="161584" y="445393"/>
                </a:lnTo>
                <a:lnTo>
                  <a:pt x="354366" y="508031"/>
                </a:lnTo>
                <a:lnTo>
                  <a:pt x="390674" y="457722"/>
                </a:lnTo>
                <a:lnTo>
                  <a:pt x="289626" y="282712"/>
                </a:lnTo>
                <a:lnTo>
                  <a:pt x="413297" y="178940"/>
                </a:lnTo>
                <a:lnTo>
                  <a:pt x="568101" y="308843"/>
                </a:lnTo>
                <a:lnTo>
                  <a:pt x="611018" y="285324"/>
                </a:lnTo>
                <a:lnTo>
                  <a:pt x="576674" y="89277"/>
                </a:lnTo>
                <a:lnTo>
                  <a:pt x="727674" y="36123"/>
                </a:lnTo>
                <a:lnTo>
                  <a:pt x="826689" y="207623"/>
                </a:lnTo>
                <a:lnTo>
                  <a:pt x="869841" y="199018"/>
                </a:lnTo>
                <a:lnTo>
                  <a:pt x="904928" y="0"/>
                </a:lnTo>
                <a:close/>
              </a:path>
            </a:pathLst>
          </a:custGeom>
          <a:solidFill>
            <a:schemeClr val="accent1">
              <a:lumMod val="20000"/>
              <a:lumOff val="80000"/>
            </a:scheme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70287" tIns="769233" rIns="670287" bIns="821356" numCol="1" spcCol="1270" anchor="ctr" anchorCtr="0">
            <a:noAutofit/>
          </a:bodyPr>
          <a:lstStyle/>
          <a:p>
            <a:pPr algn="ctr" defTabSz="2489138">
              <a:lnSpc>
                <a:spcPct val="90000"/>
              </a:lnSpc>
              <a:spcBef>
                <a:spcPct val="0"/>
              </a:spcBef>
              <a:spcAft>
                <a:spcPct val="35000"/>
              </a:spcAft>
            </a:pPr>
            <a:endParaRPr lang="en-US" sz="5600" dirty="0">
              <a:solidFill>
                <a:prstClr val="white"/>
              </a:solidFill>
              <a:latin typeface="Arial" panose="020B0604020202020204"/>
            </a:endParaRPr>
          </a:p>
        </p:txBody>
      </p:sp>
      <p:sp>
        <p:nvSpPr>
          <p:cNvPr id="28" name="Freeform 24">
            <a:extLst>
              <a:ext uri="{FF2B5EF4-FFF2-40B4-BE49-F238E27FC236}">
                <a16:creationId xmlns:a16="http://schemas.microsoft.com/office/drawing/2014/main" id="{BCD62EF2-B2FC-7561-F865-3635503B158A}"/>
              </a:ext>
            </a:extLst>
          </p:cNvPr>
          <p:cNvSpPr>
            <a:spLocks noChangeAspect="1"/>
          </p:cNvSpPr>
          <p:nvPr/>
        </p:nvSpPr>
        <p:spPr>
          <a:xfrm flipH="1">
            <a:off x="6687733" y="1667004"/>
            <a:ext cx="435657" cy="435657"/>
          </a:xfrm>
          <a:custGeom>
            <a:avLst/>
            <a:gdLst>
              <a:gd name="connsiteX0" fmla="*/ 212598 w 1971297"/>
              <a:gd name="connsiteY0" fmla="*/ 1172544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98126 w 1971297"/>
              <a:gd name="connsiteY6" fmla="*/ 1096370 h 1970826"/>
              <a:gd name="connsiteX7" fmla="*/ 199057 w 1971297"/>
              <a:gd name="connsiteY7" fmla="*/ 1110557 h 1970826"/>
              <a:gd name="connsiteX8" fmla="*/ 200997 w 1971297"/>
              <a:gd name="connsiteY8" fmla="*/ 1119440 h 1970826"/>
              <a:gd name="connsiteX9" fmla="*/ 1658502 w 1971297"/>
              <a:gd name="connsiteY9" fmla="*/ 565633 h 1970826"/>
              <a:gd name="connsiteX10" fmla="*/ 1664864 w 1971297"/>
              <a:gd name="connsiteY10" fmla="*/ 574448 h 1970826"/>
              <a:gd name="connsiteX11" fmla="*/ 1664611 w 1971297"/>
              <a:gd name="connsiteY11" fmla="*/ 573966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0" fmla="*/ 217129 w 1971297"/>
              <a:gd name="connsiteY0" fmla="*/ 1192320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773168 w 1971297"/>
              <a:gd name="connsiteY6" fmla="*/ 1096396 h 1970826"/>
              <a:gd name="connsiteX7" fmla="*/ 198126 w 1971297"/>
              <a:gd name="connsiteY7" fmla="*/ 1096370 h 1970826"/>
              <a:gd name="connsiteX8" fmla="*/ 199057 w 1971297"/>
              <a:gd name="connsiteY8" fmla="*/ 1110557 h 1970826"/>
              <a:gd name="connsiteX9" fmla="*/ 200997 w 1971297"/>
              <a:gd name="connsiteY9" fmla="*/ 1119440 h 1970826"/>
              <a:gd name="connsiteX10" fmla="*/ 198126 w 1971297"/>
              <a:gd name="connsiteY10" fmla="*/ 1096370 h 1970826"/>
              <a:gd name="connsiteX11" fmla="*/ 1658502 w 1971297"/>
              <a:gd name="connsiteY11" fmla="*/ 565633 h 1970826"/>
              <a:gd name="connsiteX12" fmla="*/ 1664864 w 1971297"/>
              <a:gd name="connsiteY12" fmla="*/ 574448 h 1970826"/>
              <a:gd name="connsiteX13" fmla="*/ 1664611 w 1971297"/>
              <a:gd name="connsiteY13" fmla="*/ 573966 h 1970826"/>
              <a:gd name="connsiteX14" fmla="*/ 1658502 w 1971297"/>
              <a:gd name="connsiteY14" fmla="*/ 565633 h 1970826"/>
              <a:gd name="connsiteX15" fmla="*/ 985649 w 1971297"/>
              <a:gd name="connsiteY15" fmla="*/ 323553 h 1970826"/>
              <a:gd name="connsiteX16" fmla="*/ 322581 w 1971297"/>
              <a:gd name="connsiteY16" fmla="*/ 986621 h 1970826"/>
              <a:gd name="connsiteX17" fmla="*/ 985649 w 1971297"/>
              <a:gd name="connsiteY17" fmla="*/ 1649689 h 1970826"/>
              <a:gd name="connsiteX18" fmla="*/ 1648717 w 1971297"/>
              <a:gd name="connsiteY18" fmla="*/ 986621 h 1970826"/>
              <a:gd name="connsiteX19" fmla="*/ 985649 w 1971297"/>
              <a:gd name="connsiteY19" fmla="*/ 323553 h 1970826"/>
              <a:gd name="connsiteX20" fmla="*/ 904928 w 1971297"/>
              <a:gd name="connsiteY20" fmla="*/ 0 h 1970826"/>
              <a:gd name="connsiteX21" fmla="*/ 1066369 w 1971297"/>
              <a:gd name="connsiteY21" fmla="*/ 0 h 1970826"/>
              <a:gd name="connsiteX22" fmla="*/ 1101456 w 1971297"/>
              <a:gd name="connsiteY22" fmla="*/ 199018 h 1970826"/>
              <a:gd name="connsiteX23" fmla="*/ 1149113 w 1971297"/>
              <a:gd name="connsiteY23" fmla="*/ 208521 h 1970826"/>
              <a:gd name="connsiteX24" fmla="*/ 1245734 w 1971297"/>
              <a:gd name="connsiteY24" fmla="*/ 36367 h 1970826"/>
              <a:gd name="connsiteX25" fmla="*/ 1396309 w 1971297"/>
              <a:gd name="connsiteY25" fmla="*/ 90716 h 1970826"/>
              <a:gd name="connsiteX26" fmla="*/ 1364293 w 1971297"/>
              <a:gd name="connsiteY26" fmla="*/ 287523 h 1970826"/>
              <a:gd name="connsiteX27" fmla="*/ 1403197 w 1971297"/>
              <a:gd name="connsiteY27" fmla="*/ 308843 h 1970826"/>
              <a:gd name="connsiteX28" fmla="*/ 1558001 w 1971297"/>
              <a:gd name="connsiteY28" fmla="*/ 178940 h 1970826"/>
              <a:gd name="connsiteX29" fmla="*/ 1681671 w 1971297"/>
              <a:gd name="connsiteY29" fmla="*/ 282712 h 1970826"/>
              <a:gd name="connsiteX30" fmla="*/ 1580623 w 1971297"/>
              <a:gd name="connsiteY30" fmla="*/ 457722 h 1970826"/>
              <a:gd name="connsiteX31" fmla="*/ 1610608 w 1971297"/>
              <a:gd name="connsiteY31" fmla="*/ 499270 h 1970826"/>
              <a:gd name="connsiteX32" fmla="*/ 1802874 w 1971297"/>
              <a:gd name="connsiteY32" fmla="*/ 433067 h 1970826"/>
              <a:gd name="connsiteX33" fmla="*/ 1881963 w 1971297"/>
              <a:gd name="connsiteY33" fmla="*/ 572248 h 1970826"/>
              <a:gd name="connsiteX34" fmla="*/ 1726590 w 1971297"/>
              <a:gd name="connsiteY34" fmla="*/ 698353 h 1970826"/>
              <a:gd name="connsiteX35" fmla="*/ 1741176 w 1971297"/>
              <a:gd name="connsiteY35" fmla="*/ 735808 h 1970826"/>
              <a:gd name="connsiteX36" fmla="*/ 1943264 w 1971297"/>
              <a:gd name="connsiteY36" fmla="*/ 735802 h 1970826"/>
              <a:gd name="connsiteX37" fmla="*/ 1971297 w 1971297"/>
              <a:gd name="connsiteY37" fmla="*/ 894790 h 1970826"/>
              <a:gd name="connsiteX38" fmla="*/ 1781396 w 1971297"/>
              <a:gd name="connsiteY38" fmla="*/ 963903 h 1970826"/>
              <a:gd name="connsiteX39" fmla="*/ 1780264 w 1971297"/>
              <a:gd name="connsiteY39" fmla="*/ 1014677 h 1970826"/>
              <a:gd name="connsiteX40" fmla="*/ 1969010 w 1971297"/>
              <a:gd name="connsiteY40" fmla="*/ 1087130 h 1970826"/>
              <a:gd name="connsiteX41" fmla="*/ 1940132 w 1971297"/>
              <a:gd name="connsiteY41" fmla="*/ 1244586 h 1970826"/>
              <a:gd name="connsiteX42" fmla="*/ 1738798 w 1971297"/>
              <a:gd name="connsiteY42" fmla="*/ 1241295 h 1970826"/>
              <a:gd name="connsiteX43" fmla="*/ 1725636 w 1971297"/>
              <a:gd name="connsiteY43" fmla="*/ 1280130 h 1970826"/>
              <a:gd name="connsiteX44" fmla="*/ 1880447 w 1971297"/>
              <a:gd name="connsiteY44" fmla="*/ 1410026 h 1970826"/>
              <a:gd name="connsiteX45" fmla="*/ 1799727 w 1971297"/>
              <a:gd name="connsiteY45" fmla="*/ 1549837 h 1970826"/>
              <a:gd name="connsiteX46" fmla="*/ 1609829 w 1971297"/>
              <a:gd name="connsiteY46" fmla="*/ 1480714 h 1970826"/>
              <a:gd name="connsiteX47" fmla="*/ 1579151 w 1971297"/>
              <a:gd name="connsiteY47" fmla="*/ 1512281 h 1970826"/>
              <a:gd name="connsiteX48" fmla="*/ 1677610 w 1971297"/>
              <a:gd name="connsiteY48" fmla="*/ 1689905 h 1970826"/>
              <a:gd name="connsiteX49" fmla="*/ 1554277 w 1971297"/>
              <a:gd name="connsiteY49" fmla="*/ 1791961 h 1970826"/>
              <a:gd name="connsiteX50" fmla="*/ 1402854 w 1971297"/>
              <a:gd name="connsiteY50" fmla="*/ 1660626 h 1970826"/>
              <a:gd name="connsiteX51" fmla="*/ 1363848 w 1971297"/>
              <a:gd name="connsiteY51" fmla="*/ 1687117 h 1970826"/>
              <a:gd name="connsiteX52" fmla="*/ 1398945 w 1971297"/>
              <a:gd name="connsiteY52" fmla="*/ 1886133 h 1970826"/>
              <a:gd name="connsiteX53" fmla="*/ 1247240 w 1971297"/>
              <a:gd name="connsiteY53" fmla="*/ 1941349 h 1970826"/>
              <a:gd name="connsiteX54" fmla="*/ 1146202 w 1971297"/>
              <a:gd name="connsiteY54" fmla="*/ 1766334 h 1970826"/>
              <a:gd name="connsiteX55" fmla="*/ 1100680 w 1971297"/>
              <a:gd name="connsiteY55" fmla="*/ 1773318 h 1970826"/>
              <a:gd name="connsiteX56" fmla="*/ 1062288 w 1971297"/>
              <a:gd name="connsiteY56" fmla="*/ 1970826 h 1970826"/>
              <a:gd name="connsiteX57" fmla="*/ 902210 w 1971297"/>
              <a:gd name="connsiteY57" fmla="*/ 1969728 h 1970826"/>
              <a:gd name="connsiteX58" fmla="*/ 870884 w 1971297"/>
              <a:gd name="connsiteY58" fmla="*/ 1773359 h 1970826"/>
              <a:gd name="connsiteX59" fmla="*/ 825096 w 1971297"/>
              <a:gd name="connsiteY59" fmla="*/ 1766334 h 1970826"/>
              <a:gd name="connsiteX60" fmla="*/ 724057 w 1971297"/>
              <a:gd name="connsiteY60" fmla="*/ 1941349 h 1970826"/>
              <a:gd name="connsiteX61" fmla="*/ 572352 w 1971297"/>
              <a:gd name="connsiteY61" fmla="*/ 1886133 h 1970826"/>
              <a:gd name="connsiteX62" fmla="*/ 607450 w 1971297"/>
              <a:gd name="connsiteY62" fmla="*/ 1687117 h 1970826"/>
              <a:gd name="connsiteX63" fmla="*/ 571181 w 1971297"/>
              <a:gd name="connsiteY63" fmla="*/ 1662485 h 1970826"/>
              <a:gd name="connsiteX64" fmla="*/ 421150 w 1971297"/>
              <a:gd name="connsiteY64" fmla="*/ 1792613 h 1970826"/>
              <a:gd name="connsiteX65" fmla="*/ 297817 w 1971297"/>
              <a:gd name="connsiteY65" fmla="*/ 1690557 h 1970826"/>
              <a:gd name="connsiteX66" fmla="*/ 395006 w 1971297"/>
              <a:gd name="connsiteY66" fmla="*/ 1515223 h 1970826"/>
              <a:gd name="connsiteX67" fmla="*/ 361468 w 1971297"/>
              <a:gd name="connsiteY67" fmla="*/ 1480715 h 1970826"/>
              <a:gd name="connsiteX68" fmla="*/ 171570 w 1971297"/>
              <a:gd name="connsiteY68" fmla="*/ 1549837 h 1970826"/>
              <a:gd name="connsiteX69" fmla="*/ 90850 w 1971297"/>
              <a:gd name="connsiteY69" fmla="*/ 1410026 h 1970826"/>
              <a:gd name="connsiteX70" fmla="*/ 245661 w 1971297"/>
              <a:gd name="connsiteY70" fmla="*/ 1280131 h 1970826"/>
              <a:gd name="connsiteX71" fmla="*/ 233972 w 1971297"/>
              <a:gd name="connsiteY71" fmla="*/ 1245643 h 1970826"/>
              <a:gd name="connsiteX72" fmla="*/ 31451 w 1971297"/>
              <a:gd name="connsiteY72" fmla="*/ 1248953 h 1970826"/>
              <a:gd name="connsiteX73" fmla="*/ 2573 w 1971297"/>
              <a:gd name="connsiteY73" fmla="*/ 1091497 h 1970826"/>
              <a:gd name="connsiteX74" fmla="*/ 191133 w 1971297"/>
              <a:gd name="connsiteY74" fmla="*/ 1019115 h 1970826"/>
              <a:gd name="connsiteX75" fmla="*/ 189902 w 1971297"/>
              <a:gd name="connsiteY75" fmla="*/ 963904 h 1970826"/>
              <a:gd name="connsiteX76" fmla="*/ 0 w 1971297"/>
              <a:gd name="connsiteY76" fmla="*/ 894790 h 1970826"/>
              <a:gd name="connsiteX77" fmla="*/ 28034 w 1971297"/>
              <a:gd name="connsiteY77" fmla="*/ 735802 h 1970826"/>
              <a:gd name="connsiteX78" fmla="*/ 230121 w 1971297"/>
              <a:gd name="connsiteY78" fmla="*/ 735808 h 1970826"/>
              <a:gd name="connsiteX79" fmla="*/ 240919 w 1971297"/>
              <a:gd name="connsiteY79" fmla="*/ 708079 h 1970826"/>
              <a:gd name="connsiteX80" fmla="*/ 84936 w 1971297"/>
              <a:gd name="connsiteY80" fmla="*/ 585933 h 1970826"/>
              <a:gd name="connsiteX81" fmla="*/ 161584 w 1971297"/>
              <a:gd name="connsiteY81" fmla="*/ 445393 h 1970826"/>
              <a:gd name="connsiteX82" fmla="*/ 354366 w 1971297"/>
              <a:gd name="connsiteY82" fmla="*/ 508031 h 1970826"/>
              <a:gd name="connsiteX83" fmla="*/ 390674 w 1971297"/>
              <a:gd name="connsiteY83" fmla="*/ 457722 h 1970826"/>
              <a:gd name="connsiteX84" fmla="*/ 289626 w 1971297"/>
              <a:gd name="connsiteY84" fmla="*/ 282712 h 1970826"/>
              <a:gd name="connsiteX85" fmla="*/ 413297 w 1971297"/>
              <a:gd name="connsiteY85" fmla="*/ 178940 h 1970826"/>
              <a:gd name="connsiteX86" fmla="*/ 568101 w 1971297"/>
              <a:gd name="connsiteY86" fmla="*/ 308843 h 1970826"/>
              <a:gd name="connsiteX87" fmla="*/ 611018 w 1971297"/>
              <a:gd name="connsiteY87" fmla="*/ 285324 h 1970826"/>
              <a:gd name="connsiteX88" fmla="*/ 576674 w 1971297"/>
              <a:gd name="connsiteY88" fmla="*/ 89277 h 1970826"/>
              <a:gd name="connsiteX89" fmla="*/ 727674 w 1971297"/>
              <a:gd name="connsiteY89" fmla="*/ 36123 h 1970826"/>
              <a:gd name="connsiteX90" fmla="*/ 826689 w 1971297"/>
              <a:gd name="connsiteY90" fmla="*/ 207623 h 1970826"/>
              <a:gd name="connsiteX91" fmla="*/ 869841 w 1971297"/>
              <a:gd name="connsiteY91" fmla="*/ 199018 h 1970826"/>
              <a:gd name="connsiteX92" fmla="*/ 904928 w 1971297"/>
              <a:gd name="connsiteY92" fmla="*/ 0 h 1970826"/>
              <a:gd name="connsiteX0" fmla="*/ 1773168 w 1971297"/>
              <a:gd name="connsiteY0" fmla="*/ 1096396 h 1970826"/>
              <a:gd name="connsiteX1" fmla="*/ 1771186 w 1971297"/>
              <a:gd name="connsiteY1" fmla="*/ 1112322 h 1970826"/>
              <a:gd name="connsiteX2" fmla="*/ 1772526 w 1971297"/>
              <a:gd name="connsiteY2" fmla="*/ 1106190 h 1970826"/>
              <a:gd name="connsiteX3" fmla="*/ 1773168 w 1971297"/>
              <a:gd name="connsiteY3" fmla="*/ 1096396 h 1970826"/>
              <a:gd name="connsiteX4" fmla="*/ 198126 w 1971297"/>
              <a:gd name="connsiteY4" fmla="*/ 1096370 h 1970826"/>
              <a:gd name="connsiteX5" fmla="*/ 199057 w 1971297"/>
              <a:gd name="connsiteY5" fmla="*/ 1110557 h 1970826"/>
              <a:gd name="connsiteX6" fmla="*/ 200997 w 1971297"/>
              <a:gd name="connsiteY6" fmla="*/ 1119440 h 1970826"/>
              <a:gd name="connsiteX7" fmla="*/ 198126 w 1971297"/>
              <a:gd name="connsiteY7" fmla="*/ 1096370 h 1970826"/>
              <a:gd name="connsiteX8" fmla="*/ 1658502 w 1971297"/>
              <a:gd name="connsiteY8" fmla="*/ 565633 h 1970826"/>
              <a:gd name="connsiteX9" fmla="*/ 1664864 w 1971297"/>
              <a:gd name="connsiteY9" fmla="*/ 574448 h 1970826"/>
              <a:gd name="connsiteX10" fmla="*/ 1664611 w 1971297"/>
              <a:gd name="connsiteY10" fmla="*/ 573966 h 1970826"/>
              <a:gd name="connsiteX11" fmla="*/ 1658502 w 1971297"/>
              <a:gd name="connsiteY11" fmla="*/ 565633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89" fmla="*/ 904928 w 1971297"/>
              <a:gd name="connsiteY89" fmla="*/ 0 h 1970826"/>
              <a:gd name="connsiteX0" fmla="*/ 1772526 w 1971297"/>
              <a:gd name="connsiteY0" fmla="*/ 1106190 h 1970826"/>
              <a:gd name="connsiteX1" fmla="*/ 1771186 w 1971297"/>
              <a:gd name="connsiteY1" fmla="*/ 1112322 h 1970826"/>
              <a:gd name="connsiteX2" fmla="*/ 1772526 w 1971297"/>
              <a:gd name="connsiteY2" fmla="*/ 1106190 h 1970826"/>
              <a:gd name="connsiteX3" fmla="*/ 198126 w 1971297"/>
              <a:gd name="connsiteY3" fmla="*/ 1096370 h 1970826"/>
              <a:gd name="connsiteX4" fmla="*/ 199057 w 1971297"/>
              <a:gd name="connsiteY4" fmla="*/ 1110557 h 1970826"/>
              <a:gd name="connsiteX5" fmla="*/ 200997 w 1971297"/>
              <a:gd name="connsiteY5" fmla="*/ 1119440 h 1970826"/>
              <a:gd name="connsiteX6" fmla="*/ 198126 w 1971297"/>
              <a:gd name="connsiteY6" fmla="*/ 1096370 h 1970826"/>
              <a:gd name="connsiteX7" fmla="*/ 1658502 w 1971297"/>
              <a:gd name="connsiteY7" fmla="*/ 565633 h 1970826"/>
              <a:gd name="connsiteX8" fmla="*/ 1664864 w 1971297"/>
              <a:gd name="connsiteY8" fmla="*/ 574448 h 1970826"/>
              <a:gd name="connsiteX9" fmla="*/ 1664611 w 1971297"/>
              <a:gd name="connsiteY9" fmla="*/ 573966 h 1970826"/>
              <a:gd name="connsiteX10" fmla="*/ 1658502 w 1971297"/>
              <a:gd name="connsiteY10" fmla="*/ 565633 h 1970826"/>
              <a:gd name="connsiteX11" fmla="*/ 985649 w 1971297"/>
              <a:gd name="connsiteY11" fmla="*/ 323553 h 1970826"/>
              <a:gd name="connsiteX12" fmla="*/ 322581 w 1971297"/>
              <a:gd name="connsiteY12" fmla="*/ 986621 h 1970826"/>
              <a:gd name="connsiteX13" fmla="*/ 985649 w 1971297"/>
              <a:gd name="connsiteY13" fmla="*/ 1649689 h 1970826"/>
              <a:gd name="connsiteX14" fmla="*/ 1648717 w 1971297"/>
              <a:gd name="connsiteY14" fmla="*/ 986621 h 1970826"/>
              <a:gd name="connsiteX15" fmla="*/ 985649 w 1971297"/>
              <a:gd name="connsiteY15" fmla="*/ 323553 h 1970826"/>
              <a:gd name="connsiteX16" fmla="*/ 904928 w 1971297"/>
              <a:gd name="connsiteY16" fmla="*/ 0 h 1970826"/>
              <a:gd name="connsiteX17" fmla="*/ 1066369 w 1971297"/>
              <a:gd name="connsiteY17" fmla="*/ 0 h 1970826"/>
              <a:gd name="connsiteX18" fmla="*/ 1101456 w 1971297"/>
              <a:gd name="connsiteY18" fmla="*/ 199018 h 1970826"/>
              <a:gd name="connsiteX19" fmla="*/ 1149113 w 1971297"/>
              <a:gd name="connsiteY19" fmla="*/ 208521 h 1970826"/>
              <a:gd name="connsiteX20" fmla="*/ 1245734 w 1971297"/>
              <a:gd name="connsiteY20" fmla="*/ 36367 h 1970826"/>
              <a:gd name="connsiteX21" fmla="*/ 1396309 w 1971297"/>
              <a:gd name="connsiteY21" fmla="*/ 90716 h 1970826"/>
              <a:gd name="connsiteX22" fmla="*/ 1364293 w 1971297"/>
              <a:gd name="connsiteY22" fmla="*/ 287523 h 1970826"/>
              <a:gd name="connsiteX23" fmla="*/ 1403197 w 1971297"/>
              <a:gd name="connsiteY23" fmla="*/ 308843 h 1970826"/>
              <a:gd name="connsiteX24" fmla="*/ 1558001 w 1971297"/>
              <a:gd name="connsiteY24" fmla="*/ 178940 h 1970826"/>
              <a:gd name="connsiteX25" fmla="*/ 1681671 w 1971297"/>
              <a:gd name="connsiteY25" fmla="*/ 282712 h 1970826"/>
              <a:gd name="connsiteX26" fmla="*/ 1580623 w 1971297"/>
              <a:gd name="connsiteY26" fmla="*/ 457722 h 1970826"/>
              <a:gd name="connsiteX27" fmla="*/ 1610608 w 1971297"/>
              <a:gd name="connsiteY27" fmla="*/ 499270 h 1970826"/>
              <a:gd name="connsiteX28" fmla="*/ 1802874 w 1971297"/>
              <a:gd name="connsiteY28" fmla="*/ 433067 h 1970826"/>
              <a:gd name="connsiteX29" fmla="*/ 1881963 w 1971297"/>
              <a:gd name="connsiteY29" fmla="*/ 572248 h 1970826"/>
              <a:gd name="connsiteX30" fmla="*/ 1726590 w 1971297"/>
              <a:gd name="connsiteY30" fmla="*/ 698353 h 1970826"/>
              <a:gd name="connsiteX31" fmla="*/ 1741176 w 1971297"/>
              <a:gd name="connsiteY31" fmla="*/ 735808 h 1970826"/>
              <a:gd name="connsiteX32" fmla="*/ 1943264 w 1971297"/>
              <a:gd name="connsiteY32" fmla="*/ 735802 h 1970826"/>
              <a:gd name="connsiteX33" fmla="*/ 1971297 w 1971297"/>
              <a:gd name="connsiteY33" fmla="*/ 894790 h 1970826"/>
              <a:gd name="connsiteX34" fmla="*/ 1781396 w 1971297"/>
              <a:gd name="connsiteY34" fmla="*/ 963903 h 1970826"/>
              <a:gd name="connsiteX35" fmla="*/ 1780264 w 1971297"/>
              <a:gd name="connsiteY35" fmla="*/ 1014677 h 1970826"/>
              <a:gd name="connsiteX36" fmla="*/ 1969010 w 1971297"/>
              <a:gd name="connsiteY36" fmla="*/ 1087130 h 1970826"/>
              <a:gd name="connsiteX37" fmla="*/ 1940132 w 1971297"/>
              <a:gd name="connsiteY37" fmla="*/ 1244586 h 1970826"/>
              <a:gd name="connsiteX38" fmla="*/ 1738798 w 1971297"/>
              <a:gd name="connsiteY38" fmla="*/ 1241295 h 1970826"/>
              <a:gd name="connsiteX39" fmla="*/ 1725636 w 1971297"/>
              <a:gd name="connsiteY39" fmla="*/ 1280130 h 1970826"/>
              <a:gd name="connsiteX40" fmla="*/ 1880447 w 1971297"/>
              <a:gd name="connsiteY40" fmla="*/ 1410026 h 1970826"/>
              <a:gd name="connsiteX41" fmla="*/ 1799727 w 1971297"/>
              <a:gd name="connsiteY41" fmla="*/ 1549837 h 1970826"/>
              <a:gd name="connsiteX42" fmla="*/ 1609829 w 1971297"/>
              <a:gd name="connsiteY42" fmla="*/ 1480714 h 1970826"/>
              <a:gd name="connsiteX43" fmla="*/ 1579151 w 1971297"/>
              <a:gd name="connsiteY43" fmla="*/ 1512281 h 1970826"/>
              <a:gd name="connsiteX44" fmla="*/ 1677610 w 1971297"/>
              <a:gd name="connsiteY44" fmla="*/ 1689905 h 1970826"/>
              <a:gd name="connsiteX45" fmla="*/ 1554277 w 1971297"/>
              <a:gd name="connsiteY45" fmla="*/ 1791961 h 1970826"/>
              <a:gd name="connsiteX46" fmla="*/ 1402854 w 1971297"/>
              <a:gd name="connsiteY46" fmla="*/ 1660626 h 1970826"/>
              <a:gd name="connsiteX47" fmla="*/ 1363848 w 1971297"/>
              <a:gd name="connsiteY47" fmla="*/ 1687117 h 1970826"/>
              <a:gd name="connsiteX48" fmla="*/ 1398945 w 1971297"/>
              <a:gd name="connsiteY48" fmla="*/ 1886133 h 1970826"/>
              <a:gd name="connsiteX49" fmla="*/ 1247240 w 1971297"/>
              <a:gd name="connsiteY49" fmla="*/ 1941349 h 1970826"/>
              <a:gd name="connsiteX50" fmla="*/ 1146202 w 1971297"/>
              <a:gd name="connsiteY50" fmla="*/ 1766334 h 1970826"/>
              <a:gd name="connsiteX51" fmla="*/ 1100680 w 1971297"/>
              <a:gd name="connsiteY51" fmla="*/ 1773318 h 1970826"/>
              <a:gd name="connsiteX52" fmla="*/ 1062288 w 1971297"/>
              <a:gd name="connsiteY52" fmla="*/ 1970826 h 1970826"/>
              <a:gd name="connsiteX53" fmla="*/ 902210 w 1971297"/>
              <a:gd name="connsiteY53" fmla="*/ 1969728 h 1970826"/>
              <a:gd name="connsiteX54" fmla="*/ 870884 w 1971297"/>
              <a:gd name="connsiteY54" fmla="*/ 1773359 h 1970826"/>
              <a:gd name="connsiteX55" fmla="*/ 825096 w 1971297"/>
              <a:gd name="connsiteY55" fmla="*/ 1766334 h 1970826"/>
              <a:gd name="connsiteX56" fmla="*/ 724057 w 1971297"/>
              <a:gd name="connsiteY56" fmla="*/ 1941349 h 1970826"/>
              <a:gd name="connsiteX57" fmla="*/ 572352 w 1971297"/>
              <a:gd name="connsiteY57" fmla="*/ 1886133 h 1970826"/>
              <a:gd name="connsiteX58" fmla="*/ 607450 w 1971297"/>
              <a:gd name="connsiteY58" fmla="*/ 1687117 h 1970826"/>
              <a:gd name="connsiteX59" fmla="*/ 571181 w 1971297"/>
              <a:gd name="connsiteY59" fmla="*/ 1662485 h 1970826"/>
              <a:gd name="connsiteX60" fmla="*/ 421150 w 1971297"/>
              <a:gd name="connsiteY60" fmla="*/ 1792613 h 1970826"/>
              <a:gd name="connsiteX61" fmla="*/ 297817 w 1971297"/>
              <a:gd name="connsiteY61" fmla="*/ 1690557 h 1970826"/>
              <a:gd name="connsiteX62" fmla="*/ 395006 w 1971297"/>
              <a:gd name="connsiteY62" fmla="*/ 1515223 h 1970826"/>
              <a:gd name="connsiteX63" fmla="*/ 361468 w 1971297"/>
              <a:gd name="connsiteY63" fmla="*/ 1480715 h 1970826"/>
              <a:gd name="connsiteX64" fmla="*/ 171570 w 1971297"/>
              <a:gd name="connsiteY64" fmla="*/ 1549837 h 1970826"/>
              <a:gd name="connsiteX65" fmla="*/ 90850 w 1971297"/>
              <a:gd name="connsiteY65" fmla="*/ 1410026 h 1970826"/>
              <a:gd name="connsiteX66" fmla="*/ 245661 w 1971297"/>
              <a:gd name="connsiteY66" fmla="*/ 1280131 h 1970826"/>
              <a:gd name="connsiteX67" fmla="*/ 233972 w 1971297"/>
              <a:gd name="connsiteY67" fmla="*/ 1245643 h 1970826"/>
              <a:gd name="connsiteX68" fmla="*/ 31451 w 1971297"/>
              <a:gd name="connsiteY68" fmla="*/ 1248953 h 1970826"/>
              <a:gd name="connsiteX69" fmla="*/ 2573 w 1971297"/>
              <a:gd name="connsiteY69" fmla="*/ 1091497 h 1970826"/>
              <a:gd name="connsiteX70" fmla="*/ 191133 w 1971297"/>
              <a:gd name="connsiteY70" fmla="*/ 1019115 h 1970826"/>
              <a:gd name="connsiteX71" fmla="*/ 189902 w 1971297"/>
              <a:gd name="connsiteY71" fmla="*/ 963904 h 1970826"/>
              <a:gd name="connsiteX72" fmla="*/ 0 w 1971297"/>
              <a:gd name="connsiteY72" fmla="*/ 894790 h 1970826"/>
              <a:gd name="connsiteX73" fmla="*/ 28034 w 1971297"/>
              <a:gd name="connsiteY73" fmla="*/ 735802 h 1970826"/>
              <a:gd name="connsiteX74" fmla="*/ 230121 w 1971297"/>
              <a:gd name="connsiteY74" fmla="*/ 735808 h 1970826"/>
              <a:gd name="connsiteX75" fmla="*/ 240919 w 1971297"/>
              <a:gd name="connsiteY75" fmla="*/ 708079 h 1970826"/>
              <a:gd name="connsiteX76" fmla="*/ 84936 w 1971297"/>
              <a:gd name="connsiteY76" fmla="*/ 585933 h 1970826"/>
              <a:gd name="connsiteX77" fmla="*/ 161584 w 1971297"/>
              <a:gd name="connsiteY77" fmla="*/ 445393 h 1970826"/>
              <a:gd name="connsiteX78" fmla="*/ 354366 w 1971297"/>
              <a:gd name="connsiteY78" fmla="*/ 508031 h 1970826"/>
              <a:gd name="connsiteX79" fmla="*/ 390674 w 1971297"/>
              <a:gd name="connsiteY79" fmla="*/ 457722 h 1970826"/>
              <a:gd name="connsiteX80" fmla="*/ 289626 w 1971297"/>
              <a:gd name="connsiteY80" fmla="*/ 282712 h 1970826"/>
              <a:gd name="connsiteX81" fmla="*/ 413297 w 1971297"/>
              <a:gd name="connsiteY81" fmla="*/ 178940 h 1970826"/>
              <a:gd name="connsiteX82" fmla="*/ 568101 w 1971297"/>
              <a:gd name="connsiteY82" fmla="*/ 308843 h 1970826"/>
              <a:gd name="connsiteX83" fmla="*/ 611018 w 1971297"/>
              <a:gd name="connsiteY83" fmla="*/ 285324 h 1970826"/>
              <a:gd name="connsiteX84" fmla="*/ 576674 w 1971297"/>
              <a:gd name="connsiteY84" fmla="*/ 89277 h 1970826"/>
              <a:gd name="connsiteX85" fmla="*/ 727674 w 1971297"/>
              <a:gd name="connsiteY85" fmla="*/ 36123 h 1970826"/>
              <a:gd name="connsiteX86" fmla="*/ 826689 w 1971297"/>
              <a:gd name="connsiteY86" fmla="*/ 207623 h 1970826"/>
              <a:gd name="connsiteX87" fmla="*/ 869841 w 1971297"/>
              <a:gd name="connsiteY87" fmla="*/ 199018 h 1970826"/>
              <a:gd name="connsiteX88" fmla="*/ 904928 w 1971297"/>
              <a:gd name="connsiteY88" fmla="*/ 0 h 1970826"/>
              <a:gd name="connsiteX0" fmla="*/ 198126 w 1971297"/>
              <a:gd name="connsiteY0" fmla="*/ 1096370 h 1970826"/>
              <a:gd name="connsiteX1" fmla="*/ 199057 w 1971297"/>
              <a:gd name="connsiteY1" fmla="*/ 1110557 h 1970826"/>
              <a:gd name="connsiteX2" fmla="*/ 200997 w 1971297"/>
              <a:gd name="connsiteY2" fmla="*/ 1119440 h 1970826"/>
              <a:gd name="connsiteX3" fmla="*/ 198126 w 1971297"/>
              <a:gd name="connsiteY3" fmla="*/ 1096370 h 1970826"/>
              <a:gd name="connsiteX4" fmla="*/ 1658502 w 1971297"/>
              <a:gd name="connsiteY4" fmla="*/ 565633 h 1970826"/>
              <a:gd name="connsiteX5" fmla="*/ 1664864 w 1971297"/>
              <a:gd name="connsiteY5" fmla="*/ 574448 h 1970826"/>
              <a:gd name="connsiteX6" fmla="*/ 1664611 w 1971297"/>
              <a:gd name="connsiteY6" fmla="*/ 573966 h 1970826"/>
              <a:gd name="connsiteX7" fmla="*/ 1658502 w 1971297"/>
              <a:gd name="connsiteY7" fmla="*/ 565633 h 1970826"/>
              <a:gd name="connsiteX8" fmla="*/ 985649 w 1971297"/>
              <a:gd name="connsiteY8" fmla="*/ 323553 h 1970826"/>
              <a:gd name="connsiteX9" fmla="*/ 322581 w 1971297"/>
              <a:gd name="connsiteY9" fmla="*/ 986621 h 1970826"/>
              <a:gd name="connsiteX10" fmla="*/ 985649 w 1971297"/>
              <a:gd name="connsiteY10" fmla="*/ 1649689 h 1970826"/>
              <a:gd name="connsiteX11" fmla="*/ 1648717 w 1971297"/>
              <a:gd name="connsiteY11" fmla="*/ 986621 h 1970826"/>
              <a:gd name="connsiteX12" fmla="*/ 985649 w 1971297"/>
              <a:gd name="connsiteY12" fmla="*/ 323553 h 1970826"/>
              <a:gd name="connsiteX13" fmla="*/ 904928 w 1971297"/>
              <a:gd name="connsiteY13" fmla="*/ 0 h 1970826"/>
              <a:gd name="connsiteX14" fmla="*/ 1066369 w 1971297"/>
              <a:gd name="connsiteY14" fmla="*/ 0 h 1970826"/>
              <a:gd name="connsiteX15" fmla="*/ 1101456 w 1971297"/>
              <a:gd name="connsiteY15" fmla="*/ 199018 h 1970826"/>
              <a:gd name="connsiteX16" fmla="*/ 1149113 w 1971297"/>
              <a:gd name="connsiteY16" fmla="*/ 208521 h 1970826"/>
              <a:gd name="connsiteX17" fmla="*/ 1245734 w 1971297"/>
              <a:gd name="connsiteY17" fmla="*/ 36367 h 1970826"/>
              <a:gd name="connsiteX18" fmla="*/ 1396309 w 1971297"/>
              <a:gd name="connsiteY18" fmla="*/ 90716 h 1970826"/>
              <a:gd name="connsiteX19" fmla="*/ 1364293 w 1971297"/>
              <a:gd name="connsiteY19" fmla="*/ 287523 h 1970826"/>
              <a:gd name="connsiteX20" fmla="*/ 1403197 w 1971297"/>
              <a:gd name="connsiteY20" fmla="*/ 308843 h 1970826"/>
              <a:gd name="connsiteX21" fmla="*/ 1558001 w 1971297"/>
              <a:gd name="connsiteY21" fmla="*/ 178940 h 1970826"/>
              <a:gd name="connsiteX22" fmla="*/ 1681671 w 1971297"/>
              <a:gd name="connsiteY22" fmla="*/ 282712 h 1970826"/>
              <a:gd name="connsiteX23" fmla="*/ 1580623 w 1971297"/>
              <a:gd name="connsiteY23" fmla="*/ 457722 h 1970826"/>
              <a:gd name="connsiteX24" fmla="*/ 1610608 w 1971297"/>
              <a:gd name="connsiteY24" fmla="*/ 499270 h 1970826"/>
              <a:gd name="connsiteX25" fmla="*/ 1802874 w 1971297"/>
              <a:gd name="connsiteY25" fmla="*/ 433067 h 1970826"/>
              <a:gd name="connsiteX26" fmla="*/ 1881963 w 1971297"/>
              <a:gd name="connsiteY26" fmla="*/ 572248 h 1970826"/>
              <a:gd name="connsiteX27" fmla="*/ 1726590 w 1971297"/>
              <a:gd name="connsiteY27" fmla="*/ 698353 h 1970826"/>
              <a:gd name="connsiteX28" fmla="*/ 1741176 w 1971297"/>
              <a:gd name="connsiteY28" fmla="*/ 735808 h 1970826"/>
              <a:gd name="connsiteX29" fmla="*/ 1943264 w 1971297"/>
              <a:gd name="connsiteY29" fmla="*/ 735802 h 1970826"/>
              <a:gd name="connsiteX30" fmla="*/ 1971297 w 1971297"/>
              <a:gd name="connsiteY30" fmla="*/ 894790 h 1970826"/>
              <a:gd name="connsiteX31" fmla="*/ 1781396 w 1971297"/>
              <a:gd name="connsiteY31" fmla="*/ 963903 h 1970826"/>
              <a:gd name="connsiteX32" fmla="*/ 1780264 w 1971297"/>
              <a:gd name="connsiteY32" fmla="*/ 1014677 h 1970826"/>
              <a:gd name="connsiteX33" fmla="*/ 1969010 w 1971297"/>
              <a:gd name="connsiteY33" fmla="*/ 1087130 h 1970826"/>
              <a:gd name="connsiteX34" fmla="*/ 1940132 w 1971297"/>
              <a:gd name="connsiteY34" fmla="*/ 1244586 h 1970826"/>
              <a:gd name="connsiteX35" fmla="*/ 1738798 w 1971297"/>
              <a:gd name="connsiteY35" fmla="*/ 1241295 h 1970826"/>
              <a:gd name="connsiteX36" fmla="*/ 1725636 w 1971297"/>
              <a:gd name="connsiteY36" fmla="*/ 1280130 h 1970826"/>
              <a:gd name="connsiteX37" fmla="*/ 1880447 w 1971297"/>
              <a:gd name="connsiteY37" fmla="*/ 1410026 h 1970826"/>
              <a:gd name="connsiteX38" fmla="*/ 1799727 w 1971297"/>
              <a:gd name="connsiteY38" fmla="*/ 1549837 h 1970826"/>
              <a:gd name="connsiteX39" fmla="*/ 1609829 w 1971297"/>
              <a:gd name="connsiteY39" fmla="*/ 1480714 h 1970826"/>
              <a:gd name="connsiteX40" fmla="*/ 1579151 w 1971297"/>
              <a:gd name="connsiteY40" fmla="*/ 1512281 h 1970826"/>
              <a:gd name="connsiteX41" fmla="*/ 1677610 w 1971297"/>
              <a:gd name="connsiteY41" fmla="*/ 1689905 h 1970826"/>
              <a:gd name="connsiteX42" fmla="*/ 1554277 w 1971297"/>
              <a:gd name="connsiteY42" fmla="*/ 1791961 h 1970826"/>
              <a:gd name="connsiteX43" fmla="*/ 1402854 w 1971297"/>
              <a:gd name="connsiteY43" fmla="*/ 1660626 h 1970826"/>
              <a:gd name="connsiteX44" fmla="*/ 1363848 w 1971297"/>
              <a:gd name="connsiteY44" fmla="*/ 1687117 h 1970826"/>
              <a:gd name="connsiteX45" fmla="*/ 1398945 w 1971297"/>
              <a:gd name="connsiteY45" fmla="*/ 1886133 h 1970826"/>
              <a:gd name="connsiteX46" fmla="*/ 1247240 w 1971297"/>
              <a:gd name="connsiteY46" fmla="*/ 1941349 h 1970826"/>
              <a:gd name="connsiteX47" fmla="*/ 1146202 w 1971297"/>
              <a:gd name="connsiteY47" fmla="*/ 1766334 h 1970826"/>
              <a:gd name="connsiteX48" fmla="*/ 1100680 w 1971297"/>
              <a:gd name="connsiteY48" fmla="*/ 1773318 h 1970826"/>
              <a:gd name="connsiteX49" fmla="*/ 1062288 w 1971297"/>
              <a:gd name="connsiteY49" fmla="*/ 1970826 h 1970826"/>
              <a:gd name="connsiteX50" fmla="*/ 902210 w 1971297"/>
              <a:gd name="connsiteY50" fmla="*/ 1969728 h 1970826"/>
              <a:gd name="connsiteX51" fmla="*/ 870884 w 1971297"/>
              <a:gd name="connsiteY51" fmla="*/ 1773359 h 1970826"/>
              <a:gd name="connsiteX52" fmla="*/ 825096 w 1971297"/>
              <a:gd name="connsiteY52" fmla="*/ 1766334 h 1970826"/>
              <a:gd name="connsiteX53" fmla="*/ 724057 w 1971297"/>
              <a:gd name="connsiteY53" fmla="*/ 1941349 h 1970826"/>
              <a:gd name="connsiteX54" fmla="*/ 572352 w 1971297"/>
              <a:gd name="connsiteY54" fmla="*/ 1886133 h 1970826"/>
              <a:gd name="connsiteX55" fmla="*/ 607450 w 1971297"/>
              <a:gd name="connsiteY55" fmla="*/ 1687117 h 1970826"/>
              <a:gd name="connsiteX56" fmla="*/ 571181 w 1971297"/>
              <a:gd name="connsiteY56" fmla="*/ 1662485 h 1970826"/>
              <a:gd name="connsiteX57" fmla="*/ 421150 w 1971297"/>
              <a:gd name="connsiteY57" fmla="*/ 1792613 h 1970826"/>
              <a:gd name="connsiteX58" fmla="*/ 297817 w 1971297"/>
              <a:gd name="connsiteY58" fmla="*/ 1690557 h 1970826"/>
              <a:gd name="connsiteX59" fmla="*/ 395006 w 1971297"/>
              <a:gd name="connsiteY59" fmla="*/ 1515223 h 1970826"/>
              <a:gd name="connsiteX60" fmla="*/ 361468 w 1971297"/>
              <a:gd name="connsiteY60" fmla="*/ 1480715 h 1970826"/>
              <a:gd name="connsiteX61" fmla="*/ 171570 w 1971297"/>
              <a:gd name="connsiteY61" fmla="*/ 1549837 h 1970826"/>
              <a:gd name="connsiteX62" fmla="*/ 90850 w 1971297"/>
              <a:gd name="connsiteY62" fmla="*/ 1410026 h 1970826"/>
              <a:gd name="connsiteX63" fmla="*/ 245661 w 1971297"/>
              <a:gd name="connsiteY63" fmla="*/ 1280131 h 1970826"/>
              <a:gd name="connsiteX64" fmla="*/ 233972 w 1971297"/>
              <a:gd name="connsiteY64" fmla="*/ 1245643 h 1970826"/>
              <a:gd name="connsiteX65" fmla="*/ 31451 w 1971297"/>
              <a:gd name="connsiteY65" fmla="*/ 1248953 h 1970826"/>
              <a:gd name="connsiteX66" fmla="*/ 2573 w 1971297"/>
              <a:gd name="connsiteY66" fmla="*/ 1091497 h 1970826"/>
              <a:gd name="connsiteX67" fmla="*/ 191133 w 1971297"/>
              <a:gd name="connsiteY67" fmla="*/ 1019115 h 1970826"/>
              <a:gd name="connsiteX68" fmla="*/ 189902 w 1971297"/>
              <a:gd name="connsiteY68" fmla="*/ 963904 h 1970826"/>
              <a:gd name="connsiteX69" fmla="*/ 0 w 1971297"/>
              <a:gd name="connsiteY69" fmla="*/ 894790 h 1970826"/>
              <a:gd name="connsiteX70" fmla="*/ 28034 w 1971297"/>
              <a:gd name="connsiteY70" fmla="*/ 735802 h 1970826"/>
              <a:gd name="connsiteX71" fmla="*/ 230121 w 1971297"/>
              <a:gd name="connsiteY71" fmla="*/ 735808 h 1970826"/>
              <a:gd name="connsiteX72" fmla="*/ 240919 w 1971297"/>
              <a:gd name="connsiteY72" fmla="*/ 708079 h 1970826"/>
              <a:gd name="connsiteX73" fmla="*/ 84936 w 1971297"/>
              <a:gd name="connsiteY73" fmla="*/ 585933 h 1970826"/>
              <a:gd name="connsiteX74" fmla="*/ 161584 w 1971297"/>
              <a:gd name="connsiteY74" fmla="*/ 445393 h 1970826"/>
              <a:gd name="connsiteX75" fmla="*/ 354366 w 1971297"/>
              <a:gd name="connsiteY75" fmla="*/ 508031 h 1970826"/>
              <a:gd name="connsiteX76" fmla="*/ 390674 w 1971297"/>
              <a:gd name="connsiteY76" fmla="*/ 457722 h 1970826"/>
              <a:gd name="connsiteX77" fmla="*/ 289626 w 1971297"/>
              <a:gd name="connsiteY77" fmla="*/ 282712 h 1970826"/>
              <a:gd name="connsiteX78" fmla="*/ 413297 w 1971297"/>
              <a:gd name="connsiteY78" fmla="*/ 178940 h 1970826"/>
              <a:gd name="connsiteX79" fmla="*/ 568101 w 1971297"/>
              <a:gd name="connsiteY79" fmla="*/ 308843 h 1970826"/>
              <a:gd name="connsiteX80" fmla="*/ 611018 w 1971297"/>
              <a:gd name="connsiteY80" fmla="*/ 285324 h 1970826"/>
              <a:gd name="connsiteX81" fmla="*/ 576674 w 1971297"/>
              <a:gd name="connsiteY81" fmla="*/ 89277 h 1970826"/>
              <a:gd name="connsiteX82" fmla="*/ 727674 w 1971297"/>
              <a:gd name="connsiteY82" fmla="*/ 36123 h 1970826"/>
              <a:gd name="connsiteX83" fmla="*/ 826689 w 1971297"/>
              <a:gd name="connsiteY83" fmla="*/ 207623 h 1970826"/>
              <a:gd name="connsiteX84" fmla="*/ 869841 w 1971297"/>
              <a:gd name="connsiteY84" fmla="*/ 199018 h 1970826"/>
              <a:gd name="connsiteX85" fmla="*/ 904928 w 1971297"/>
              <a:gd name="connsiteY85" fmla="*/ 0 h 1970826"/>
              <a:gd name="connsiteX0" fmla="*/ 198126 w 1971297"/>
              <a:gd name="connsiteY0" fmla="*/ 1096370 h 1970826"/>
              <a:gd name="connsiteX1" fmla="*/ 199057 w 1971297"/>
              <a:gd name="connsiteY1" fmla="*/ 1110557 h 1970826"/>
              <a:gd name="connsiteX2" fmla="*/ 198126 w 1971297"/>
              <a:gd name="connsiteY2" fmla="*/ 1096370 h 1970826"/>
              <a:gd name="connsiteX3" fmla="*/ 1658502 w 1971297"/>
              <a:gd name="connsiteY3" fmla="*/ 565633 h 1970826"/>
              <a:gd name="connsiteX4" fmla="*/ 1664864 w 1971297"/>
              <a:gd name="connsiteY4" fmla="*/ 574448 h 1970826"/>
              <a:gd name="connsiteX5" fmla="*/ 1664611 w 1971297"/>
              <a:gd name="connsiteY5" fmla="*/ 573966 h 1970826"/>
              <a:gd name="connsiteX6" fmla="*/ 1658502 w 1971297"/>
              <a:gd name="connsiteY6" fmla="*/ 565633 h 1970826"/>
              <a:gd name="connsiteX7" fmla="*/ 985649 w 1971297"/>
              <a:gd name="connsiteY7" fmla="*/ 323553 h 1970826"/>
              <a:gd name="connsiteX8" fmla="*/ 322581 w 1971297"/>
              <a:gd name="connsiteY8" fmla="*/ 986621 h 1970826"/>
              <a:gd name="connsiteX9" fmla="*/ 985649 w 1971297"/>
              <a:gd name="connsiteY9" fmla="*/ 1649689 h 1970826"/>
              <a:gd name="connsiteX10" fmla="*/ 1648717 w 1971297"/>
              <a:gd name="connsiteY10" fmla="*/ 986621 h 1970826"/>
              <a:gd name="connsiteX11" fmla="*/ 985649 w 1971297"/>
              <a:gd name="connsiteY11" fmla="*/ 323553 h 1970826"/>
              <a:gd name="connsiteX12" fmla="*/ 904928 w 1971297"/>
              <a:gd name="connsiteY12" fmla="*/ 0 h 1970826"/>
              <a:gd name="connsiteX13" fmla="*/ 1066369 w 1971297"/>
              <a:gd name="connsiteY13" fmla="*/ 0 h 1970826"/>
              <a:gd name="connsiteX14" fmla="*/ 1101456 w 1971297"/>
              <a:gd name="connsiteY14" fmla="*/ 199018 h 1970826"/>
              <a:gd name="connsiteX15" fmla="*/ 1149113 w 1971297"/>
              <a:gd name="connsiteY15" fmla="*/ 208521 h 1970826"/>
              <a:gd name="connsiteX16" fmla="*/ 1245734 w 1971297"/>
              <a:gd name="connsiteY16" fmla="*/ 36367 h 1970826"/>
              <a:gd name="connsiteX17" fmla="*/ 1396309 w 1971297"/>
              <a:gd name="connsiteY17" fmla="*/ 90716 h 1970826"/>
              <a:gd name="connsiteX18" fmla="*/ 1364293 w 1971297"/>
              <a:gd name="connsiteY18" fmla="*/ 287523 h 1970826"/>
              <a:gd name="connsiteX19" fmla="*/ 1403197 w 1971297"/>
              <a:gd name="connsiteY19" fmla="*/ 308843 h 1970826"/>
              <a:gd name="connsiteX20" fmla="*/ 1558001 w 1971297"/>
              <a:gd name="connsiteY20" fmla="*/ 178940 h 1970826"/>
              <a:gd name="connsiteX21" fmla="*/ 1681671 w 1971297"/>
              <a:gd name="connsiteY21" fmla="*/ 282712 h 1970826"/>
              <a:gd name="connsiteX22" fmla="*/ 1580623 w 1971297"/>
              <a:gd name="connsiteY22" fmla="*/ 457722 h 1970826"/>
              <a:gd name="connsiteX23" fmla="*/ 1610608 w 1971297"/>
              <a:gd name="connsiteY23" fmla="*/ 499270 h 1970826"/>
              <a:gd name="connsiteX24" fmla="*/ 1802874 w 1971297"/>
              <a:gd name="connsiteY24" fmla="*/ 433067 h 1970826"/>
              <a:gd name="connsiteX25" fmla="*/ 1881963 w 1971297"/>
              <a:gd name="connsiteY25" fmla="*/ 572248 h 1970826"/>
              <a:gd name="connsiteX26" fmla="*/ 1726590 w 1971297"/>
              <a:gd name="connsiteY26" fmla="*/ 698353 h 1970826"/>
              <a:gd name="connsiteX27" fmla="*/ 1741176 w 1971297"/>
              <a:gd name="connsiteY27" fmla="*/ 735808 h 1970826"/>
              <a:gd name="connsiteX28" fmla="*/ 1943264 w 1971297"/>
              <a:gd name="connsiteY28" fmla="*/ 735802 h 1970826"/>
              <a:gd name="connsiteX29" fmla="*/ 1971297 w 1971297"/>
              <a:gd name="connsiteY29" fmla="*/ 894790 h 1970826"/>
              <a:gd name="connsiteX30" fmla="*/ 1781396 w 1971297"/>
              <a:gd name="connsiteY30" fmla="*/ 963903 h 1970826"/>
              <a:gd name="connsiteX31" fmla="*/ 1780264 w 1971297"/>
              <a:gd name="connsiteY31" fmla="*/ 1014677 h 1970826"/>
              <a:gd name="connsiteX32" fmla="*/ 1969010 w 1971297"/>
              <a:gd name="connsiteY32" fmla="*/ 1087130 h 1970826"/>
              <a:gd name="connsiteX33" fmla="*/ 1940132 w 1971297"/>
              <a:gd name="connsiteY33" fmla="*/ 1244586 h 1970826"/>
              <a:gd name="connsiteX34" fmla="*/ 1738798 w 1971297"/>
              <a:gd name="connsiteY34" fmla="*/ 1241295 h 1970826"/>
              <a:gd name="connsiteX35" fmla="*/ 1725636 w 1971297"/>
              <a:gd name="connsiteY35" fmla="*/ 1280130 h 1970826"/>
              <a:gd name="connsiteX36" fmla="*/ 1880447 w 1971297"/>
              <a:gd name="connsiteY36" fmla="*/ 1410026 h 1970826"/>
              <a:gd name="connsiteX37" fmla="*/ 1799727 w 1971297"/>
              <a:gd name="connsiteY37" fmla="*/ 1549837 h 1970826"/>
              <a:gd name="connsiteX38" fmla="*/ 1609829 w 1971297"/>
              <a:gd name="connsiteY38" fmla="*/ 1480714 h 1970826"/>
              <a:gd name="connsiteX39" fmla="*/ 1579151 w 1971297"/>
              <a:gd name="connsiteY39" fmla="*/ 1512281 h 1970826"/>
              <a:gd name="connsiteX40" fmla="*/ 1677610 w 1971297"/>
              <a:gd name="connsiteY40" fmla="*/ 1689905 h 1970826"/>
              <a:gd name="connsiteX41" fmla="*/ 1554277 w 1971297"/>
              <a:gd name="connsiteY41" fmla="*/ 1791961 h 1970826"/>
              <a:gd name="connsiteX42" fmla="*/ 1402854 w 1971297"/>
              <a:gd name="connsiteY42" fmla="*/ 1660626 h 1970826"/>
              <a:gd name="connsiteX43" fmla="*/ 1363848 w 1971297"/>
              <a:gd name="connsiteY43" fmla="*/ 1687117 h 1970826"/>
              <a:gd name="connsiteX44" fmla="*/ 1398945 w 1971297"/>
              <a:gd name="connsiteY44" fmla="*/ 1886133 h 1970826"/>
              <a:gd name="connsiteX45" fmla="*/ 1247240 w 1971297"/>
              <a:gd name="connsiteY45" fmla="*/ 1941349 h 1970826"/>
              <a:gd name="connsiteX46" fmla="*/ 1146202 w 1971297"/>
              <a:gd name="connsiteY46" fmla="*/ 1766334 h 1970826"/>
              <a:gd name="connsiteX47" fmla="*/ 1100680 w 1971297"/>
              <a:gd name="connsiteY47" fmla="*/ 1773318 h 1970826"/>
              <a:gd name="connsiteX48" fmla="*/ 1062288 w 1971297"/>
              <a:gd name="connsiteY48" fmla="*/ 1970826 h 1970826"/>
              <a:gd name="connsiteX49" fmla="*/ 902210 w 1971297"/>
              <a:gd name="connsiteY49" fmla="*/ 1969728 h 1970826"/>
              <a:gd name="connsiteX50" fmla="*/ 870884 w 1971297"/>
              <a:gd name="connsiteY50" fmla="*/ 1773359 h 1970826"/>
              <a:gd name="connsiteX51" fmla="*/ 825096 w 1971297"/>
              <a:gd name="connsiteY51" fmla="*/ 1766334 h 1970826"/>
              <a:gd name="connsiteX52" fmla="*/ 724057 w 1971297"/>
              <a:gd name="connsiteY52" fmla="*/ 1941349 h 1970826"/>
              <a:gd name="connsiteX53" fmla="*/ 572352 w 1971297"/>
              <a:gd name="connsiteY53" fmla="*/ 1886133 h 1970826"/>
              <a:gd name="connsiteX54" fmla="*/ 607450 w 1971297"/>
              <a:gd name="connsiteY54" fmla="*/ 1687117 h 1970826"/>
              <a:gd name="connsiteX55" fmla="*/ 571181 w 1971297"/>
              <a:gd name="connsiteY55" fmla="*/ 1662485 h 1970826"/>
              <a:gd name="connsiteX56" fmla="*/ 421150 w 1971297"/>
              <a:gd name="connsiteY56" fmla="*/ 1792613 h 1970826"/>
              <a:gd name="connsiteX57" fmla="*/ 297817 w 1971297"/>
              <a:gd name="connsiteY57" fmla="*/ 1690557 h 1970826"/>
              <a:gd name="connsiteX58" fmla="*/ 395006 w 1971297"/>
              <a:gd name="connsiteY58" fmla="*/ 1515223 h 1970826"/>
              <a:gd name="connsiteX59" fmla="*/ 361468 w 1971297"/>
              <a:gd name="connsiteY59" fmla="*/ 1480715 h 1970826"/>
              <a:gd name="connsiteX60" fmla="*/ 171570 w 1971297"/>
              <a:gd name="connsiteY60" fmla="*/ 1549837 h 1970826"/>
              <a:gd name="connsiteX61" fmla="*/ 90850 w 1971297"/>
              <a:gd name="connsiteY61" fmla="*/ 1410026 h 1970826"/>
              <a:gd name="connsiteX62" fmla="*/ 245661 w 1971297"/>
              <a:gd name="connsiteY62" fmla="*/ 1280131 h 1970826"/>
              <a:gd name="connsiteX63" fmla="*/ 233972 w 1971297"/>
              <a:gd name="connsiteY63" fmla="*/ 1245643 h 1970826"/>
              <a:gd name="connsiteX64" fmla="*/ 31451 w 1971297"/>
              <a:gd name="connsiteY64" fmla="*/ 1248953 h 1970826"/>
              <a:gd name="connsiteX65" fmla="*/ 2573 w 1971297"/>
              <a:gd name="connsiteY65" fmla="*/ 1091497 h 1970826"/>
              <a:gd name="connsiteX66" fmla="*/ 191133 w 1971297"/>
              <a:gd name="connsiteY66" fmla="*/ 1019115 h 1970826"/>
              <a:gd name="connsiteX67" fmla="*/ 189902 w 1971297"/>
              <a:gd name="connsiteY67" fmla="*/ 963904 h 1970826"/>
              <a:gd name="connsiteX68" fmla="*/ 0 w 1971297"/>
              <a:gd name="connsiteY68" fmla="*/ 894790 h 1970826"/>
              <a:gd name="connsiteX69" fmla="*/ 28034 w 1971297"/>
              <a:gd name="connsiteY69" fmla="*/ 735802 h 1970826"/>
              <a:gd name="connsiteX70" fmla="*/ 230121 w 1971297"/>
              <a:gd name="connsiteY70" fmla="*/ 735808 h 1970826"/>
              <a:gd name="connsiteX71" fmla="*/ 240919 w 1971297"/>
              <a:gd name="connsiteY71" fmla="*/ 708079 h 1970826"/>
              <a:gd name="connsiteX72" fmla="*/ 84936 w 1971297"/>
              <a:gd name="connsiteY72" fmla="*/ 585933 h 1970826"/>
              <a:gd name="connsiteX73" fmla="*/ 161584 w 1971297"/>
              <a:gd name="connsiteY73" fmla="*/ 445393 h 1970826"/>
              <a:gd name="connsiteX74" fmla="*/ 354366 w 1971297"/>
              <a:gd name="connsiteY74" fmla="*/ 508031 h 1970826"/>
              <a:gd name="connsiteX75" fmla="*/ 390674 w 1971297"/>
              <a:gd name="connsiteY75" fmla="*/ 457722 h 1970826"/>
              <a:gd name="connsiteX76" fmla="*/ 289626 w 1971297"/>
              <a:gd name="connsiteY76" fmla="*/ 282712 h 1970826"/>
              <a:gd name="connsiteX77" fmla="*/ 413297 w 1971297"/>
              <a:gd name="connsiteY77" fmla="*/ 178940 h 1970826"/>
              <a:gd name="connsiteX78" fmla="*/ 568101 w 1971297"/>
              <a:gd name="connsiteY78" fmla="*/ 308843 h 1970826"/>
              <a:gd name="connsiteX79" fmla="*/ 611018 w 1971297"/>
              <a:gd name="connsiteY79" fmla="*/ 285324 h 1970826"/>
              <a:gd name="connsiteX80" fmla="*/ 576674 w 1971297"/>
              <a:gd name="connsiteY80" fmla="*/ 89277 h 1970826"/>
              <a:gd name="connsiteX81" fmla="*/ 727674 w 1971297"/>
              <a:gd name="connsiteY81" fmla="*/ 36123 h 1970826"/>
              <a:gd name="connsiteX82" fmla="*/ 826689 w 1971297"/>
              <a:gd name="connsiteY82" fmla="*/ 207623 h 1970826"/>
              <a:gd name="connsiteX83" fmla="*/ 869841 w 1971297"/>
              <a:gd name="connsiteY83" fmla="*/ 199018 h 1970826"/>
              <a:gd name="connsiteX84" fmla="*/ 904928 w 1971297"/>
              <a:gd name="connsiteY84" fmla="*/ 0 h 1970826"/>
              <a:gd name="connsiteX0" fmla="*/ 1658502 w 1971297"/>
              <a:gd name="connsiteY0" fmla="*/ 565633 h 1970826"/>
              <a:gd name="connsiteX1" fmla="*/ 1664864 w 1971297"/>
              <a:gd name="connsiteY1" fmla="*/ 574448 h 1970826"/>
              <a:gd name="connsiteX2" fmla="*/ 1664611 w 1971297"/>
              <a:gd name="connsiteY2" fmla="*/ 573966 h 1970826"/>
              <a:gd name="connsiteX3" fmla="*/ 1658502 w 1971297"/>
              <a:gd name="connsiteY3" fmla="*/ 565633 h 1970826"/>
              <a:gd name="connsiteX4" fmla="*/ 985649 w 1971297"/>
              <a:gd name="connsiteY4" fmla="*/ 323553 h 1970826"/>
              <a:gd name="connsiteX5" fmla="*/ 322581 w 1971297"/>
              <a:gd name="connsiteY5" fmla="*/ 986621 h 1970826"/>
              <a:gd name="connsiteX6" fmla="*/ 985649 w 1971297"/>
              <a:gd name="connsiteY6" fmla="*/ 1649689 h 1970826"/>
              <a:gd name="connsiteX7" fmla="*/ 1648717 w 1971297"/>
              <a:gd name="connsiteY7" fmla="*/ 986621 h 1970826"/>
              <a:gd name="connsiteX8" fmla="*/ 985649 w 1971297"/>
              <a:gd name="connsiteY8" fmla="*/ 323553 h 1970826"/>
              <a:gd name="connsiteX9" fmla="*/ 904928 w 1971297"/>
              <a:gd name="connsiteY9" fmla="*/ 0 h 1970826"/>
              <a:gd name="connsiteX10" fmla="*/ 1066369 w 1971297"/>
              <a:gd name="connsiteY10" fmla="*/ 0 h 1970826"/>
              <a:gd name="connsiteX11" fmla="*/ 1101456 w 1971297"/>
              <a:gd name="connsiteY11" fmla="*/ 199018 h 1970826"/>
              <a:gd name="connsiteX12" fmla="*/ 1149113 w 1971297"/>
              <a:gd name="connsiteY12" fmla="*/ 208521 h 1970826"/>
              <a:gd name="connsiteX13" fmla="*/ 1245734 w 1971297"/>
              <a:gd name="connsiteY13" fmla="*/ 36367 h 1970826"/>
              <a:gd name="connsiteX14" fmla="*/ 1396309 w 1971297"/>
              <a:gd name="connsiteY14" fmla="*/ 90716 h 1970826"/>
              <a:gd name="connsiteX15" fmla="*/ 1364293 w 1971297"/>
              <a:gd name="connsiteY15" fmla="*/ 287523 h 1970826"/>
              <a:gd name="connsiteX16" fmla="*/ 1403197 w 1971297"/>
              <a:gd name="connsiteY16" fmla="*/ 308843 h 1970826"/>
              <a:gd name="connsiteX17" fmla="*/ 1558001 w 1971297"/>
              <a:gd name="connsiteY17" fmla="*/ 178940 h 1970826"/>
              <a:gd name="connsiteX18" fmla="*/ 1681671 w 1971297"/>
              <a:gd name="connsiteY18" fmla="*/ 282712 h 1970826"/>
              <a:gd name="connsiteX19" fmla="*/ 1580623 w 1971297"/>
              <a:gd name="connsiteY19" fmla="*/ 457722 h 1970826"/>
              <a:gd name="connsiteX20" fmla="*/ 1610608 w 1971297"/>
              <a:gd name="connsiteY20" fmla="*/ 499270 h 1970826"/>
              <a:gd name="connsiteX21" fmla="*/ 1802874 w 1971297"/>
              <a:gd name="connsiteY21" fmla="*/ 433067 h 1970826"/>
              <a:gd name="connsiteX22" fmla="*/ 1881963 w 1971297"/>
              <a:gd name="connsiteY22" fmla="*/ 572248 h 1970826"/>
              <a:gd name="connsiteX23" fmla="*/ 1726590 w 1971297"/>
              <a:gd name="connsiteY23" fmla="*/ 698353 h 1970826"/>
              <a:gd name="connsiteX24" fmla="*/ 1741176 w 1971297"/>
              <a:gd name="connsiteY24" fmla="*/ 735808 h 1970826"/>
              <a:gd name="connsiteX25" fmla="*/ 1943264 w 1971297"/>
              <a:gd name="connsiteY25" fmla="*/ 735802 h 1970826"/>
              <a:gd name="connsiteX26" fmla="*/ 1971297 w 1971297"/>
              <a:gd name="connsiteY26" fmla="*/ 894790 h 1970826"/>
              <a:gd name="connsiteX27" fmla="*/ 1781396 w 1971297"/>
              <a:gd name="connsiteY27" fmla="*/ 963903 h 1970826"/>
              <a:gd name="connsiteX28" fmla="*/ 1780264 w 1971297"/>
              <a:gd name="connsiteY28" fmla="*/ 1014677 h 1970826"/>
              <a:gd name="connsiteX29" fmla="*/ 1969010 w 1971297"/>
              <a:gd name="connsiteY29" fmla="*/ 1087130 h 1970826"/>
              <a:gd name="connsiteX30" fmla="*/ 1940132 w 1971297"/>
              <a:gd name="connsiteY30" fmla="*/ 1244586 h 1970826"/>
              <a:gd name="connsiteX31" fmla="*/ 1738798 w 1971297"/>
              <a:gd name="connsiteY31" fmla="*/ 1241295 h 1970826"/>
              <a:gd name="connsiteX32" fmla="*/ 1725636 w 1971297"/>
              <a:gd name="connsiteY32" fmla="*/ 1280130 h 1970826"/>
              <a:gd name="connsiteX33" fmla="*/ 1880447 w 1971297"/>
              <a:gd name="connsiteY33" fmla="*/ 1410026 h 1970826"/>
              <a:gd name="connsiteX34" fmla="*/ 1799727 w 1971297"/>
              <a:gd name="connsiteY34" fmla="*/ 1549837 h 1970826"/>
              <a:gd name="connsiteX35" fmla="*/ 1609829 w 1971297"/>
              <a:gd name="connsiteY35" fmla="*/ 1480714 h 1970826"/>
              <a:gd name="connsiteX36" fmla="*/ 1579151 w 1971297"/>
              <a:gd name="connsiteY36" fmla="*/ 1512281 h 1970826"/>
              <a:gd name="connsiteX37" fmla="*/ 1677610 w 1971297"/>
              <a:gd name="connsiteY37" fmla="*/ 1689905 h 1970826"/>
              <a:gd name="connsiteX38" fmla="*/ 1554277 w 1971297"/>
              <a:gd name="connsiteY38" fmla="*/ 1791961 h 1970826"/>
              <a:gd name="connsiteX39" fmla="*/ 1402854 w 1971297"/>
              <a:gd name="connsiteY39" fmla="*/ 1660626 h 1970826"/>
              <a:gd name="connsiteX40" fmla="*/ 1363848 w 1971297"/>
              <a:gd name="connsiteY40" fmla="*/ 1687117 h 1970826"/>
              <a:gd name="connsiteX41" fmla="*/ 1398945 w 1971297"/>
              <a:gd name="connsiteY41" fmla="*/ 1886133 h 1970826"/>
              <a:gd name="connsiteX42" fmla="*/ 1247240 w 1971297"/>
              <a:gd name="connsiteY42" fmla="*/ 1941349 h 1970826"/>
              <a:gd name="connsiteX43" fmla="*/ 1146202 w 1971297"/>
              <a:gd name="connsiteY43" fmla="*/ 1766334 h 1970826"/>
              <a:gd name="connsiteX44" fmla="*/ 1100680 w 1971297"/>
              <a:gd name="connsiteY44" fmla="*/ 1773318 h 1970826"/>
              <a:gd name="connsiteX45" fmla="*/ 1062288 w 1971297"/>
              <a:gd name="connsiteY45" fmla="*/ 1970826 h 1970826"/>
              <a:gd name="connsiteX46" fmla="*/ 902210 w 1971297"/>
              <a:gd name="connsiteY46" fmla="*/ 1969728 h 1970826"/>
              <a:gd name="connsiteX47" fmla="*/ 870884 w 1971297"/>
              <a:gd name="connsiteY47" fmla="*/ 1773359 h 1970826"/>
              <a:gd name="connsiteX48" fmla="*/ 825096 w 1971297"/>
              <a:gd name="connsiteY48" fmla="*/ 1766334 h 1970826"/>
              <a:gd name="connsiteX49" fmla="*/ 724057 w 1971297"/>
              <a:gd name="connsiteY49" fmla="*/ 1941349 h 1970826"/>
              <a:gd name="connsiteX50" fmla="*/ 572352 w 1971297"/>
              <a:gd name="connsiteY50" fmla="*/ 1886133 h 1970826"/>
              <a:gd name="connsiteX51" fmla="*/ 607450 w 1971297"/>
              <a:gd name="connsiteY51" fmla="*/ 1687117 h 1970826"/>
              <a:gd name="connsiteX52" fmla="*/ 571181 w 1971297"/>
              <a:gd name="connsiteY52" fmla="*/ 1662485 h 1970826"/>
              <a:gd name="connsiteX53" fmla="*/ 421150 w 1971297"/>
              <a:gd name="connsiteY53" fmla="*/ 1792613 h 1970826"/>
              <a:gd name="connsiteX54" fmla="*/ 297817 w 1971297"/>
              <a:gd name="connsiteY54" fmla="*/ 1690557 h 1970826"/>
              <a:gd name="connsiteX55" fmla="*/ 395006 w 1971297"/>
              <a:gd name="connsiteY55" fmla="*/ 1515223 h 1970826"/>
              <a:gd name="connsiteX56" fmla="*/ 361468 w 1971297"/>
              <a:gd name="connsiteY56" fmla="*/ 1480715 h 1970826"/>
              <a:gd name="connsiteX57" fmla="*/ 171570 w 1971297"/>
              <a:gd name="connsiteY57" fmla="*/ 1549837 h 1970826"/>
              <a:gd name="connsiteX58" fmla="*/ 90850 w 1971297"/>
              <a:gd name="connsiteY58" fmla="*/ 1410026 h 1970826"/>
              <a:gd name="connsiteX59" fmla="*/ 245661 w 1971297"/>
              <a:gd name="connsiteY59" fmla="*/ 1280131 h 1970826"/>
              <a:gd name="connsiteX60" fmla="*/ 233972 w 1971297"/>
              <a:gd name="connsiteY60" fmla="*/ 1245643 h 1970826"/>
              <a:gd name="connsiteX61" fmla="*/ 31451 w 1971297"/>
              <a:gd name="connsiteY61" fmla="*/ 1248953 h 1970826"/>
              <a:gd name="connsiteX62" fmla="*/ 2573 w 1971297"/>
              <a:gd name="connsiteY62" fmla="*/ 1091497 h 1970826"/>
              <a:gd name="connsiteX63" fmla="*/ 191133 w 1971297"/>
              <a:gd name="connsiteY63" fmla="*/ 1019115 h 1970826"/>
              <a:gd name="connsiteX64" fmla="*/ 189902 w 1971297"/>
              <a:gd name="connsiteY64" fmla="*/ 963904 h 1970826"/>
              <a:gd name="connsiteX65" fmla="*/ 0 w 1971297"/>
              <a:gd name="connsiteY65" fmla="*/ 894790 h 1970826"/>
              <a:gd name="connsiteX66" fmla="*/ 28034 w 1971297"/>
              <a:gd name="connsiteY66" fmla="*/ 735802 h 1970826"/>
              <a:gd name="connsiteX67" fmla="*/ 230121 w 1971297"/>
              <a:gd name="connsiteY67" fmla="*/ 735808 h 1970826"/>
              <a:gd name="connsiteX68" fmla="*/ 240919 w 1971297"/>
              <a:gd name="connsiteY68" fmla="*/ 708079 h 1970826"/>
              <a:gd name="connsiteX69" fmla="*/ 84936 w 1971297"/>
              <a:gd name="connsiteY69" fmla="*/ 585933 h 1970826"/>
              <a:gd name="connsiteX70" fmla="*/ 161584 w 1971297"/>
              <a:gd name="connsiteY70" fmla="*/ 445393 h 1970826"/>
              <a:gd name="connsiteX71" fmla="*/ 354366 w 1971297"/>
              <a:gd name="connsiteY71" fmla="*/ 508031 h 1970826"/>
              <a:gd name="connsiteX72" fmla="*/ 390674 w 1971297"/>
              <a:gd name="connsiteY72" fmla="*/ 457722 h 1970826"/>
              <a:gd name="connsiteX73" fmla="*/ 289626 w 1971297"/>
              <a:gd name="connsiteY73" fmla="*/ 282712 h 1970826"/>
              <a:gd name="connsiteX74" fmla="*/ 413297 w 1971297"/>
              <a:gd name="connsiteY74" fmla="*/ 178940 h 1970826"/>
              <a:gd name="connsiteX75" fmla="*/ 568101 w 1971297"/>
              <a:gd name="connsiteY75" fmla="*/ 308843 h 1970826"/>
              <a:gd name="connsiteX76" fmla="*/ 611018 w 1971297"/>
              <a:gd name="connsiteY76" fmla="*/ 285324 h 1970826"/>
              <a:gd name="connsiteX77" fmla="*/ 576674 w 1971297"/>
              <a:gd name="connsiteY77" fmla="*/ 89277 h 1970826"/>
              <a:gd name="connsiteX78" fmla="*/ 727674 w 1971297"/>
              <a:gd name="connsiteY78" fmla="*/ 36123 h 1970826"/>
              <a:gd name="connsiteX79" fmla="*/ 826689 w 1971297"/>
              <a:gd name="connsiteY79" fmla="*/ 207623 h 1970826"/>
              <a:gd name="connsiteX80" fmla="*/ 869841 w 1971297"/>
              <a:gd name="connsiteY80" fmla="*/ 199018 h 1970826"/>
              <a:gd name="connsiteX81" fmla="*/ 904928 w 1971297"/>
              <a:gd name="connsiteY81" fmla="*/ 0 h 1970826"/>
              <a:gd name="connsiteX0" fmla="*/ 1664611 w 1971297"/>
              <a:gd name="connsiteY0" fmla="*/ 573966 h 1970826"/>
              <a:gd name="connsiteX1" fmla="*/ 1664864 w 1971297"/>
              <a:gd name="connsiteY1" fmla="*/ 574448 h 1970826"/>
              <a:gd name="connsiteX2" fmla="*/ 1664611 w 1971297"/>
              <a:gd name="connsiteY2" fmla="*/ 573966 h 1970826"/>
              <a:gd name="connsiteX3" fmla="*/ 985649 w 1971297"/>
              <a:gd name="connsiteY3" fmla="*/ 323553 h 1970826"/>
              <a:gd name="connsiteX4" fmla="*/ 322581 w 1971297"/>
              <a:gd name="connsiteY4" fmla="*/ 986621 h 1970826"/>
              <a:gd name="connsiteX5" fmla="*/ 985649 w 1971297"/>
              <a:gd name="connsiteY5" fmla="*/ 1649689 h 1970826"/>
              <a:gd name="connsiteX6" fmla="*/ 1648717 w 1971297"/>
              <a:gd name="connsiteY6" fmla="*/ 986621 h 1970826"/>
              <a:gd name="connsiteX7" fmla="*/ 985649 w 1971297"/>
              <a:gd name="connsiteY7" fmla="*/ 323553 h 1970826"/>
              <a:gd name="connsiteX8" fmla="*/ 904928 w 1971297"/>
              <a:gd name="connsiteY8" fmla="*/ 0 h 1970826"/>
              <a:gd name="connsiteX9" fmla="*/ 1066369 w 1971297"/>
              <a:gd name="connsiteY9" fmla="*/ 0 h 1970826"/>
              <a:gd name="connsiteX10" fmla="*/ 1101456 w 1971297"/>
              <a:gd name="connsiteY10" fmla="*/ 199018 h 1970826"/>
              <a:gd name="connsiteX11" fmla="*/ 1149113 w 1971297"/>
              <a:gd name="connsiteY11" fmla="*/ 208521 h 1970826"/>
              <a:gd name="connsiteX12" fmla="*/ 1245734 w 1971297"/>
              <a:gd name="connsiteY12" fmla="*/ 36367 h 1970826"/>
              <a:gd name="connsiteX13" fmla="*/ 1396309 w 1971297"/>
              <a:gd name="connsiteY13" fmla="*/ 90716 h 1970826"/>
              <a:gd name="connsiteX14" fmla="*/ 1364293 w 1971297"/>
              <a:gd name="connsiteY14" fmla="*/ 287523 h 1970826"/>
              <a:gd name="connsiteX15" fmla="*/ 1403197 w 1971297"/>
              <a:gd name="connsiteY15" fmla="*/ 308843 h 1970826"/>
              <a:gd name="connsiteX16" fmla="*/ 1558001 w 1971297"/>
              <a:gd name="connsiteY16" fmla="*/ 178940 h 1970826"/>
              <a:gd name="connsiteX17" fmla="*/ 1681671 w 1971297"/>
              <a:gd name="connsiteY17" fmla="*/ 282712 h 1970826"/>
              <a:gd name="connsiteX18" fmla="*/ 1580623 w 1971297"/>
              <a:gd name="connsiteY18" fmla="*/ 457722 h 1970826"/>
              <a:gd name="connsiteX19" fmla="*/ 1610608 w 1971297"/>
              <a:gd name="connsiteY19" fmla="*/ 499270 h 1970826"/>
              <a:gd name="connsiteX20" fmla="*/ 1802874 w 1971297"/>
              <a:gd name="connsiteY20" fmla="*/ 433067 h 1970826"/>
              <a:gd name="connsiteX21" fmla="*/ 1881963 w 1971297"/>
              <a:gd name="connsiteY21" fmla="*/ 572248 h 1970826"/>
              <a:gd name="connsiteX22" fmla="*/ 1726590 w 1971297"/>
              <a:gd name="connsiteY22" fmla="*/ 698353 h 1970826"/>
              <a:gd name="connsiteX23" fmla="*/ 1741176 w 1971297"/>
              <a:gd name="connsiteY23" fmla="*/ 735808 h 1970826"/>
              <a:gd name="connsiteX24" fmla="*/ 1943264 w 1971297"/>
              <a:gd name="connsiteY24" fmla="*/ 735802 h 1970826"/>
              <a:gd name="connsiteX25" fmla="*/ 1971297 w 1971297"/>
              <a:gd name="connsiteY25" fmla="*/ 894790 h 1970826"/>
              <a:gd name="connsiteX26" fmla="*/ 1781396 w 1971297"/>
              <a:gd name="connsiteY26" fmla="*/ 963903 h 1970826"/>
              <a:gd name="connsiteX27" fmla="*/ 1780264 w 1971297"/>
              <a:gd name="connsiteY27" fmla="*/ 1014677 h 1970826"/>
              <a:gd name="connsiteX28" fmla="*/ 1969010 w 1971297"/>
              <a:gd name="connsiteY28" fmla="*/ 1087130 h 1970826"/>
              <a:gd name="connsiteX29" fmla="*/ 1940132 w 1971297"/>
              <a:gd name="connsiteY29" fmla="*/ 1244586 h 1970826"/>
              <a:gd name="connsiteX30" fmla="*/ 1738798 w 1971297"/>
              <a:gd name="connsiteY30" fmla="*/ 1241295 h 1970826"/>
              <a:gd name="connsiteX31" fmla="*/ 1725636 w 1971297"/>
              <a:gd name="connsiteY31" fmla="*/ 1280130 h 1970826"/>
              <a:gd name="connsiteX32" fmla="*/ 1880447 w 1971297"/>
              <a:gd name="connsiteY32" fmla="*/ 1410026 h 1970826"/>
              <a:gd name="connsiteX33" fmla="*/ 1799727 w 1971297"/>
              <a:gd name="connsiteY33" fmla="*/ 1549837 h 1970826"/>
              <a:gd name="connsiteX34" fmla="*/ 1609829 w 1971297"/>
              <a:gd name="connsiteY34" fmla="*/ 1480714 h 1970826"/>
              <a:gd name="connsiteX35" fmla="*/ 1579151 w 1971297"/>
              <a:gd name="connsiteY35" fmla="*/ 1512281 h 1970826"/>
              <a:gd name="connsiteX36" fmla="*/ 1677610 w 1971297"/>
              <a:gd name="connsiteY36" fmla="*/ 1689905 h 1970826"/>
              <a:gd name="connsiteX37" fmla="*/ 1554277 w 1971297"/>
              <a:gd name="connsiteY37" fmla="*/ 1791961 h 1970826"/>
              <a:gd name="connsiteX38" fmla="*/ 1402854 w 1971297"/>
              <a:gd name="connsiteY38" fmla="*/ 1660626 h 1970826"/>
              <a:gd name="connsiteX39" fmla="*/ 1363848 w 1971297"/>
              <a:gd name="connsiteY39" fmla="*/ 1687117 h 1970826"/>
              <a:gd name="connsiteX40" fmla="*/ 1398945 w 1971297"/>
              <a:gd name="connsiteY40" fmla="*/ 1886133 h 1970826"/>
              <a:gd name="connsiteX41" fmla="*/ 1247240 w 1971297"/>
              <a:gd name="connsiteY41" fmla="*/ 1941349 h 1970826"/>
              <a:gd name="connsiteX42" fmla="*/ 1146202 w 1971297"/>
              <a:gd name="connsiteY42" fmla="*/ 1766334 h 1970826"/>
              <a:gd name="connsiteX43" fmla="*/ 1100680 w 1971297"/>
              <a:gd name="connsiteY43" fmla="*/ 1773318 h 1970826"/>
              <a:gd name="connsiteX44" fmla="*/ 1062288 w 1971297"/>
              <a:gd name="connsiteY44" fmla="*/ 1970826 h 1970826"/>
              <a:gd name="connsiteX45" fmla="*/ 902210 w 1971297"/>
              <a:gd name="connsiteY45" fmla="*/ 1969728 h 1970826"/>
              <a:gd name="connsiteX46" fmla="*/ 870884 w 1971297"/>
              <a:gd name="connsiteY46" fmla="*/ 1773359 h 1970826"/>
              <a:gd name="connsiteX47" fmla="*/ 825096 w 1971297"/>
              <a:gd name="connsiteY47" fmla="*/ 1766334 h 1970826"/>
              <a:gd name="connsiteX48" fmla="*/ 724057 w 1971297"/>
              <a:gd name="connsiteY48" fmla="*/ 1941349 h 1970826"/>
              <a:gd name="connsiteX49" fmla="*/ 572352 w 1971297"/>
              <a:gd name="connsiteY49" fmla="*/ 1886133 h 1970826"/>
              <a:gd name="connsiteX50" fmla="*/ 607450 w 1971297"/>
              <a:gd name="connsiteY50" fmla="*/ 1687117 h 1970826"/>
              <a:gd name="connsiteX51" fmla="*/ 571181 w 1971297"/>
              <a:gd name="connsiteY51" fmla="*/ 1662485 h 1970826"/>
              <a:gd name="connsiteX52" fmla="*/ 421150 w 1971297"/>
              <a:gd name="connsiteY52" fmla="*/ 1792613 h 1970826"/>
              <a:gd name="connsiteX53" fmla="*/ 297817 w 1971297"/>
              <a:gd name="connsiteY53" fmla="*/ 1690557 h 1970826"/>
              <a:gd name="connsiteX54" fmla="*/ 395006 w 1971297"/>
              <a:gd name="connsiteY54" fmla="*/ 1515223 h 1970826"/>
              <a:gd name="connsiteX55" fmla="*/ 361468 w 1971297"/>
              <a:gd name="connsiteY55" fmla="*/ 1480715 h 1970826"/>
              <a:gd name="connsiteX56" fmla="*/ 171570 w 1971297"/>
              <a:gd name="connsiteY56" fmla="*/ 1549837 h 1970826"/>
              <a:gd name="connsiteX57" fmla="*/ 90850 w 1971297"/>
              <a:gd name="connsiteY57" fmla="*/ 1410026 h 1970826"/>
              <a:gd name="connsiteX58" fmla="*/ 245661 w 1971297"/>
              <a:gd name="connsiteY58" fmla="*/ 1280131 h 1970826"/>
              <a:gd name="connsiteX59" fmla="*/ 233972 w 1971297"/>
              <a:gd name="connsiteY59" fmla="*/ 1245643 h 1970826"/>
              <a:gd name="connsiteX60" fmla="*/ 31451 w 1971297"/>
              <a:gd name="connsiteY60" fmla="*/ 1248953 h 1970826"/>
              <a:gd name="connsiteX61" fmla="*/ 2573 w 1971297"/>
              <a:gd name="connsiteY61" fmla="*/ 1091497 h 1970826"/>
              <a:gd name="connsiteX62" fmla="*/ 191133 w 1971297"/>
              <a:gd name="connsiteY62" fmla="*/ 1019115 h 1970826"/>
              <a:gd name="connsiteX63" fmla="*/ 189902 w 1971297"/>
              <a:gd name="connsiteY63" fmla="*/ 963904 h 1970826"/>
              <a:gd name="connsiteX64" fmla="*/ 0 w 1971297"/>
              <a:gd name="connsiteY64" fmla="*/ 894790 h 1970826"/>
              <a:gd name="connsiteX65" fmla="*/ 28034 w 1971297"/>
              <a:gd name="connsiteY65" fmla="*/ 735802 h 1970826"/>
              <a:gd name="connsiteX66" fmla="*/ 230121 w 1971297"/>
              <a:gd name="connsiteY66" fmla="*/ 735808 h 1970826"/>
              <a:gd name="connsiteX67" fmla="*/ 240919 w 1971297"/>
              <a:gd name="connsiteY67" fmla="*/ 708079 h 1970826"/>
              <a:gd name="connsiteX68" fmla="*/ 84936 w 1971297"/>
              <a:gd name="connsiteY68" fmla="*/ 585933 h 1970826"/>
              <a:gd name="connsiteX69" fmla="*/ 161584 w 1971297"/>
              <a:gd name="connsiteY69" fmla="*/ 445393 h 1970826"/>
              <a:gd name="connsiteX70" fmla="*/ 354366 w 1971297"/>
              <a:gd name="connsiteY70" fmla="*/ 508031 h 1970826"/>
              <a:gd name="connsiteX71" fmla="*/ 390674 w 1971297"/>
              <a:gd name="connsiteY71" fmla="*/ 457722 h 1970826"/>
              <a:gd name="connsiteX72" fmla="*/ 289626 w 1971297"/>
              <a:gd name="connsiteY72" fmla="*/ 282712 h 1970826"/>
              <a:gd name="connsiteX73" fmla="*/ 413297 w 1971297"/>
              <a:gd name="connsiteY73" fmla="*/ 178940 h 1970826"/>
              <a:gd name="connsiteX74" fmla="*/ 568101 w 1971297"/>
              <a:gd name="connsiteY74" fmla="*/ 308843 h 1970826"/>
              <a:gd name="connsiteX75" fmla="*/ 611018 w 1971297"/>
              <a:gd name="connsiteY75" fmla="*/ 285324 h 1970826"/>
              <a:gd name="connsiteX76" fmla="*/ 576674 w 1971297"/>
              <a:gd name="connsiteY76" fmla="*/ 89277 h 1970826"/>
              <a:gd name="connsiteX77" fmla="*/ 727674 w 1971297"/>
              <a:gd name="connsiteY77" fmla="*/ 36123 h 1970826"/>
              <a:gd name="connsiteX78" fmla="*/ 826689 w 1971297"/>
              <a:gd name="connsiteY78" fmla="*/ 207623 h 1970826"/>
              <a:gd name="connsiteX79" fmla="*/ 869841 w 1971297"/>
              <a:gd name="connsiteY79" fmla="*/ 199018 h 1970826"/>
              <a:gd name="connsiteX80" fmla="*/ 904928 w 1971297"/>
              <a:gd name="connsiteY80"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1648717 w 1971297"/>
              <a:gd name="connsiteY3" fmla="*/ 986621 h 1970826"/>
              <a:gd name="connsiteX4" fmla="*/ 985649 w 1971297"/>
              <a:gd name="connsiteY4" fmla="*/ 323553 h 1970826"/>
              <a:gd name="connsiteX5" fmla="*/ 904928 w 1971297"/>
              <a:gd name="connsiteY5" fmla="*/ 0 h 1970826"/>
              <a:gd name="connsiteX6" fmla="*/ 1066369 w 1971297"/>
              <a:gd name="connsiteY6" fmla="*/ 0 h 1970826"/>
              <a:gd name="connsiteX7" fmla="*/ 1101456 w 1971297"/>
              <a:gd name="connsiteY7" fmla="*/ 199018 h 1970826"/>
              <a:gd name="connsiteX8" fmla="*/ 1149113 w 1971297"/>
              <a:gd name="connsiteY8" fmla="*/ 208521 h 1970826"/>
              <a:gd name="connsiteX9" fmla="*/ 1245734 w 1971297"/>
              <a:gd name="connsiteY9" fmla="*/ 36367 h 1970826"/>
              <a:gd name="connsiteX10" fmla="*/ 1396309 w 1971297"/>
              <a:gd name="connsiteY10" fmla="*/ 90716 h 1970826"/>
              <a:gd name="connsiteX11" fmla="*/ 1364293 w 1971297"/>
              <a:gd name="connsiteY11" fmla="*/ 287523 h 1970826"/>
              <a:gd name="connsiteX12" fmla="*/ 1403197 w 1971297"/>
              <a:gd name="connsiteY12" fmla="*/ 308843 h 1970826"/>
              <a:gd name="connsiteX13" fmla="*/ 1558001 w 1971297"/>
              <a:gd name="connsiteY13" fmla="*/ 178940 h 1970826"/>
              <a:gd name="connsiteX14" fmla="*/ 1681671 w 1971297"/>
              <a:gd name="connsiteY14" fmla="*/ 282712 h 1970826"/>
              <a:gd name="connsiteX15" fmla="*/ 1580623 w 1971297"/>
              <a:gd name="connsiteY15" fmla="*/ 457722 h 1970826"/>
              <a:gd name="connsiteX16" fmla="*/ 1610608 w 1971297"/>
              <a:gd name="connsiteY16" fmla="*/ 499270 h 1970826"/>
              <a:gd name="connsiteX17" fmla="*/ 1802874 w 1971297"/>
              <a:gd name="connsiteY17" fmla="*/ 433067 h 1970826"/>
              <a:gd name="connsiteX18" fmla="*/ 1881963 w 1971297"/>
              <a:gd name="connsiteY18" fmla="*/ 572248 h 1970826"/>
              <a:gd name="connsiteX19" fmla="*/ 1726590 w 1971297"/>
              <a:gd name="connsiteY19" fmla="*/ 698353 h 1970826"/>
              <a:gd name="connsiteX20" fmla="*/ 1741176 w 1971297"/>
              <a:gd name="connsiteY20" fmla="*/ 735808 h 1970826"/>
              <a:gd name="connsiteX21" fmla="*/ 1943264 w 1971297"/>
              <a:gd name="connsiteY21" fmla="*/ 735802 h 1970826"/>
              <a:gd name="connsiteX22" fmla="*/ 1971297 w 1971297"/>
              <a:gd name="connsiteY22" fmla="*/ 894790 h 1970826"/>
              <a:gd name="connsiteX23" fmla="*/ 1781396 w 1971297"/>
              <a:gd name="connsiteY23" fmla="*/ 963903 h 1970826"/>
              <a:gd name="connsiteX24" fmla="*/ 1780264 w 1971297"/>
              <a:gd name="connsiteY24" fmla="*/ 1014677 h 1970826"/>
              <a:gd name="connsiteX25" fmla="*/ 1969010 w 1971297"/>
              <a:gd name="connsiteY25" fmla="*/ 1087130 h 1970826"/>
              <a:gd name="connsiteX26" fmla="*/ 1940132 w 1971297"/>
              <a:gd name="connsiteY26" fmla="*/ 1244586 h 1970826"/>
              <a:gd name="connsiteX27" fmla="*/ 1738798 w 1971297"/>
              <a:gd name="connsiteY27" fmla="*/ 1241295 h 1970826"/>
              <a:gd name="connsiteX28" fmla="*/ 1725636 w 1971297"/>
              <a:gd name="connsiteY28" fmla="*/ 1280130 h 1970826"/>
              <a:gd name="connsiteX29" fmla="*/ 1880447 w 1971297"/>
              <a:gd name="connsiteY29" fmla="*/ 1410026 h 1970826"/>
              <a:gd name="connsiteX30" fmla="*/ 1799727 w 1971297"/>
              <a:gd name="connsiteY30" fmla="*/ 1549837 h 1970826"/>
              <a:gd name="connsiteX31" fmla="*/ 1609829 w 1971297"/>
              <a:gd name="connsiteY31" fmla="*/ 1480714 h 1970826"/>
              <a:gd name="connsiteX32" fmla="*/ 1579151 w 1971297"/>
              <a:gd name="connsiteY32" fmla="*/ 1512281 h 1970826"/>
              <a:gd name="connsiteX33" fmla="*/ 1677610 w 1971297"/>
              <a:gd name="connsiteY33" fmla="*/ 1689905 h 1970826"/>
              <a:gd name="connsiteX34" fmla="*/ 1554277 w 1971297"/>
              <a:gd name="connsiteY34" fmla="*/ 1791961 h 1970826"/>
              <a:gd name="connsiteX35" fmla="*/ 1402854 w 1971297"/>
              <a:gd name="connsiteY35" fmla="*/ 1660626 h 1970826"/>
              <a:gd name="connsiteX36" fmla="*/ 1363848 w 1971297"/>
              <a:gd name="connsiteY36" fmla="*/ 1687117 h 1970826"/>
              <a:gd name="connsiteX37" fmla="*/ 1398945 w 1971297"/>
              <a:gd name="connsiteY37" fmla="*/ 1886133 h 1970826"/>
              <a:gd name="connsiteX38" fmla="*/ 1247240 w 1971297"/>
              <a:gd name="connsiteY38" fmla="*/ 1941349 h 1970826"/>
              <a:gd name="connsiteX39" fmla="*/ 1146202 w 1971297"/>
              <a:gd name="connsiteY39" fmla="*/ 1766334 h 1970826"/>
              <a:gd name="connsiteX40" fmla="*/ 1100680 w 1971297"/>
              <a:gd name="connsiteY40" fmla="*/ 1773318 h 1970826"/>
              <a:gd name="connsiteX41" fmla="*/ 1062288 w 1971297"/>
              <a:gd name="connsiteY41" fmla="*/ 1970826 h 1970826"/>
              <a:gd name="connsiteX42" fmla="*/ 902210 w 1971297"/>
              <a:gd name="connsiteY42" fmla="*/ 1969728 h 1970826"/>
              <a:gd name="connsiteX43" fmla="*/ 870884 w 1971297"/>
              <a:gd name="connsiteY43" fmla="*/ 1773359 h 1970826"/>
              <a:gd name="connsiteX44" fmla="*/ 825096 w 1971297"/>
              <a:gd name="connsiteY44" fmla="*/ 1766334 h 1970826"/>
              <a:gd name="connsiteX45" fmla="*/ 724057 w 1971297"/>
              <a:gd name="connsiteY45" fmla="*/ 1941349 h 1970826"/>
              <a:gd name="connsiteX46" fmla="*/ 572352 w 1971297"/>
              <a:gd name="connsiteY46" fmla="*/ 1886133 h 1970826"/>
              <a:gd name="connsiteX47" fmla="*/ 607450 w 1971297"/>
              <a:gd name="connsiteY47" fmla="*/ 1687117 h 1970826"/>
              <a:gd name="connsiteX48" fmla="*/ 571181 w 1971297"/>
              <a:gd name="connsiteY48" fmla="*/ 1662485 h 1970826"/>
              <a:gd name="connsiteX49" fmla="*/ 421150 w 1971297"/>
              <a:gd name="connsiteY49" fmla="*/ 1792613 h 1970826"/>
              <a:gd name="connsiteX50" fmla="*/ 297817 w 1971297"/>
              <a:gd name="connsiteY50" fmla="*/ 1690557 h 1970826"/>
              <a:gd name="connsiteX51" fmla="*/ 395006 w 1971297"/>
              <a:gd name="connsiteY51" fmla="*/ 1515223 h 1970826"/>
              <a:gd name="connsiteX52" fmla="*/ 361468 w 1971297"/>
              <a:gd name="connsiteY52" fmla="*/ 1480715 h 1970826"/>
              <a:gd name="connsiteX53" fmla="*/ 171570 w 1971297"/>
              <a:gd name="connsiteY53" fmla="*/ 1549837 h 1970826"/>
              <a:gd name="connsiteX54" fmla="*/ 90850 w 1971297"/>
              <a:gd name="connsiteY54" fmla="*/ 1410026 h 1970826"/>
              <a:gd name="connsiteX55" fmla="*/ 245661 w 1971297"/>
              <a:gd name="connsiteY55" fmla="*/ 1280131 h 1970826"/>
              <a:gd name="connsiteX56" fmla="*/ 233972 w 1971297"/>
              <a:gd name="connsiteY56" fmla="*/ 1245643 h 1970826"/>
              <a:gd name="connsiteX57" fmla="*/ 31451 w 1971297"/>
              <a:gd name="connsiteY57" fmla="*/ 1248953 h 1970826"/>
              <a:gd name="connsiteX58" fmla="*/ 2573 w 1971297"/>
              <a:gd name="connsiteY58" fmla="*/ 1091497 h 1970826"/>
              <a:gd name="connsiteX59" fmla="*/ 191133 w 1971297"/>
              <a:gd name="connsiteY59" fmla="*/ 1019115 h 1970826"/>
              <a:gd name="connsiteX60" fmla="*/ 189902 w 1971297"/>
              <a:gd name="connsiteY60" fmla="*/ 963904 h 1970826"/>
              <a:gd name="connsiteX61" fmla="*/ 0 w 1971297"/>
              <a:gd name="connsiteY61" fmla="*/ 894790 h 1970826"/>
              <a:gd name="connsiteX62" fmla="*/ 28034 w 1971297"/>
              <a:gd name="connsiteY62" fmla="*/ 735802 h 1970826"/>
              <a:gd name="connsiteX63" fmla="*/ 230121 w 1971297"/>
              <a:gd name="connsiteY63" fmla="*/ 735808 h 1970826"/>
              <a:gd name="connsiteX64" fmla="*/ 240919 w 1971297"/>
              <a:gd name="connsiteY64" fmla="*/ 708079 h 1970826"/>
              <a:gd name="connsiteX65" fmla="*/ 84936 w 1971297"/>
              <a:gd name="connsiteY65" fmla="*/ 585933 h 1970826"/>
              <a:gd name="connsiteX66" fmla="*/ 161584 w 1971297"/>
              <a:gd name="connsiteY66" fmla="*/ 445393 h 1970826"/>
              <a:gd name="connsiteX67" fmla="*/ 354366 w 1971297"/>
              <a:gd name="connsiteY67" fmla="*/ 508031 h 1970826"/>
              <a:gd name="connsiteX68" fmla="*/ 390674 w 1971297"/>
              <a:gd name="connsiteY68" fmla="*/ 457722 h 1970826"/>
              <a:gd name="connsiteX69" fmla="*/ 289626 w 1971297"/>
              <a:gd name="connsiteY69" fmla="*/ 282712 h 1970826"/>
              <a:gd name="connsiteX70" fmla="*/ 413297 w 1971297"/>
              <a:gd name="connsiteY70" fmla="*/ 178940 h 1970826"/>
              <a:gd name="connsiteX71" fmla="*/ 568101 w 1971297"/>
              <a:gd name="connsiteY71" fmla="*/ 308843 h 1970826"/>
              <a:gd name="connsiteX72" fmla="*/ 611018 w 1971297"/>
              <a:gd name="connsiteY72" fmla="*/ 285324 h 1970826"/>
              <a:gd name="connsiteX73" fmla="*/ 576674 w 1971297"/>
              <a:gd name="connsiteY73" fmla="*/ 89277 h 1970826"/>
              <a:gd name="connsiteX74" fmla="*/ 727674 w 1971297"/>
              <a:gd name="connsiteY74" fmla="*/ 36123 h 1970826"/>
              <a:gd name="connsiteX75" fmla="*/ 826689 w 1971297"/>
              <a:gd name="connsiteY75" fmla="*/ 207623 h 1970826"/>
              <a:gd name="connsiteX76" fmla="*/ 869841 w 1971297"/>
              <a:gd name="connsiteY76" fmla="*/ 199018 h 1970826"/>
              <a:gd name="connsiteX77" fmla="*/ 904928 w 1971297"/>
              <a:gd name="connsiteY77"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985649 w 1971297"/>
              <a:gd name="connsiteY3" fmla="*/ 323553 h 1970826"/>
              <a:gd name="connsiteX4" fmla="*/ 904928 w 1971297"/>
              <a:gd name="connsiteY4" fmla="*/ 0 h 1970826"/>
              <a:gd name="connsiteX5" fmla="*/ 1066369 w 1971297"/>
              <a:gd name="connsiteY5" fmla="*/ 0 h 1970826"/>
              <a:gd name="connsiteX6" fmla="*/ 1101456 w 1971297"/>
              <a:gd name="connsiteY6" fmla="*/ 199018 h 1970826"/>
              <a:gd name="connsiteX7" fmla="*/ 1149113 w 1971297"/>
              <a:gd name="connsiteY7" fmla="*/ 208521 h 1970826"/>
              <a:gd name="connsiteX8" fmla="*/ 1245734 w 1971297"/>
              <a:gd name="connsiteY8" fmla="*/ 36367 h 1970826"/>
              <a:gd name="connsiteX9" fmla="*/ 1396309 w 1971297"/>
              <a:gd name="connsiteY9" fmla="*/ 90716 h 1970826"/>
              <a:gd name="connsiteX10" fmla="*/ 1364293 w 1971297"/>
              <a:gd name="connsiteY10" fmla="*/ 287523 h 1970826"/>
              <a:gd name="connsiteX11" fmla="*/ 1403197 w 1971297"/>
              <a:gd name="connsiteY11" fmla="*/ 308843 h 1970826"/>
              <a:gd name="connsiteX12" fmla="*/ 1558001 w 1971297"/>
              <a:gd name="connsiteY12" fmla="*/ 178940 h 1970826"/>
              <a:gd name="connsiteX13" fmla="*/ 1681671 w 1971297"/>
              <a:gd name="connsiteY13" fmla="*/ 282712 h 1970826"/>
              <a:gd name="connsiteX14" fmla="*/ 1580623 w 1971297"/>
              <a:gd name="connsiteY14" fmla="*/ 457722 h 1970826"/>
              <a:gd name="connsiteX15" fmla="*/ 1610608 w 1971297"/>
              <a:gd name="connsiteY15" fmla="*/ 499270 h 1970826"/>
              <a:gd name="connsiteX16" fmla="*/ 1802874 w 1971297"/>
              <a:gd name="connsiteY16" fmla="*/ 433067 h 1970826"/>
              <a:gd name="connsiteX17" fmla="*/ 1881963 w 1971297"/>
              <a:gd name="connsiteY17" fmla="*/ 572248 h 1970826"/>
              <a:gd name="connsiteX18" fmla="*/ 1726590 w 1971297"/>
              <a:gd name="connsiteY18" fmla="*/ 698353 h 1970826"/>
              <a:gd name="connsiteX19" fmla="*/ 1741176 w 1971297"/>
              <a:gd name="connsiteY19" fmla="*/ 735808 h 1970826"/>
              <a:gd name="connsiteX20" fmla="*/ 1943264 w 1971297"/>
              <a:gd name="connsiteY20" fmla="*/ 735802 h 1970826"/>
              <a:gd name="connsiteX21" fmla="*/ 1971297 w 1971297"/>
              <a:gd name="connsiteY21" fmla="*/ 894790 h 1970826"/>
              <a:gd name="connsiteX22" fmla="*/ 1781396 w 1971297"/>
              <a:gd name="connsiteY22" fmla="*/ 963903 h 1970826"/>
              <a:gd name="connsiteX23" fmla="*/ 1780264 w 1971297"/>
              <a:gd name="connsiteY23" fmla="*/ 1014677 h 1970826"/>
              <a:gd name="connsiteX24" fmla="*/ 1969010 w 1971297"/>
              <a:gd name="connsiteY24" fmla="*/ 1087130 h 1970826"/>
              <a:gd name="connsiteX25" fmla="*/ 1940132 w 1971297"/>
              <a:gd name="connsiteY25" fmla="*/ 1244586 h 1970826"/>
              <a:gd name="connsiteX26" fmla="*/ 1738798 w 1971297"/>
              <a:gd name="connsiteY26" fmla="*/ 1241295 h 1970826"/>
              <a:gd name="connsiteX27" fmla="*/ 1725636 w 1971297"/>
              <a:gd name="connsiteY27" fmla="*/ 1280130 h 1970826"/>
              <a:gd name="connsiteX28" fmla="*/ 1880447 w 1971297"/>
              <a:gd name="connsiteY28" fmla="*/ 1410026 h 1970826"/>
              <a:gd name="connsiteX29" fmla="*/ 1799727 w 1971297"/>
              <a:gd name="connsiteY29" fmla="*/ 1549837 h 1970826"/>
              <a:gd name="connsiteX30" fmla="*/ 1609829 w 1971297"/>
              <a:gd name="connsiteY30" fmla="*/ 1480714 h 1970826"/>
              <a:gd name="connsiteX31" fmla="*/ 1579151 w 1971297"/>
              <a:gd name="connsiteY31" fmla="*/ 1512281 h 1970826"/>
              <a:gd name="connsiteX32" fmla="*/ 1677610 w 1971297"/>
              <a:gd name="connsiteY32" fmla="*/ 1689905 h 1970826"/>
              <a:gd name="connsiteX33" fmla="*/ 1554277 w 1971297"/>
              <a:gd name="connsiteY33" fmla="*/ 1791961 h 1970826"/>
              <a:gd name="connsiteX34" fmla="*/ 1402854 w 1971297"/>
              <a:gd name="connsiteY34" fmla="*/ 1660626 h 1970826"/>
              <a:gd name="connsiteX35" fmla="*/ 1363848 w 1971297"/>
              <a:gd name="connsiteY35" fmla="*/ 1687117 h 1970826"/>
              <a:gd name="connsiteX36" fmla="*/ 1398945 w 1971297"/>
              <a:gd name="connsiteY36" fmla="*/ 1886133 h 1970826"/>
              <a:gd name="connsiteX37" fmla="*/ 1247240 w 1971297"/>
              <a:gd name="connsiteY37" fmla="*/ 1941349 h 1970826"/>
              <a:gd name="connsiteX38" fmla="*/ 1146202 w 1971297"/>
              <a:gd name="connsiteY38" fmla="*/ 1766334 h 1970826"/>
              <a:gd name="connsiteX39" fmla="*/ 1100680 w 1971297"/>
              <a:gd name="connsiteY39" fmla="*/ 1773318 h 1970826"/>
              <a:gd name="connsiteX40" fmla="*/ 1062288 w 1971297"/>
              <a:gd name="connsiteY40" fmla="*/ 1970826 h 1970826"/>
              <a:gd name="connsiteX41" fmla="*/ 902210 w 1971297"/>
              <a:gd name="connsiteY41" fmla="*/ 1969728 h 1970826"/>
              <a:gd name="connsiteX42" fmla="*/ 870884 w 1971297"/>
              <a:gd name="connsiteY42" fmla="*/ 1773359 h 1970826"/>
              <a:gd name="connsiteX43" fmla="*/ 825096 w 1971297"/>
              <a:gd name="connsiteY43" fmla="*/ 1766334 h 1970826"/>
              <a:gd name="connsiteX44" fmla="*/ 724057 w 1971297"/>
              <a:gd name="connsiteY44" fmla="*/ 1941349 h 1970826"/>
              <a:gd name="connsiteX45" fmla="*/ 572352 w 1971297"/>
              <a:gd name="connsiteY45" fmla="*/ 1886133 h 1970826"/>
              <a:gd name="connsiteX46" fmla="*/ 607450 w 1971297"/>
              <a:gd name="connsiteY46" fmla="*/ 1687117 h 1970826"/>
              <a:gd name="connsiteX47" fmla="*/ 571181 w 1971297"/>
              <a:gd name="connsiteY47" fmla="*/ 1662485 h 1970826"/>
              <a:gd name="connsiteX48" fmla="*/ 421150 w 1971297"/>
              <a:gd name="connsiteY48" fmla="*/ 1792613 h 1970826"/>
              <a:gd name="connsiteX49" fmla="*/ 297817 w 1971297"/>
              <a:gd name="connsiteY49" fmla="*/ 1690557 h 1970826"/>
              <a:gd name="connsiteX50" fmla="*/ 395006 w 1971297"/>
              <a:gd name="connsiteY50" fmla="*/ 1515223 h 1970826"/>
              <a:gd name="connsiteX51" fmla="*/ 361468 w 1971297"/>
              <a:gd name="connsiteY51" fmla="*/ 1480715 h 1970826"/>
              <a:gd name="connsiteX52" fmla="*/ 171570 w 1971297"/>
              <a:gd name="connsiteY52" fmla="*/ 1549837 h 1970826"/>
              <a:gd name="connsiteX53" fmla="*/ 90850 w 1971297"/>
              <a:gd name="connsiteY53" fmla="*/ 1410026 h 1970826"/>
              <a:gd name="connsiteX54" fmla="*/ 245661 w 1971297"/>
              <a:gd name="connsiteY54" fmla="*/ 1280131 h 1970826"/>
              <a:gd name="connsiteX55" fmla="*/ 233972 w 1971297"/>
              <a:gd name="connsiteY55" fmla="*/ 1245643 h 1970826"/>
              <a:gd name="connsiteX56" fmla="*/ 31451 w 1971297"/>
              <a:gd name="connsiteY56" fmla="*/ 1248953 h 1970826"/>
              <a:gd name="connsiteX57" fmla="*/ 2573 w 1971297"/>
              <a:gd name="connsiteY57" fmla="*/ 1091497 h 1970826"/>
              <a:gd name="connsiteX58" fmla="*/ 191133 w 1971297"/>
              <a:gd name="connsiteY58" fmla="*/ 1019115 h 1970826"/>
              <a:gd name="connsiteX59" fmla="*/ 189902 w 1971297"/>
              <a:gd name="connsiteY59" fmla="*/ 963904 h 1970826"/>
              <a:gd name="connsiteX60" fmla="*/ 0 w 1971297"/>
              <a:gd name="connsiteY60" fmla="*/ 894790 h 1970826"/>
              <a:gd name="connsiteX61" fmla="*/ 28034 w 1971297"/>
              <a:gd name="connsiteY61" fmla="*/ 735802 h 1970826"/>
              <a:gd name="connsiteX62" fmla="*/ 230121 w 1971297"/>
              <a:gd name="connsiteY62" fmla="*/ 735808 h 1970826"/>
              <a:gd name="connsiteX63" fmla="*/ 240919 w 1971297"/>
              <a:gd name="connsiteY63" fmla="*/ 708079 h 1970826"/>
              <a:gd name="connsiteX64" fmla="*/ 84936 w 1971297"/>
              <a:gd name="connsiteY64" fmla="*/ 585933 h 1970826"/>
              <a:gd name="connsiteX65" fmla="*/ 161584 w 1971297"/>
              <a:gd name="connsiteY65" fmla="*/ 445393 h 1970826"/>
              <a:gd name="connsiteX66" fmla="*/ 354366 w 1971297"/>
              <a:gd name="connsiteY66" fmla="*/ 508031 h 1970826"/>
              <a:gd name="connsiteX67" fmla="*/ 390674 w 1971297"/>
              <a:gd name="connsiteY67" fmla="*/ 457722 h 1970826"/>
              <a:gd name="connsiteX68" fmla="*/ 289626 w 1971297"/>
              <a:gd name="connsiteY68" fmla="*/ 282712 h 1970826"/>
              <a:gd name="connsiteX69" fmla="*/ 413297 w 1971297"/>
              <a:gd name="connsiteY69" fmla="*/ 178940 h 1970826"/>
              <a:gd name="connsiteX70" fmla="*/ 568101 w 1971297"/>
              <a:gd name="connsiteY70" fmla="*/ 308843 h 1970826"/>
              <a:gd name="connsiteX71" fmla="*/ 611018 w 1971297"/>
              <a:gd name="connsiteY71" fmla="*/ 285324 h 1970826"/>
              <a:gd name="connsiteX72" fmla="*/ 576674 w 1971297"/>
              <a:gd name="connsiteY72" fmla="*/ 89277 h 1970826"/>
              <a:gd name="connsiteX73" fmla="*/ 727674 w 1971297"/>
              <a:gd name="connsiteY73" fmla="*/ 36123 h 1970826"/>
              <a:gd name="connsiteX74" fmla="*/ 826689 w 1971297"/>
              <a:gd name="connsiteY74" fmla="*/ 207623 h 1970826"/>
              <a:gd name="connsiteX75" fmla="*/ 869841 w 1971297"/>
              <a:gd name="connsiteY75" fmla="*/ 199018 h 1970826"/>
              <a:gd name="connsiteX76" fmla="*/ 904928 w 1971297"/>
              <a:gd name="connsiteY76" fmla="*/ 0 h 1970826"/>
              <a:gd name="connsiteX0" fmla="*/ 985649 w 1971297"/>
              <a:gd name="connsiteY0" fmla="*/ 323553 h 1970826"/>
              <a:gd name="connsiteX1" fmla="*/ 322581 w 1971297"/>
              <a:gd name="connsiteY1" fmla="*/ 986621 h 1970826"/>
              <a:gd name="connsiteX2" fmla="*/ 985649 w 1971297"/>
              <a:gd name="connsiteY2" fmla="*/ 323553 h 1970826"/>
              <a:gd name="connsiteX3" fmla="*/ 904928 w 1971297"/>
              <a:gd name="connsiteY3" fmla="*/ 0 h 1970826"/>
              <a:gd name="connsiteX4" fmla="*/ 1066369 w 1971297"/>
              <a:gd name="connsiteY4" fmla="*/ 0 h 1970826"/>
              <a:gd name="connsiteX5" fmla="*/ 1101456 w 1971297"/>
              <a:gd name="connsiteY5" fmla="*/ 199018 h 1970826"/>
              <a:gd name="connsiteX6" fmla="*/ 1149113 w 1971297"/>
              <a:gd name="connsiteY6" fmla="*/ 208521 h 1970826"/>
              <a:gd name="connsiteX7" fmla="*/ 1245734 w 1971297"/>
              <a:gd name="connsiteY7" fmla="*/ 36367 h 1970826"/>
              <a:gd name="connsiteX8" fmla="*/ 1396309 w 1971297"/>
              <a:gd name="connsiteY8" fmla="*/ 90716 h 1970826"/>
              <a:gd name="connsiteX9" fmla="*/ 1364293 w 1971297"/>
              <a:gd name="connsiteY9" fmla="*/ 287523 h 1970826"/>
              <a:gd name="connsiteX10" fmla="*/ 1403197 w 1971297"/>
              <a:gd name="connsiteY10" fmla="*/ 308843 h 1970826"/>
              <a:gd name="connsiteX11" fmla="*/ 1558001 w 1971297"/>
              <a:gd name="connsiteY11" fmla="*/ 178940 h 1970826"/>
              <a:gd name="connsiteX12" fmla="*/ 1681671 w 1971297"/>
              <a:gd name="connsiteY12" fmla="*/ 282712 h 1970826"/>
              <a:gd name="connsiteX13" fmla="*/ 1580623 w 1971297"/>
              <a:gd name="connsiteY13" fmla="*/ 457722 h 1970826"/>
              <a:gd name="connsiteX14" fmla="*/ 1610608 w 1971297"/>
              <a:gd name="connsiteY14" fmla="*/ 499270 h 1970826"/>
              <a:gd name="connsiteX15" fmla="*/ 1802874 w 1971297"/>
              <a:gd name="connsiteY15" fmla="*/ 433067 h 1970826"/>
              <a:gd name="connsiteX16" fmla="*/ 1881963 w 1971297"/>
              <a:gd name="connsiteY16" fmla="*/ 572248 h 1970826"/>
              <a:gd name="connsiteX17" fmla="*/ 1726590 w 1971297"/>
              <a:gd name="connsiteY17" fmla="*/ 698353 h 1970826"/>
              <a:gd name="connsiteX18" fmla="*/ 1741176 w 1971297"/>
              <a:gd name="connsiteY18" fmla="*/ 735808 h 1970826"/>
              <a:gd name="connsiteX19" fmla="*/ 1943264 w 1971297"/>
              <a:gd name="connsiteY19" fmla="*/ 735802 h 1970826"/>
              <a:gd name="connsiteX20" fmla="*/ 1971297 w 1971297"/>
              <a:gd name="connsiteY20" fmla="*/ 894790 h 1970826"/>
              <a:gd name="connsiteX21" fmla="*/ 1781396 w 1971297"/>
              <a:gd name="connsiteY21" fmla="*/ 963903 h 1970826"/>
              <a:gd name="connsiteX22" fmla="*/ 1780264 w 1971297"/>
              <a:gd name="connsiteY22" fmla="*/ 1014677 h 1970826"/>
              <a:gd name="connsiteX23" fmla="*/ 1969010 w 1971297"/>
              <a:gd name="connsiteY23" fmla="*/ 1087130 h 1970826"/>
              <a:gd name="connsiteX24" fmla="*/ 1940132 w 1971297"/>
              <a:gd name="connsiteY24" fmla="*/ 1244586 h 1970826"/>
              <a:gd name="connsiteX25" fmla="*/ 1738798 w 1971297"/>
              <a:gd name="connsiteY25" fmla="*/ 1241295 h 1970826"/>
              <a:gd name="connsiteX26" fmla="*/ 1725636 w 1971297"/>
              <a:gd name="connsiteY26" fmla="*/ 1280130 h 1970826"/>
              <a:gd name="connsiteX27" fmla="*/ 1880447 w 1971297"/>
              <a:gd name="connsiteY27" fmla="*/ 1410026 h 1970826"/>
              <a:gd name="connsiteX28" fmla="*/ 1799727 w 1971297"/>
              <a:gd name="connsiteY28" fmla="*/ 1549837 h 1970826"/>
              <a:gd name="connsiteX29" fmla="*/ 1609829 w 1971297"/>
              <a:gd name="connsiteY29" fmla="*/ 1480714 h 1970826"/>
              <a:gd name="connsiteX30" fmla="*/ 1579151 w 1971297"/>
              <a:gd name="connsiteY30" fmla="*/ 1512281 h 1970826"/>
              <a:gd name="connsiteX31" fmla="*/ 1677610 w 1971297"/>
              <a:gd name="connsiteY31" fmla="*/ 1689905 h 1970826"/>
              <a:gd name="connsiteX32" fmla="*/ 1554277 w 1971297"/>
              <a:gd name="connsiteY32" fmla="*/ 1791961 h 1970826"/>
              <a:gd name="connsiteX33" fmla="*/ 1402854 w 1971297"/>
              <a:gd name="connsiteY33" fmla="*/ 1660626 h 1970826"/>
              <a:gd name="connsiteX34" fmla="*/ 1363848 w 1971297"/>
              <a:gd name="connsiteY34" fmla="*/ 1687117 h 1970826"/>
              <a:gd name="connsiteX35" fmla="*/ 1398945 w 1971297"/>
              <a:gd name="connsiteY35" fmla="*/ 1886133 h 1970826"/>
              <a:gd name="connsiteX36" fmla="*/ 1247240 w 1971297"/>
              <a:gd name="connsiteY36" fmla="*/ 1941349 h 1970826"/>
              <a:gd name="connsiteX37" fmla="*/ 1146202 w 1971297"/>
              <a:gd name="connsiteY37" fmla="*/ 1766334 h 1970826"/>
              <a:gd name="connsiteX38" fmla="*/ 1100680 w 1971297"/>
              <a:gd name="connsiteY38" fmla="*/ 1773318 h 1970826"/>
              <a:gd name="connsiteX39" fmla="*/ 1062288 w 1971297"/>
              <a:gd name="connsiteY39" fmla="*/ 1970826 h 1970826"/>
              <a:gd name="connsiteX40" fmla="*/ 902210 w 1971297"/>
              <a:gd name="connsiteY40" fmla="*/ 1969728 h 1970826"/>
              <a:gd name="connsiteX41" fmla="*/ 870884 w 1971297"/>
              <a:gd name="connsiteY41" fmla="*/ 1773359 h 1970826"/>
              <a:gd name="connsiteX42" fmla="*/ 825096 w 1971297"/>
              <a:gd name="connsiteY42" fmla="*/ 1766334 h 1970826"/>
              <a:gd name="connsiteX43" fmla="*/ 724057 w 1971297"/>
              <a:gd name="connsiteY43" fmla="*/ 1941349 h 1970826"/>
              <a:gd name="connsiteX44" fmla="*/ 572352 w 1971297"/>
              <a:gd name="connsiteY44" fmla="*/ 1886133 h 1970826"/>
              <a:gd name="connsiteX45" fmla="*/ 607450 w 1971297"/>
              <a:gd name="connsiteY45" fmla="*/ 1687117 h 1970826"/>
              <a:gd name="connsiteX46" fmla="*/ 571181 w 1971297"/>
              <a:gd name="connsiteY46" fmla="*/ 1662485 h 1970826"/>
              <a:gd name="connsiteX47" fmla="*/ 421150 w 1971297"/>
              <a:gd name="connsiteY47" fmla="*/ 1792613 h 1970826"/>
              <a:gd name="connsiteX48" fmla="*/ 297817 w 1971297"/>
              <a:gd name="connsiteY48" fmla="*/ 1690557 h 1970826"/>
              <a:gd name="connsiteX49" fmla="*/ 395006 w 1971297"/>
              <a:gd name="connsiteY49" fmla="*/ 1515223 h 1970826"/>
              <a:gd name="connsiteX50" fmla="*/ 361468 w 1971297"/>
              <a:gd name="connsiteY50" fmla="*/ 1480715 h 1970826"/>
              <a:gd name="connsiteX51" fmla="*/ 171570 w 1971297"/>
              <a:gd name="connsiteY51" fmla="*/ 1549837 h 1970826"/>
              <a:gd name="connsiteX52" fmla="*/ 90850 w 1971297"/>
              <a:gd name="connsiteY52" fmla="*/ 1410026 h 1970826"/>
              <a:gd name="connsiteX53" fmla="*/ 245661 w 1971297"/>
              <a:gd name="connsiteY53" fmla="*/ 1280131 h 1970826"/>
              <a:gd name="connsiteX54" fmla="*/ 233972 w 1971297"/>
              <a:gd name="connsiteY54" fmla="*/ 1245643 h 1970826"/>
              <a:gd name="connsiteX55" fmla="*/ 31451 w 1971297"/>
              <a:gd name="connsiteY55" fmla="*/ 1248953 h 1970826"/>
              <a:gd name="connsiteX56" fmla="*/ 2573 w 1971297"/>
              <a:gd name="connsiteY56" fmla="*/ 1091497 h 1970826"/>
              <a:gd name="connsiteX57" fmla="*/ 191133 w 1971297"/>
              <a:gd name="connsiteY57" fmla="*/ 1019115 h 1970826"/>
              <a:gd name="connsiteX58" fmla="*/ 189902 w 1971297"/>
              <a:gd name="connsiteY58" fmla="*/ 963904 h 1970826"/>
              <a:gd name="connsiteX59" fmla="*/ 0 w 1971297"/>
              <a:gd name="connsiteY59" fmla="*/ 894790 h 1970826"/>
              <a:gd name="connsiteX60" fmla="*/ 28034 w 1971297"/>
              <a:gd name="connsiteY60" fmla="*/ 735802 h 1970826"/>
              <a:gd name="connsiteX61" fmla="*/ 230121 w 1971297"/>
              <a:gd name="connsiteY61" fmla="*/ 735808 h 1970826"/>
              <a:gd name="connsiteX62" fmla="*/ 240919 w 1971297"/>
              <a:gd name="connsiteY62" fmla="*/ 708079 h 1970826"/>
              <a:gd name="connsiteX63" fmla="*/ 84936 w 1971297"/>
              <a:gd name="connsiteY63" fmla="*/ 585933 h 1970826"/>
              <a:gd name="connsiteX64" fmla="*/ 161584 w 1971297"/>
              <a:gd name="connsiteY64" fmla="*/ 445393 h 1970826"/>
              <a:gd name="connsiteX65" fmla="*/ 354366 w 1971297"/>
              <a:gd name="connsiteY65" fmla="*/ 508031 h 1970826"/>
              <a:gd name="connsiteX66" fmla="*/ 390674 w 1971297"/>
              <a:gd name="connsiteY66" fmla="*/ 457722 h 1970826"/>
              <a:gd name="connsiteX67" fmla="*/ 289626 w 1971297"/>
              <a:gd name="connsiteY67" fmla="*/ 282712 h 1970826"/>
              <a:gd name="connsiteX68" fmla="*/ 413297 w 1971297"/>
              <a:gd name="connsiteY68" fmla="*/ 178940 h 1970826"/>
              <a:gd name="connsiteX69" fmla="*/ 568101 w 1971297"/>
              <a:gd name="connsiteY69" fmla="*/ 308843 h 1970826"/>
              <a:gd name="connsiteX70" fmla="*/ 611018 w 1971297"/>
              <a:gd name="connsiteY70" fmla="*/ 285324 h 1970826"/>
              <a:gd name="connsiteX71" fmla="*/ 576674 w 1971297"/>
              <a:gd name="connsiteY71" fmla="*/ 89277 h 1970826"/>
              <a:gd name="connsiteX72" fmla="*/ 727674 w 1971297"/>
              <a:gd name="connsiteY72" fmla="*/ 36123 h 1970826"/>
              <a:gd name="connsiteX73" fmla="*/ 826689 w 1971297"/>
              <a:gd name="connsiteY73" fmla="*/ 207623 h 1970826"/>
              <a:gd name="connsiteX74" fmla="*/ 869841 w 1971297"/>
              <a:gd name="connsiteY74" fmla="*/ 199018 h 1970826"/>
              <a:gd name="connsiteX75" fmla="*/ 904928 w 1971297"/>
              <a:gd name="connsiteY75" fmla="*/ 0 h 1970826"/>
              <a:gd name="connsiteX0" fmla="*/ 904928 w 1971297"/>
              <a:gd name="connsiteY0" fmla="*/ 0 h 1970826"/>
              <a:gd name="connsiteX1" fmla="*/ 1066369 w 1971297"/>
              <a:gd name="connsiteY1" fmla="*/ 0 h 1970826"/>
              <a:gd name="connsiteX2" fmla="*/ 1101456 w 1971297"/>
              <a:gd name="connsiteY2" fmla="*/ 199018 h 1970826"/>
              <a:gd name="connsiteX3" fmla="*/ 1149113 w 1971297"/>
              <a:gd name="connsiteY3" fmla="*/ 208521 h 1970826"/>
              <a:gd name="connsiteX4" fmla="*/ 1245734 w 1971297"/>
              <a:gd name="connsiteY4" fmla="*/ 36367 h 1970826"/>
              <a:gd name="connsiteX5" fmla="*/ 1396309 w 1971297"/>
              <a:gd name="connsiteY5" fmla="*/ 90716 h 1970826"/>
              <a:gd name="connsiteX6" fmla="*/ 1364293 w 1971297"/>
              <a:gd name="connsiteY6" fmla="*/ 287523 h 1970826"/>
              <a:gd name="connsiteX7" fmla="*/ 1403197 w 1971297"/>
              <a:gd name="connsiteY7" fmla="*/ 308843 h 1970826"/>
              <a:gd name="connsiteX8" fmla="*/ 1558001 w 1971297"/>
              <a:gd name="connsiteY8" fmla="*/ 178940 h 1970826"/>
              <a:gd name="connsiteX9" fmla="*/ 1681671 w 1971297"/>
              <a:gd name="connsiteY9" fmla="*/ 282712 h 1970826"/>
              <a:gd name="connsiteX10" fmla="*/ 1580623 w 1971297"/>
              <a:gd name="connsiteY10" fmla="*/ 457722 h 1970826"/>
              <a:gd name="connsiteX11" fmla="*/ 1610608 w 1971297"/>
              <a:gd name="connsiteY11" fmla="*/ 499270 h 1970826"/>
              <a:gd name="connsiteX12" fmla="*/ 1802874 w 1971297"/>
              <a:gd name="connsiteY12" fmla="*/ 433067 h 1970826"/>
              <a:gd name="connsiteX13" fmla="*/ 1881963 w 1971297"/>
              <a:gd name="connsiteY13" fmla="*/ 572248 h 1970826"/>
              <a:gd name="connsiteX14" fmla="*/ 1726590 w 1971297"/>
              <a:gd name="connsiteY14" fmla="*/ 698353 h 1970826"/>
              <a:gd name="connsiteX15" fmla="*/ 1741176 w 1971297"/>
              <a:gd name="connsiteY15" fmla="*/ 735808 h 1970826"/>
              <a:gd name="connsiteX16" fmla="*/ 1943264 w 1971297"/>
              <a:gd name="connsiteY16" fmla="*/ 735802 h 1970826"/>
              <a:gd name="connsiteX17" fmla="*/ 1971297 w 1971297"/>
              <a:gd name="connsiteY17" fmla="*/ 894790 h 1970826"/>
              <a:gd name="connsiteX18" fmla="*/ 1781396 w 1971297"/>
              <a:gd name="connsiteY18" fmla="*/ 963903 h 1970826"/>
              <a:gd name="connsiteX19" fmla="*/ 1780264 w 1971297"/>
              <a:gd name="connsiteY19" fmla="*/ 1014677 h 1970826"/>
              <a:gd name="connsiteX20" fmla="*/ 1969010 w 1971297"/>
              <a:gd name="connsiteY20" fmla="*/ 1087130 h 1970826"/>
              <a:gd name="connsiteX21" fmla="*/ 1940132 w 1971297"/>
              <a:gd name="connsiteY21" fmla="*/ 1244586 h 1970826"/>
              <a:gd name="connsiteX22" fmla="*/ 1738798 w 1971297"/>
              <a:gd name="connsiteY22" fmla="*/ 1241295 h 1970826"/>
              <a:gd name="connsiteX23" fmla="*/ 1725636 w 1971297"/>
              <a:gd name="connsiteY23" fmla="*/ 1280130 h 1970826"/>
              <a:gd name="connsiteX24" fmla="*/ 1880447 w 1971297"/>
              <a:gd name="connsiteY24" fmla="*/ 1410026 h 1970826"/>
              <a:gd name="connsiteX25" fmla="*/ 1799727 w 1971297"/>
              <a:gd name="connsiteY25" fmla="*/ 1549837 h 1970826"/>
              <a:gd name="connsiteX26" fmla="*/ 1609829 w 1971297"/>
              <a:gd name="connsiteY26" fmla="*/ 1480714 h 1970826"/>
              <a:gd name="connsiteX27" fmla="*/ 1579151 w 1971297"/>
              <a:gd name="connsiteY27" fmla="*/ 1512281 h 1970826"/>
              <a:gd name="connsiteX28" fmla="*/ 1677610 w 1971297"/>
              <a:gd name="connsiteY28" fmla="*/ 1689905 h 1970826"/>
              <a:gd name="connsiteX29" fmla="*/ 1554277 w 1971297"/>
              <a:gd name="connsiteY29" fmla="*/ 1791961 h 1970826"/>
              <a:gd name="connsiteX30" fmla="*/ 1402854 w 1971297"/>
              <a:gd name="connsiteY30" fmla="*/ 1660626 h 1970826"/>
              <a:gd name="connsiteX31" fmla="*/ 1363848 w 1971297"/>
              <a:gd name="connsiteY31" fmla="*/ 1687117 h 1970826"/>
              <a:gd name="connsiteX32" fmla="*/ 1398945 w 1971297"/>
              <a:gd name="connsiteY32" fmla="*/ 1886133 h 1970826"/>
              <a:gd name="connsiteX33" fmla="*/ 1247240 w 1971297"/>
              <a:gd name="connsiteY33" fmla="*/ 1941349 h 1970826"/>
              <a:gd name="connsiteX34" fmla="*/ 1146202 w 1971297"/>
              <a:gd name="connsiteY34" fmla="*/ 1766334 h 1970826"/>
              <a:gd name="connsiteX35" fmla="*/ 1100680 w 1971297"/>
              <a:gd name="connsiteY35" fmla="*/ 1773318 h 1970826"/>
              <a:gd name="connsiteX36" fmla="*/ 1062288 w 1971297"/>
              <a:gd name="connsiteY36" fmla="*/ 1970826 h 1970826"/>
              <a:gd name="connsiteX37" fmla="*/ 902210 w 1971297"/>
              <a:gd name="connsiteY37" fmla="*/ 1969728 h 1970826"/>
              <a:gd name="connsiteX38" fmla="*/ 870884 w 1971297"/>
              <a:gd name="connsiteY38" fmla="*/ 1773359 h 1970826"/>
              <a:gd name="connsiteX39" fmla="*/ 825096 w 1971297"/>
              <a:gd name="connsiteY39" fmla="*/ 1766334 h 1970826"/>
              <a:gd name="connsiteX40" fmla="*/ 724057 w 1971297"/>
              <a:gd name="connsiteY40" fmla="*/ 1941349 h 1970826"/>
              <a:gd name="connsiteX41" fmla="*/ 572352 w 1971297"/>
              <a:gd name="connsiteY41" fmla="*/ 1886133 h 1970826"/>
              <a:gd name="connsiteX42" fmla="*/ 607450 w 1971297"/>
              <a:gd name="connsiteY42" fmla="*/ 1687117 h 1970826"/>
              <a:gd name="connsiteX43" fmla="*/ 571181 w 1971297"/>
              <a:gd name="connsiteY43" fmla="*/ 1662485 h 1970826"/>
              <a:gd name="connsiteX44" fmla="*/ 421150 w 1971297"/>
              <a:gd name="connsiteY44" fmla="*/ 1792613 h 1970826"/>
              <a:gd name="connsiteX45" fmla="*/ 297817 w 1971297"/>
              <a:gd name="connsiteY45" fmla="*/ 1690557 h 1970826"/>
              <a:gd name="connsiteX46" fmla="*/ 395006 w 1971297"/>
              <a:gd name="connsiteY46" fmla="*/ 1515223 h 1970826"/>
              <a:gd name="connsiteX47" fmla="*/ 361468 w 1971297"/>
              <a:gd name="connsiteY47" fmla="*/ 1480715 h 1970826"/>
              <a:gd name="connsiteX48" fmla="*/ 171570 w 1971297"/>
              <a:gd name="connsiteY48" fmla="*/ 1549837 h 1970826"/>
              <a:gd name="connsiteX49" fmla="*/ 90850 w 1971297"/>
              <a:gd name="connsiteY49" fmla="*/ 1410026 h 1970826"/>
              <a:gd name="connsiteX50" fmla="*/ 245661 w 1971297"/>
              <a:gd name="connsiteY50" fmla="*/ 1280131 h 1970826"/>
              <a:gd name="connsiteX51" fmla="*/ 233972 w 1971297"/>
              <a:gd name="connsiteY51" fmla="*/ 1245643 h 1970826"/>
              <a:gd name="connsiteX52" fmla="*/ 31451 w 1971297"/>
              <a:gd name="connsiteY52" fmla="*/ 1248953 h 1970826"/>
              <a:gd name="connsiteX53" fmla="*/ 2573 w 1971297"/>
              <a:gd name="connsiteY53" fmla="*/ 1091497 h 1970826"/>
              <a:gd name="connsiteX54" fmla="*/ 191133 w 1971297"/>
              <a:gd name="connsiteY54" fmla="*/ 1019115 h 1970826"/>
              <a:gd name="connsiteX55" fmla="*/ 189902 w 1971297"/>
              <a:gd name="connsiteY55" fmla="*/ 963904 h 1970826"/>
              <a:gd name="connsiteX56" fmla="*/ 0 w 1971297"/>
              <a:gd name="connsiteY56" fmla="*/ 894790 h 1970826"/>
              <a:gd name="connsiteX57" fmla="*/ 28034 w 1971297"/>
              <a:gd name="connsiteY57" fmla="*/ 735802 h 1970826"/>
              <a:gd name="connsiteX58" fmla="*/ 230121 w 1971297"/>
              <a:gd name="connsiteY58" fmla="*/ 735808 h 1970826"/>
              <a:gd name="connsiteX59" fmla="*/ 240919 w 1971297"/>
              <a:gd name="connsiteY59" fmla="*/ 708079 h 1970826"/>
              <a:gd name="connsiteX60" fmla="*/ 84936 w 1971297"/>
              <a:gd name="connsiteY60" fmla="*/ 585933 h 1970826"/>
              <a:gd name="connsiteX61" fmla="*/ 161584 w 1971297"/>
              <a:gd name="connsiteY61" fmla="*/ 445393 h 1970826"/>
              <a:gd name="connsiteX62" fmla="*/ 354366 w 1971297"/>
              <a:gd name="connsiteY62" fmla="*/ 508031 h 1970826"/>
              <a:gd name="connsiteX63" fmla="*/ 390674 w 1971297"/>
              <a:gd name="connsiteY63" fmla="*/ 457722 h 1970826"/>
              <a:gd name="connsiteX64" fmla="*/ 289626 w 1971297"/>
              <a:gd name="connsiteY64" fmla="*/ 282712 h 1970826"/>
              <a:gd name="connsiteX65" fmla="*/ 413297 w 1971297"/>
              <a:gd name="connsiteY65" fmla="*/ 178940 h 1970826"/>
              <a:gd name="connsiteX66" fmla="*/ 568101 w 1971297"/>
              <a:gd name="connsiteY66" fmla="*/ 308843 h 1970826"/>
              <a:gd name="connsiteX67" fmla="*/ 611018 w 1971297"/>
              <a:gd name="connsiteY67" fmla="*/ 285324 h 1970826"/>
              <a:gd name="connsiteX68" fmla="*/ 576674 w 1971297"/>
              <a:gd name="connsiteY68" fmla="*/ 89277 h 1970826"/>
              <a:gd name="connsiteX69" fmla="*/ 727674 w 1971297"/>
              <a:gd name="connsiteY69" fmla="*/ 36123 h 1970826"/>
              <a:gd name="connsiteX70" fmla="*/ 826689 w 1971297"/>
              <a:gd name="connsiteY70" fmla="*/ 207623 h 1970826"/>
              <a:gd name="connsiteX71" fmla="*/ 869841 w 1971297"/>
              <a:gd name="connsiteY71" fmla="*/ 199018 h 1970826"/>
              <a:gd name="connsiteX72" fmla="*/ 904928 w 1971297"/>
              <a:gd name="connsiteY72" fmla="*/ 0 h 197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971297" h="1970826">
                <a:moveTo>
                  <a:pt x="904928" y="0"/>
                </a:moveTo>
                <a:lnTo>
                  <a:pt x="1066369" y="0"/>
                </a:lnTo>
                <a:lnTo>
                  <a:pt x="1101456" y="199018"/>
                </a:lnTo>
                <a:lnTo>
                  <a:pt x="1149113" y="208521"/>
                </a:lnTo>
                <a:lnTo>
                  <a:pt x="1245734" y="36367"/>
                </a:lnTo>
                <a:lnTo>
                  <a:pt x="1396309" y="90716"/>
                </a:lnTo>
                <a:lnTo>
                  <a:pt x="1364293" y="287523"/>
                </a:lnTo>
                <a:lnTo>
                  <a:pt x="1403197" y="308843"/>
                </a:lnTo>
                <a:lnTo>
                  <a:pt x="1558001" y="178940"/>
                </a:lnTo>
                <a:lnTo>
                  <a:pt x="1681671" y="282712"/>
                </a:lnTo>
                <a:lnTo>
                  <a:pt x="1580623" y="457722"/>
                </a:lnTo>
                <a:lnTo>
                  <a:pt x="1610608" y="499270"/>
                </a:lnTo>
                <a:lnTo>
                  <a:pt x="1802874" y="433067"/>
                </a:lnTo>
                <a:lnTo>
                  <a:pt x="1881963" y="572248"/>
                </a:lnTo>
                <a:lnTo>
                  <a:pt x="1726590" y="698353"/>
                </a:lnTo>
                <a:lnTo>
                  <a:pt x="1741176" y="735808"/>
                </a:lnTo>
                <a:lnTo>
                  <a:pt x="1943264" y="735802"/>
                </a:lnTo>
                <a:lnTo>
                  <a:pt x="1971297" y="894790"/>
                </a:lnTo>
                <a:lnTo>
                  <a:pt x="1781396" y="963903"/>
                </a:lnTo>
                <a:cubicBezTo>
                  <a:pt x="1781019" y="980828"/>
                  <a:pt x="1780641" y="997752"/>
                  <a:pt x="1780264" y="1014677"/>
                </a:cubicBezTo>
                <a:lnTo>
                  <a:pt x="1969010" y="1087130"/>
                </a:lnTo>
                <a:lnTo>
                  <a:pt x="1940132" y="1244586"/>
                </a:lnTo>
                <a:lnTo>
                  <a:pt x="1738798" y="1241295"/>
                </a:lnTo>
                <a:lnTo>
                  <a:pt x="1725636" y="1280130"/>
                </a:lnTo>
                <a:lnTo>
                  <a:pt x="1880447" y="1410026"/>
                </a:lnTo>
                <a:lnTo>
                  <a:pt x="1799727" y="1549837"/>
                </a:lnTo>
                <a:lnTo>
                  <a:pt x="1609829" y="1480714"/>
                </a:lnTo>
                <a:lnTo>
                  <a:pt x="1579151" y="1512281"/>
                </a:lnTo>
                <a:lnTo>
                  <a:pt x="1677610" y="1689905"/>
                </a:lnTo>
                <a:lnTo>
                  <a:pt x="1554277" y="1791961"/>
                </a:lnTo>
                <a:lnTo>
                  <a:pt x="1402854" y="1660626"/>
                </a:lnTo>
                <a:lnTo>
                  <a:pt x="1363848" y="1687117"/>
                </a:lnTo>
                <a:lnTo>
                  <a:pt x="1398945" y="1886133"/>
                </a:lnTo>
                <a:lnTo>
                  <a:pt x="1247240" y="1941349"/>
                </a:lnTo>
                <a:lnTo>
                  <a:pt x="1146202" y="1766334"/>
                </a:lnTo>
                <a:lnTo>
                  <a:pt x="1100680" y="1773318"/>
                </a:lnTo>
                <a:lnTo>
                  <a:pt x="1062288" y="1970826"/>
                </a:lnTo>
                <a:lnTo>
                  <a:pt x="902210" y="1969728"/>
                </a:lnTo>
                <a:lnTo>
                  <a:pt x="870884" y="1773359"/>
                </a:lnTo>
                <a:lnTo>
                  <a:pt x="825096" y="1766334"/>
                </a:lnTo>
                <a:lnTo>
                  <a:pt x="724057" y="1941349"/>
                </a:lnTo>
                <a:lnTo>
                  <a:pt x="572352" y="1886133"/>
                </a:lnTo>
                <a:lnTo>
                  <a:pt x="607450" y="1687117"/>
                </a:lnTo>
                <a:lnTo>
                  <a:pt x="571181" y="1662485"/>
                </a:lnTo>
                <a:lnTo>
                  <a:pt x="421150" y="1792613"/>
                </a:lnTo>
                <a:lnTo>
                  <a:pt x="297817" y="1690557"/>
                </a:lnTo>
                <a:lnTo>
                  <a:pt x="395006" y="1515223"/>
                </a:lnTo>
                <a:lnTo>
                  <a:pt x="361468" y="1480715"/>
                </a:lnTo>
                <a:lnTo>
                  <a:pt x="171570" y="1549837"/>
                </a:lnTo>
                <a:lnTo>
                  <a:pt x="90850" y="1410026"/>
                </a:lnTo>
                <a:lnTo>
                  <a:pt x="245661" y="1280131"/>
                </a:lnTo>
                <a:lnTo>
                  <a:pt x="233972" y="1245643"/>
                </a:lnTo>
                <a:lnTo>
                  <a:pt x="31451" y="1248953"/>
                </a:lnTo>
                <a:lnTo>
                  <a:pt x="2573" y="1091497"/>
                </a:lnTo>
                <a:lnTo>
                  <a:pt x="191133" y="1019115"/>
                </a:lnTo>
                <a:cubicBezTo>
                  <a:pt x="190723" y="1000711"/>
                  <a:pt x="190312" y="982308"/>
                  <a:pt x="189902" y="963904"/>
                </a:cubicBezTo>
                <a:lnTo>
                  <a:pt x="0" y="894790"/>
                </a:lnTo>
                <a:lnTo>
                  <a:pt x="28034" y="735802"/>
                </a:lnTo>
                <a:lnTo>
                  <a:pt x="230121" y="735808"/>
                </a:lnTo>
                <a:lnTo>
                  <a:pt x="240919" y="708079"/>
                </a:lnTo>
                <a:lnTo>
                  <a:pt x="84936" y="585933"/>
                </a:lnTo>
                <a:lnTo>
                  <a:pt x="161584" y="445393"/>
                </a:lnTo>
                <a:lnTo>
                  <a:pt x="354366" y="508031"/>
                </a:lnTo>
                <a:lnTo>
                  <a:pt x="390674" y="457722"/>
                </a:lnTo>
                <a:lnTo>
                  <a:pt x="289626" y="282712"/>
                </a:lnTo>
                <a:lnTo>
                  <a:pt x="413297" y="178940"/>
                </a:lnTo>
                <a:lnTo>
                  <a:pt x="568101" y="308843"/>
                </a:lnTo>
                <a:lnTo>
                  <a:pt x="611018" y="285324"/>
                </a:lnTo>
                <a:lnTo>
                  <a:pt x="576674" y="89277"/>
                </a:lnTo>
                <a:lnTo>
                  <a:pt x="727674" y="36123"/>
                </a:lnTo>
                <a:lnTo>
                  <a:pt x="826689" y="207623"/>
                </a:lnTo>
                <a:lnTo>
                  <a:pt x="869841" y="199018"/>
                </a:lnTo>
                <a:lnTo>
                  <a:pt x="904928" y="0"/>
                </a:lnTo>
                <a:close/>
              </a:path>
            </a:pathLst>
          </a:custGeom>
          <a:solidFill>
            <a:schemeClr val="accent1">
              <a:lumMod val="20000"/>
              <a:lumOff val="80000"/>
            </a:scheme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70287" tIns="769233" rIns="670287" bIns="821356" numCol="1" spcCol="1270" anchor="ctr" anchorCtr="0">
            <a:noAutofit/>
          </a:bodyPr>
          <a:lstStyle/>
          <a:p>
            <a:pPr algn="ctr" defTabSz="2489138">
              <a:lnSpc>
                <a:spcPct val="90000"/>
              </a:lnSpc>
              <a:spcBef>
                <a:spcPct val="0"/>
              </a:spcBef>
              <a:spcAft>
                <a:spcPct val="35000"/>
              </a:spcAft>
            </a:pPr>
            <a:endParaRPr lang="en-US" sz="5600" dirty="0">
              <a:solidFill>
                <a:prstClr val="white"/>
              </a:solidFill>
              <a:latin typeface="Arial" panose="020B0604020202020204"/>
            </a:endParaRPr>
          </a:p>
        </p:txBody>
      </p:sp>
      <p:sp>
        <p:nvSpPr>
          <p:cNvPr id="29" name="Freeform 28">
            <a:extLst>
              <a:ext uri="{FF2B5EF4-FFF2-40B4-BE49-F238E27FC236}">
                <a16:creationId xmlns:a16="http://schemas.microsoft.com/office/drawing/2014/main" id="{1BD75E91-4400-81CA-E0BA-B6211334AF7E}"/>
              </a:ext>
            </a:extLst>
          </p:cNvPr>
          <p:cNvSpPr>
            <a:spLocks noChangeAspect="1"/>
          </p:cNvSpPr>
          <p:nvPr/>
        </p:nvSpPr>
        <p:spPr>
          <a:xfrm flipH="1">
            <a:off x="9539246" y="2494999"/>
            <a:ext cx="256276" cy="256276"/>
          </a:xfrm>
          <a:custGeom>
            <a:avLst/>
            <a:gdLst>
              <a:gd name="connsiteX0" fmla="*/ 212598 w 1971297"/>
              <a:gd name="connsiteY0" fmla="*/ 1172544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98126 w 1971297"/>
              <a:gd name="connsiteY6" fmla="*/ 1096370 h 1970826"/>
              <a:gd name="connsiteX7" fmla="*/ 199057 w 1971297"/>
              <a:gd name="connsiteY7" fmla="*/ 1110557 h 1970826"/>
              <a:gd name="connsiteX8" fmla="*/ 200997 w 1971297"/>
              <a:gd name="connsiteY8" fmla="*/ 1119440 h 1970826"/>
              <a:gd name="connsiteX9" fmla="*/ 1658502 w 1971297"/>
              <a:gd name="connsiteY9" fmla="*/ 565633 h 1970826"/>
              <a:gd name="connsiteX10" fmla="*/ 1664864 w 1971297"/>
              <a:gd name="connsiteY10" fmla="*/ 574448 h 1970826"/>
              <a:gd name="connsiteX11" fmla="*/ 1664611 w 1971297"/>
              <a:gd name="connsiteY11" fmla="*/ 573966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0" fmla="*/ 217129 w 1971297"/>
              <a:gd name="connsiteY0" fmla="*/ 1192320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773168 w 1971297"/>
              <a:gd name="connsiteY6" fmla="*/ 1096396 h 1970826"/>
              <a:gd name="connsiteX7" fmla="*/ 198126 w 1971297"/>
              <a:gd name="connsiteY7" fmla="*/ 1096370 h 1970826"/>
              <a:gd name="connsiteX8" fmla="*/ 199057 w 1971297"/>
              <a:gd name="connsiteY8" fmla="*/ 1110557 h 1970826"/>
              <a:gd name="connsiteX9" fmla="*/ 200997 w 1971297"/>
              <a:gd name="connsiteY9" fmla="*/ 1119440 h 1970826"/>
              <a:gd name="connsiteX10" fmla="*/ 198126 w 1971297"/>
              <a:gd name="connsiteY10" fmla="*/ 1096370 h 1970826"/>
              <a:gd name="connsiteX11" fmla="*/ 1658502 w 1971297"/>
              <a:gd name="connsiteY11" fmla="*/ 565633 h 1970826"/>
              <a:gd name="connsiteX12" fmla="*/ 1664864 w 1971297"/>
              <a:gd name="connsiteY12" fmla="*/ 574448 h 1970826"/>
              <a:gd name="connsiteX13" fmla="*/ 1664611 w 1971297"/>
              <a:gd name="connsiteY13" fmla="*/ 573966 h 1970826"/>
              <a:gd name="connsiteX14" fmla="*/ 1658502 w 1971297"/>
              <a:gd name="connsiteY14" fmla="*/ 565633 h 1970826"/>
              <a:gd name="connsiteX15" fmla="*/ 985649 w 1971297"/>
              <a:gd name="connsiteY15" fmla="*/ 323553 h 1970826"/>
              <a:gd name="connsiteX16" fmla="*/ 322581 w 1971297"/>
              <a:gd name="connsiteY16" fmla="*/ 986621 h 1970826"/>
              <a:gd name="connsiteX17" fmla="*/ 985649 w 1971297"/>
              <a:gd name="connsiteY17" fmla="*/ 1649689 h 1970826"/>
              <a:gd name="connsiteX18" fmla="*/ 1648717 w 1971297"/>
              <a:gd name="connsiteY18" fmla="*/ 986621 h 1970826"/>
              <a:gd name="connsiteX19" fmla="*/ 985649 w 1971297"/>
              <a:gd name="connsiteY19" fmla="*/ 323553 h 1970826"/>
              <a:gd name="connsiteX20" fmla="*/ 904928 w 1971297"/>
              <a:gd name="connsiteY20" fmla="*/ 0 h 1970826"/>
              <a:gd name="connsiteX21" fmla="*/ 1066369 w 1971297"/>
              <a:gd name="connsiteY21" fmla="*/ 0 h 1970826"/>
              <a:gd name="connsiteX22" fmla="*/ 1101456 w 1971297"/>
              <a:gd name="connsiteY22" fmla="*/ 199018 h 1970826"/>
              <a:gd name="connsiteX23" fmla="*/ 1149113 w 1971297"/>
              <a:gd name="connsiteY23" fmla="*/ 208521 h 1970826"/>
              <a:gd name="connsiteX24" fmla="*/ 1245734 w 1971297"/>
              <a:gd name="connsiteY24" fmla="*/ 36367 h 1970826"/>
              <a:gd name="connsiteX25" fmla="*/ 1396309 w 1971297"/>
              <a:gd name="connsiteY25" fmla="*/ 90716 h 1970826"/>
              <a:gd name="connsiteX26" fmla="*/ 1364293 w 1971297"/>
              <a:gd name="connsiteY26" fmla="*/ 287523 h 1970826"/>
              <a:gd name="connsiteX27" fmla="*/ 1403197 w 1971297"/>
              <a:gd name="connsiteY27" fmla="*/ 308843 h 1970826"/>
              <a:gd name="connsiteX28" fmla="*/ 1558001 w 1971297"/>
              <a:gd name="connsiteY28" fmla="*/ 178940 h 1970826"/>
              <a:gd name="connsiteX29" fmla="*/ 1681671 w 1971297"/>
              <a:gd name="connsiteY29" fmla="*/ 282712 h 1970826"/>
              <a:gd name="connsiteX30" fmla="*/ 1580623 w 1971297"/>
              <a:gd name="connsiteY30" fmla="*/ 457722 h 1970826"/>
              <a:gd name="connsiteX31" fmla="*/ 1610608 w 1971297"/>
              <a:gd name="connsiteY31" fmla="*/ 499270 h 1970826"/>
              <a:gd name="connsiteX32" fmla="*/ 1802874 w 1971297"/>
              <a:gd name="connsiteY32" fmla="*/ 433067 h 1970826"/>
              <a:gd name="connsiteX33" fmla="*/ 1881963 w 1971297"/>
              <a:gd name="connsiteY33" fmla="*/ 572248 h 1970826"/>
              <a:gd name="connsiteX34" fmla="*/ 1726590 w 1971297"/>
              <a:gd name="connsiteY34" fmla="*/ 698353 h 1970826"/>
              <a:gd name="connsiteX35" fmla="*/ 1741176 w 1971297"/>
              <a:gd name="connsiteY35" fmla="*/ 735808 h 1970826"/>
              <a:gd name="connsiteX36" fmla="*/ 1943264 w 1971297"/>
              <a:gd name="connsiteY36" fmla="*/ 735802 h 1970826"/>
              <a:gd name="connsiteX37" fmla="*/ 1971297 w 1971297"/>
              <a:gd name="connsiteY37" fmla="*/ 894790 h 1970826"/>
              <a:gd name="connsiteX38" fmla="*/ 1781396 w 1971297"/>
              <a:gd name="connsiteY38" fmla="*/ 963903 h 1970826"/>
              <a:gd name="connsiteX39" fmla="*/ 1780264 w 1971297"/>
              <a:gd name="connsiteY39" fmla="*/ 1014677 h 1970826"/>
              <a:gd name="connsiteX40" fmla="*/ 1969010 w 1971297"/>
              <a:gd name="connsiteY40" fmla="*/ 1087130 h 1970826"/>
              <a:gd name="connsiteX41" fmla="*/ 1940132 w 1971297"/>
              <a:gd name="connsiteY41" fmla="*/ 1244586 h 1970826"/>
              <a:gd name="connsiteX42" fmla="*/ 1738798 w 1971297"/>
              <a:gd name="connsiteY42" fmla="*/ 1241295 h 1970826"/>
              <a:gd name="connsiteX43" fmla="*/ 1725636 w 1971297"/>
              <a:gd name="connsiteY43" fmla="*/ 1280130 h 1970826"/>
              <a:gd name="connsiteX44" fmla="*/ 1880447 w 1971297"/>
              <a:gd name="connsiteY44" fmla="*/ 1410026 h 1970826"/>
              <a:gd name="connsiteX45" fmla="*/ 1799727 w 1971297"/>
              <a:gd name="connsiteY45" fmla="*/ 1549837 h 1970826"/>
              <a:gd name="connsiteX46" fmla="*/ 1609829 w 1971297"/>
              <a:gd name="connsiteY46" fmla="*/ 1480714 h 1970826"/>
              <a:gd name="connsiteX47" fmla="*/ 1579151 w 1971297"/>
              <a:gd name="connsiteY47" fmla="*/ 1512281 h 1970826"/>
              <a:gd name="connsiteX48" fmla="*/ 1677610 w 1971297"/>
              <a:gd name="connsiteY48" fmla="*/ 1689905 h 1970826"/>
              <a:gd name="connsiteX49" fmla="*/ 1554277 w 1971297"/>
              <a:gd name="connsiteY49" fmla="*/ 1791961 h 1970826"/>
              <a:gd name="connsiteX50" fmla="*/ 1402854 w 1971297"/>
              <a:gd name="connsiteY50" fmla="*/ 1660626 h 1970826"/>
              <a:gd name="connsiteX51" fmla="*/ 1363848 w 1971297"/>
              <a:gd name="connsiteY51" fmla="*/ 1687117 h 1970826"/>
              <a:gd name="connsiteX52" fmla="*/ 1398945 w 1971297"/>
              <a:gd name="connsiteY52" fmla="*/ 1886133 h 1970826"/>
              <a:gd name="connsiteX53" fmla="*/ 1247240 w 1971297"/>
              <a:gd name="connsiteY53" fmla="*/ 1941349 h 1970826"/>
              <a:gd name="connsiteX54" fmla="*/ 1146202 w 1971297"/>
              <a:gd name="connsiteY54" fmla="*/ 1766334 h 1970826"/>
              <a:gd name="connsiteX55" fmla="*/ 1100680 w 1971297"/>
              <a:gd name="connsiteY55" fmla="*/ 1773318 h 1970826"/>
              <a:gd name="connsiteX56" fmla="*/ 1062288 w 1971297"/>
              <a:gd name="connsiteY56" fmla="*/ 1970826 h 1970826"/>
              <a:gd name="connsiteX57" fmla="*/ 902210 w 1971297"/>
              <a:gd name="connsiteY57" fmla="*/ 1969728 h 1970826"/>
              <a:gd name="connsiteX58" fmla="*/ 870884 w 1971297"/>
              <a:gd name="connsiteY58" fmla="*/ 1773359 h 1970826"/>
              <a:gd name="connsiteX59" fmla="*/ 825096 w 1971297"/>
              <a:gd name="connsiteY59" fmla="*/ 1766334 h 1970826"/>
              <a:gd name="connsiteX60" fmla="*/ 724057 w 1971297"/>
              <a:gd name="connsiteY60" fmla="*/ 1941349 h 1970826"/>
              <a:gd name="connsiteX61" fmla="*/ 572352 w 1971297"/>
              <a:gd name="connsiteY61" fmla="*/ 1886133 h 1970826"/>
              <a:gd name="connsiteX62" fmla="*/ 607450 w 1971297"/>
              <a:gd name="connsiteY62" fmla="*/ 1687117 h 1970826"/>
              <a:gd name="connsiteX63" fmla="*/ 571181 w 1971297"/>
              <a:gd name="connsiteY63" fmla="*/ 1662485 h 1970826"/>
              <a:gd name="connsiteX64" fmla="*/ 421150 w 1971297"/>
              <a:gd name="connsiteY64" fmla="*/ 1792613 h 1970826"/>
              <a:gd name="connsiteX65" fmla="*/ 297817 w 1971297"/>
              <a:gd name="connsiteY65" fmla="*/ 1690557 h 1970826"/>
              <a:gd name="connsiteX66" fmla="*/ 395006 w 1971297"/>
              <a:gd name="connsiteY66" fmla="*/ 1515223 h 1970826"/>
              <a:gd name="connsiteX67" fmla="*/ 361468 w 1971297"/>
              <a:gd name="connsiteY67" fmla="*/ 1480715 h 1970826"/>
              <a:gd name="connsiteX68" fmla="*/ 171570 w 1971297"/>
              <a:gd name="connsiteY68" fmla="*/ 1549837 h 1970826"/>
              <a:gd name="connsiteX69" fmla="*/ 90850 w 1971297"/>
              <a:gd name="connsiteY69" fmla="*/ 1410026 h 1970826"/>
              <a:gd name="connsiteX70" fmla="*/ 245661 w 1971297"/>
              <a:gd name="connsiteY70" fmla="*/ 1280131 h 1970826"/>
              <a:gd name="connsiteX71" fmla="*/ 233972 w 1971297"/>
              <a:gd name="connsiteY71" fmla="*/ 1245643 h 1970826"/>
              <a:gd name="connsiteX72" fmla="*/ 31451 w 1971297"/>
              <a:gd name="connsiteY72" fmla="*/ 1248953 h 1970826"/>
              <a:gd name="connsiteX73" fmla="*/ 2573 w 1971297"/>
              <a:gd name="connsiteY73" fmla="*/ 1091497 h 1970826"/>
              <a:gd name="connsiteX74" fmla="*/ 191133 w 1971297"/>
              <a:gd name="connsiteY74" fmla="*/ 1019115 h 1970826"/>
              <a:gd name="connsiteX75" fmla="*/ 189902 w 1971297"/>
              <a:gd name="connsiteY75" fmla="*/ 963904 h 1970826"/>
              <a:gd name="connsiteX76" fmla="*/ 0 w 1971297"/>
              <a:gd name="connsiteY76" fmla="*/ 894790 h 1970826"/>
              <a:gd name="connsiteX77" fmla="*/ 28034 w 1971297"/>
              <a:gd name="connsiteY77" fmla="*/ 735802 h 1970826"/>
              <a:gd name="connsiteX78" fmla="*/ 230121 w 1971297"/>
              <a:gd name="connsiteY78" fmla="*/ 735808 h 1970826"/>
              <a:gd name="connsiteX79" fmla="*/ 240919 w 1971297"/>
              <a:gd name="connsiteY79" fmla="*/ 708079 h 1970826"/>
              <a:gd name="connsiteX80" fmla="*/ 84936 w 1971297"/>
              <a:gd name="connsiteY80" fmla="*/ 585933 h 1970826"/>
              <a:gd name="connsiteX81" fmla="*/ 161584 w 1971297"/>
              <a:gd name="connsiteY81" fmla="*/ 445393 h 1970826"/>
              <a:gd name="connsiteX82" fmla="*/ 354366 w 1971297"/>
              <a:gd name="connsiteY82" fmla="*/ 508031 h 1970826"/>
              <a:gd name="connsiteX83" fmla="*/ 390674 w 1971297"/>
              <a:gd name="connsiteY83" fmla="*/ 457722 h 1970826"/>
              <a:gd name="connsiteX84" fmla="*/ 289626 w 1971297"/>
              <a:gd name="connsiteY84" fmla="*/ 282712 h 1970826"/>
              <a:gd name="connsiteX85" fmla="*/ 413297 w 1971297"/>
              <a:gd name="connsiteY85" fmla="*/ 178940 h 1970826"/>
              <a:gd name="connsiteX86" fmla="*/ 568101 w 1971297"/>
              <a:gd name="connsiteY86" fmla="*/ 308843 h 1970826"/>
              <a:gd name="connsiteX87" fmla="*/ 611018 w 1971297"/>
              <a:gd name="connsiteY87" fmla="*/ 285324 h 1970826"/>
              <a:gd name="connsiteX88" fmla="*/ 576674 w 1971297"/>
              <a:gd name="connsiteY88" fmla="*/ 89277 h 1970826"/>
              <a:gd name="connsiteX89" fmla="*/ 727674 w 1971297"/>
              <a:gd name="connsiteY89" fmla="*/ 36123 h 1970826"/>
              <a:gd name="connsiteX90" fmla="*/ 826689 w 1971297"/>
              <a:gd name="connsiteY90" fmla="*/ 207623 h 1970826"/>
              <a:gd name="connsiteX91" fmla="*/ 869841 w 1971297"/>
              <a:gd name="connsiteY91" fmla="*/ 199018 h 1970826"/>
              <a:gd name="connsiteX92" fmla="*/ 904928 w 1971297"/>
              <a:gd name="connsiteY92" fmla="*/ 0 h 1970826"/>
              <a:gd name="connsiteX0" fmla="*/ 1773168 w 1971297"/>
              <a:gd name="connsiteY0" fmla="*/ 1096396 h 1970826"/>
              <a:gd name="connsiteX1" fmla="*/ 1771186 w 1971297"/>
              <a:gd name="connsiteY1" fmla="*/ 1112322 h 1970826"/>
              <a:gd name="connsiteX2" fmla="*/ 1772526 w 1971297"/>
              <a:gd name="connsiteY2" fmla="*/ 1106190 h 1970826"/>
              <a:gd name="connsiteX3" fmla="*/ 1773168 w 1971297"/>
              <a:gd name="connsiteY3" fmla="*/ 1096396 h 1970826"/>
              <a:gd name="connsiteX4" fmla="*/ 198126 w 1971297"/>
              <a:gd name="connsiteY4" fmla="*/ 1096370 h 1970826"/>
              <a:gd name="connsiteX5" fmla="*/ 199057 w 1971297"/>
              <a:gd name="connsiteY5" fmla="*/ 1110557 h 1970826"/>
              <a:gd name="connsiteX6" fmla="*/ 200997 w 1971297"/>
              <a:gd name="connsiteY6" fmla="*/ 1119440 h 1970826"/>
              <a:gd name="connsiteX7" fmla="*/ 198126 w 1971297"/>
              <a:gd name="connsiteY7" fmla="*/ 1096370 h 1970826"/>
              <a:gd name="connsiteX8" fmla="*/ 1658502 w 1971297"/>
              <a:gd name="connsiteY8" fmla="*/ 565633 h 1970826"/>
              <a:gd name="connsiteX9" fmla="*/ 1664864 w 1971297"/>
              <a:gd name="connsiteY9" fmla="*/ 574448 h 1970826"/>
              <a:gd name="connsiteX10" fmla="*/ 1664611 w 1971297"/>
              <a:gd name="connsiteY10" fmla="*/ 573966 h 1970826"/>
              <a:gd name="connsiteX11" fmla="*/ 1658502 w 1971297"/>
              <a:gd name="connsiteY11" fmla="*/ 565633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89" fmla="*/ 904928 w 1971297"/>
              <a:gd name="connsiteY89" fmla="*/ 0 h 1970826"/>
              <a:gd name="connsiteX0" fmla="*/ 1772526 w 1971297"/>
              <a:gd name="connsiteY0" fmla="*/ 1106190 h 1970826"/>
              <a:gd name="connsiteX1" fmla="*/ 1771186 w 1971297"/>
              <a:gd name="connsiteY1" fmla="*/ 1112322 h 1970826"/>
              <a:gd name="connsiteX2" fmla="*/ 1772526 w 1971297"/>
              <a:gd name="connsiteY2" fmla="*/ 1106190 h 1970826"/>
              <a:gd name="connsiteX3" fmla="*/ 198126 w 1971297"/>
              <a:gd name="connsiteY3" fmla="*/ 1096370 h 1970826"/>
              <a:gd name="connsiteX4" fmla="*/ 199057 w 1971297"/>
              <a:gd name="connsiteY4" fmla="*/ 1110557 h 1970826"/>
              <a:gd name="connsiteX5" fmla="*/ 200997 w 1971297"/>
              <a:gd name="connsiteY5" fmla="*/ 1119440 h 1970826"/>
              <a:gd name="connsiteX6" fmla="*/ 198126 w 1971297"/>
              <a:gd name="connsiteY6" fmla="*/ 1096370 h 1970826"/>
              <a:gd name="connsiteX7" fmla="*/ 1658502 w 1971297"/>
              <a:gd name="connsiteY7" fmla="*/ 565633 h 1970826"/>
              <a:gd name="connsiteX8" fmla="*/ 1664864 w 1971297"/>
              <a:gd name="connsiteY8" fmla="*/ 574448 h 1970826"/>
              <a:gd name="connsiteX9" fmla="*/ 1664611 w 1971297"/>
              <a:gd name="connsiteY9" fmla="*/ 573966 h 1970826"/>
              <a:gd name="connsiteX10" fmla="*/ 1658502 w 1971297"/>
              <a:gd name="connsiteY10" fmla="*/ 565633 h 1970826"/>
              <a:gd name="connsiteX11" fmla="*/ 985649 w 1971297"/>
              <a:gd name="connsiteY11" fmla="*/ 323553 h 1970826"/>
              <a:gd name="connsiteX12" fmla="*/ 322581 w 1971297"/>
              <a:gd name="connsiteY12" fmla="*/ 986621 h 1970826"/>
              <a:gd name="connsiteX13" fmla="*/ 985649 w 1971297"/>
              <a:gd name="connsiteY13" fmla="*/ 1649689 h 1970826"/>
              <a:gd name="connsiteX14" fmla="*/ 1648717 w 1971297"/>
              <a:gd name="connsiteY14" fmla="*/ 986621 h 1970826"/>
              <a:gd name="connsiteX15" fmla="*/ 985649 w 1971297"/>
              <a:gd name="connsiteY15" fmla="*/ 323553 h 1970826"/>
              <a:gd name="connsiteX16" fmla="*/ 904928 w 1971297"/>
              <a:gd name="connsiteY16" fmla="*/ 0 h 1970826"/>
              <a:gd name="connsiteX17" fmla="*/ 1066369 w 1971297"/>
              <a:gd name="connsiteY17" fmla="*/ 0 h 1970826"/>
              <a:gd name="connsiteX18" fmla="*/ 1101456 w 1971297"/>
              <a:gd name="connsiteY18" fmla="*/ 199018 h 1970826"/>
              <a:gd name="connsiteX19" fmla="*/ 1149113 w 1971297"/>
              <a:gd name="connsiteY19" fmla="*/ 208521 h 1970826"/>
              <a:gd name="connsiteX20" fmla="*/ 1245734 w 1971297"/>
              <a:gd name="connsiteY20" fmla="*/ 36367 h 1970826"/>
              <a:gd name="connsiteX21" fmla="*/ 1396309 w 1971297"/>
              <a:gd name="connsiteY21" fmla="*/ 90716 h 1970826"/>
              <a:gd name="connsiteX22" fmla="*/ 1364293 w 1971297"/>
              <a:gd name="connsiteY22" fmla="*/ 287523 h 1970826"/>
              <a:gd name="connsiteX23" fmla="*/ 1403197 w 1971297"/>
              <a:gd name="connsiteY23" fmla="*/ 308843 h 1970826"/>
              <a:gd name="connsiteX24" fmla="*/ 1558001 w 1971297"/>
              <a:gd name="connsiteY24" fmla="*/ 178940 h 1970826"/>
              <a:gd name="connsiteX25" fmla="*/ 1681671 w 1971297"/>
              <a:gd name="connsiteY25" fmla="*/ 282712 h 1970826"/>
              <a:gd name="connsiteX26" fmla="*/ 1580623 w 1971297"/>
              <a:gd name="connsiteY26" fmla="*/ 457722 h 1970826"/>
              <a:gd name="connsiteX27" fmla="*/ 1610608 w 1971297"/>
              <a:gd name="connsiteY27" fmla="*/ 499270 h 1970826"/>
              <a:gd name="connsiteX28" fmla="*/ 1802874 w 1971297"/>
              <a:gd name="connsiteY28" fmla="*/ 433067 h 1970826"/>
              <a:gd name="connsiteX29" fmla="*/ 1881963 w 1971297"/>
              <a:gd name="connsiteY29" fmla="*/ 572248 h 1970826"/>
              <a:gd name="connsiteX30" fmla="*/ 1726590 w 1971297"/>
              <a:gd name="connsiteY30" fmla="*/ 698353 h 1970826"/>
              <a:gd name="connsiteX31" fmla="*/ 1741176 w 1971297"/>
              <a:gd name="connsiteY31" fmla="*/ 735808 h 1970826"/>
              <a:gd name="connsiteX32" fmla="*/ 1943264 w 1971297"/>
              <a:gd name="connsiteY32" fmla="*/ 735802 h 1970826"/>
              <a:gd name="connsiteX33" fmla="*/ 1971297 w 1971297"/>
              <a:gd name="connsiteY33" fmla="*/ 894790 h 1970826"/>
              <a:gd name="connsiteX34" fmla="*/ 1781396 w 1971297"/>
              <a:gd name="connsiteY34" fmla="*/ 963903 h 1970826"/>
              <a:gd name="connsiteX35" fmla="*/ 1780264 w 1971297"/>
              <a:gd name="connsiteY35" fmla="*/ 1014677 h 1970826"/>
              <a:gd name="connsiteX36" fmla="*/ 1969010 w 1971297"/>
              <a:gd name="connsiteY36" fmla="*/ 1087130 h 1970826"/>
              <a:gd name="connsiteX37" fmla="*/ 1940132 w 1971297"/>
              <a:gd name="connsiteY37" fmla="*/ 1244586 h 1970826"/>
              <a:gd name="connsiteX38" fmla="*/ 1738798 w 1971297"/>
              <a:gd name="connsiteY38" fmla="*/ 1241295 h 1970826"/>
              <a:gd name="connsiteX39" fmla="*/ 1725636 w 1971297"/>
              <a:gd name="connsiteY39" fmla="*/ 1280130 h 1970826"/>
              <a:gd name="connsiteX40" fmla="*/ 1880447 w 1971297"/>
              <a:gd name="connsiteY40" fmla="*/ 1410026 h 1970826"/>
              <a:gd name="connsiteX41" fmla="*/ 1799727 w 1971297"/>
              <a:gd name="connsiteY41" fmla="*/ 1549837 h 1970826"/>
              <a:gd name="connsiteX42" fmla="*/ 1609829 w 1971297"/>
              <a:gd name="connsiteY42" fmla="*/ 1480714 h 1970826"/>
              <a:gd name="connsiteX43" fmla="*/ 1579151 w 1971297"/>
              <a:gd name="connsiteY43" fmla="*/ 1512281 h 1970826"/>
              <a:gd name="connsiteX44" fmla="*/ 1677610 w 1971297"/>
              <a:gd name="connsiteY44" fmla="*/ 1689905 h 1970826"/>
              <a:gd name="connsiteX45" fmla="*/ 1554277 w 1971297"/>
              <a:gd name="connsiteY45" fmla="*/ 1791961 h 1970826"/>
              <a:gd name="connsiteX46" fmla="*/ 1402854 w 1971297"/>
              <a:gd name="connsiteY46" fmla="*/ 1660626 h 1970826"/>
              <a:gd name="connsiteX47" fmla="*/ 1363848 w 1971297"/>
              <a:gd name="connsiteY47" fmla="*/ 1687117 h 1970826"/>
              <a:gd name="connsiteX48" fmla="*/ 1398945 w 1971297"/>
              <a:gd name="connsiteY48" fmla="*/ 1886133 h 1970826"/>
              <a:gd name="connsiteX49" fmla="*/ 1247240 w 1971297"/>
              <a:gd name="connsiteY49" fmla="*/ 1941349 h 1970826"/>
              <a:gd name="connsiteX50" fmla="*/ 1146202 w 1971297"/>
              <a:gd name="connsiteY50" fmla="*/ 1766334 h 1970826"/>
              <a:gd name="connsiteX51" fmla="*/ 1100680 w 1971297"/>
              <a:gd name="connsiteY51" fmla="*/ 1773318 h 1970826"/>
              <a:gd name="connsiteX52" fmla="*/ 1062288 w 1971297"/>
              <a:gd name="connsiteY52" fmla="*/ 1970826 h 1970826"/>
              <a:gd name="connsiteX53" fmla="*/ 902210 w 1971297"/>
              <a:gd name="connsiteY53" fmla="*/ 1969728 h 1970826"/>
              <a:gd name="connsiteX54" fmla="*/ 870884 w 1971297"/>
              <a:gd name="connsiteY54" fmla="*/ 1773359 h 1970826"/>
              <a:gd name="connsiteX55" fmla="*/ 825096 w 1971297"/>
              <a:gd name="connsiteY55" fmla="*/ 1766334 h 1970826"/>
              <a:gd name="connsiteX56" fmla="*/ 724057 w 1971297"/>
              <a:gd name="connsiteY56" fmla="*/ 1941349 h 1970826"/>
              <a:gd name="connsiteX57" fmla="*/ 572352 w 1971297"/>
              <a:gd name="connsiteY57" fmla="*/ 1886133 h 1970826"/>
              <a:gd name="connsiteX58" fmla="*/ 607450 w 1971297"/>
              <a:gd name="connsiteY58" fmla="*/ 1687117 h 1970826"/>
              <a:gd name="connsiteX59" fmla="*/ 571181 w 1971297"/>
              <a:gd name="connsiteY59" fmla="*/ 1662485 h 1970826"/>
              <a:gd name="connsiteX60" fmla="*/ 421150 w 1971297"/>
              <a:gd name="connsiteY60" fmla="*/ 1792613 h 1970826"/>
              <a:gd name="connsiteX61" fmla="*/ 297817 w 1971297"/>
              <a:gd name="connsiteY61" fmla="*/ 1690557 h 1970826"/>
              <a:gd name="connsiteX62" fmla="*/ 395006 w 1971297"/>
              <a:gd name="connsiteY62" fmla="*/ 1515223 h 1970826"/>
              <a:gd name="connsiteX63" fmla="*/ 361468 w 1971297"/>
              <a:gd name="connsiteY63" fmla="*/ 1480715 h 1970826"/>
              <a:gd name="connsiteX64" fmla="*/ 171570 w 1971297"/>
              <a:gd name="connsiteY64" fmla="*/ 1549837 h 1970826"/>
              <a:gd name="connsiteX65" fmla="*/ 90850 w 1971297"/>
              <a:gd name="connsiteY65" fmla="*/ 1410026 h 1970826"/>
              <a:gd name="connsiteX66" fmla="*/ 245661 w 1971297"/>
              <a:gd name="connsiteY66" fmla="*/ 1280131 h 1970826"/>
              <a:gd name="connsiteX67" fmla="*/ 233972 w 1971297"/>
              <a:gd name="connsiteY67" fmla="*/ 1245643 h 1970826"/>
              <a:gd name="connsiteX68" fmla="*/ 31451 w 1971297"/>
              <a:gd name="connsiteY68" fmla="*/ 1248953 h 1970826"/>
              <a:gd name="connsiteX69" fmla="*/ 2573 w 1971297"/>
              <a:gd name="connsiteY69" fmla="*/ 1091497 h 1970826"/>
              <a:gd name="connsiteX70" fmla="*/ 191133 w 1971297"/>
              <a:gd name="connsiteY70" fmla="*/ 1019115 h 1970826"/>
              <a:gd name="connsiteX71" fmla="*/ 189902 w 1971297"/>
              <a:gd name="connsiteY71" fmla="*/ 963904 h 1970826"/>
              <a:gd name="connsiteX72" fmla="*/ 0 w 1971297"/>
              <a:gd name="connsiteY72" fmla="*/ 894790 h 1970826"/>
              <a:gd name="connsiteX73" fmla="*/ 28034 w 1971297"/>
              <a:gd name="connsiteY73" fmla="*/ 735802 h 1970826"/>
              <a:gd name="connsiteX74" fmla="*/ 230121 w 1971297"/>
              <a:gd name="connsiteY74" fmla="*/ 735808 h 1970826"/>
              <a:gd name="connsiteX75" fmla="*/ 240919 w 1971297"/>
              <a:gd name="connsiteY75" fmla="*/ 708079 h 1970826"/>
              <a:gd name="connsiteX76" fmla="*/ 84936 w 1971297"/>
              <a:gd name="connsiteY76" fmla="*/ 585933 h 1970826"/>
              <a:gd name="connsiteX77" fmla="*/ 161584 w 1971297"/>
              <a:gd name="connsiteY77" fmla="*/ 445393 h 1970826"/>
              <a:gd name="connsiteX78" fmla="*/ 354366 w 1971297"/>
              <a:gd name="connsiteY78" fmla="*/ 508031 h 1970826"/>
              <a:gd name="connsiteX79" fmla="*/ 390674 w 1971297"/>
              <a:gd name="connsiteY79" fmla="*/ 457722 h 1970826"/>
              <a:gd name="connsiteX80" fmla="*/ 289626 w 1971297"/>
              <a:gd name="connsiteY80" fmla="*/ 282712 h 1970826"/>
              <a:gd name="connsiteX81" fmla="*/ 413297 w 1971297"/>
              <a:gd name="connsiteY81" fmla="*/ 178940 h 1970826"/>
              <a:gd name="connsiteX82" fmla="*/ 568101 w 1971297"/>
              <a:gd name="connsiteY82" fmla="*/ 308843 h 1970826"/>
              <a:gd name="connsiteX83" fmla="*/ 611018 w 1971297"/>
              <a:gd name="connsiteY83" fmla="*/ 285324 h 1970826"/>
              <a:gd name="connsiteX84" fmla="*/ 576674 w 1971297"/>
              <a:gd name="connsiteY84" fmla="*/ 89277 h 1970826"/>
              <a:gd name="connsiteX85" fmla="*/ 727674 w 1971297"/>
              <a:gd name="connsiteY85" fmla="*/ 36123 h 1970826"/>
              <a:gd name="connsiteX86" fmla="*/ 826689 w 1971297"/>
              <a:gd name="connsiteY86" fmla="*/ 207623 h 1970826"/>
              <a:gd name="connsiteX87" fmla="*/ 869841 w 1971297"/>
              <a:gd name="connsiteY87" fmla="*/ 199018 h 1970826"/>
              <a:gd name="connsiteX88" fmla="*/ 904928 w 1971297"/>
              <a:gd name="connsiteY88" fmla="*/ 0 h 1970826"/>
              <a:gd name="connsiteX0" fmla="*/ 198126 w 1971297"/>
              <a:gd name="connsiteY0" fmla="*/ 1096370 h 1970826"/>
              <a:gd name="connsiteX1" fmla="*/ 199057 w 1971297"/>
              <a:gd name="connsiteY1" fmla="*/ 1110557 h 1970826"/>
              <a:gd name="connsiteX2" fmla="*/ 200997 w 1971297"/>
              <a:gd name="connsiteY2" fmla="*/ 1119440 h 1970826"/>
              <a:gd name="connsiteX3" fmla="*/ 198126 w 1971297"/>
              <a:gd name="connsiteY3" fmla="*/ 1096370 h 1970826"/>
              <a:gd name="connsiteX4" fmla="*/ 1658502 w 1971297"/>
              <a:gd name="connsiteY4" fmla="*/ 565633 h 1970826"/>
              <a:gd name="connsiteX5" fmla="*/ 1664864 w 1971297"/>
              <a:gd name="connsiteY5" fmla="*/ 574448 h 1970826"/>
              <a:gd name="connsiteX6" fmla="*/ 1664611 w 1971297"/>
              <a:gd name="connsiteY6" fmla="*/ 573966 h 1970826"/>
              <a:gd name="connsiteX7" fmla="*/ 1658502 w 1971297"/>
              <a:gd name="connsiteY7" fmla="*/ 565633 h 1970826"/>
              <a:gd name="connsiteX8" fmla="*/ 985649 w 1971297"/>
              <a:gd name="connsiteY8" fmla="*/ 323553 h 1970826"/>
              <a:gd name="connsiteX9" fmla="*/ 322581 w 1971297"/>
              <a:gd name="connsiteY9" fmla="*/ 986621 h 1970826"/>
              <a:gd name="connsiteX10" fmla="*/ 985649 w 1971297"/>
              <a:gd name="connsiteY10" fmla="*/ 1649689 h 1970826"/>
              <a:gd name="connsiteX11" fmla="*/ 1648717 w 1971297"/>
              <a:gd name="connsiteY11" fmla="*/ 986621 h 1970826"/>
              <a:gd name="connsiteX12" fmla="*/ 985649 w 1971297"/>
              <a:gd name="connsiteY12" fmla="*/ 323553 h 1970826"/>
              <a:gd name="connsiteX13" fmla="*/ 904928 w 1971297"/>
              <a:gd name="connsiteY13" fmla="*/ 0 h 1970826"/>
              <a:gd name="connsiteX14" fmla="*/ 1066369 w 1971297"/>
              <a:gd name="connsiteY14" fmla="*/ 0 h 1970826"/>
              <a:gd name="connsiteX15" fmla="*/ 1101456 w 1971297"/>
              <a:gd name="connsiteY15" fmla="*/ 199018 h 1970826"/>
              <a:gd name="connsiteX16" fmla="*/ 1149113 w 1971297"/>
              <a:gd name="connsiteY16" fmla="*/ 208521 h 1970826"/>
              <a:gd name="connsiteX17" fmla="*/ 1245734 w 1971297"/>
              <a:gd name="connsiteY17" fmla="*/ 36367 h 1970826"/>
              <a:gd name="connsiteX18" fmla="*/ 1396309 w 1971297"/>
              <a:gd name="connsiteY18" fmla="*/ 90716 h 1970826"/>
              <a:gd name="connsiteX19" fmla="*/ 1364293 w 1971297"/>
              <a:gd name="connsiteY19" fmla="*/ 287523 h 1970826"/>
              <a:gd name="connsiteX20" fmla="*/ 1403197 w 1971297"/>
              <a:gd name="connsiteY20" fmla="*/ 308843 h 1970826"/>
              <a:gd name="connsiteX21" fmla="*/ 1558001 w 1971297"/>
              <a:gd name="connsiteY21" fmla="*/ 178940 h 1970826"/>
              <a:gd name="connsiteX22" fmla="*/ 1681671 w 1971297"/>
              <a:gd name="connsiteY22" fmla="*/ 282712 h 1970826"/>
              <a:gd name="connsiteX23" fmla="*/ 1580623 w 1971297"/>
              <a:gd name="connsiteY23" fmla="*/ 457722 h 1970826"/>
              <a:gd name="connsiteX24" fmla="*/ 1610608 w 1971297"/>
              <a:gd name="connsiteY24" fmla="*/ 499270 h 1970826"/>
              <a:gd name="connsiteX25" fmla="*/ 1802874 w 1971297"/>
              <a:gd name="connsiteY25" fmla="*/ 433067 h 1970826"/>
              <a:gd name="connsiteX26" fmla="*/ 1881963 w 1971297"/>
              <a:gd name="connsiteY26" fmla="*/ 572248 h 1970826"/>
              <a:gd name="connsiteX27" fmla="*/ 1726590 w 1971297"/>
              <a:gd name="connsiteY27" fmla="*/ 698353 h 1970826"/>
              <a:gd name="connsiteX28" fmla="*/ 1741176 w 1971297"/>
              <a:gd name="connsiteY28" fmla="*/ 735808 h 1970826"/>
              <a:gd name="connsiteX29" fmla="*/ 1943264 w 1971297"/>
              <a:gd name="connsiteY29" fmla="*/ 735802 h 1970826"/>
              <a:gd name="connsiteX30" fmla="*/ 1971297 w 1971297"/>
              <a:gd name="connsiteY30" fmla="*/ 894790 h 1970826"/>
              <a:gd name="connsiteX31" fmla="*/ 1781396 w 1971297"/>
              <a:gd name="connsiteY31" fmla="*/ 963903 h 1970826"/>
              <a:gd name="connsiteX32" fmla="*/ 1780264 w 1971297"/>
              <a:gd name="connsiteY32" fmla="*/ 1014677 h 1970826"/>
              <a:gd name="connsiteX33" fmla="*/ 1969010 w 1971297"/>
              <a:gd name="connsiteY33" fmla="*/ 1087130 h 1970826"/>
              <a:gd name="connsiteX34" fmla="*/ 1940132 w 1971297"/>
              <a:gd name="connsiteY34" fmla="*/ 1244586 h 1970826"/>
              <a:gd name="connsiteX35" fmla="*/ 1738798 w 1971297"/>
              <a:gd name="connsiteY35" fmla="*/ 1241295 h 1970826"/>
              <a:gd name="connsiteX36" fmla="*/ 1725636 w 1971297"/>
              <a:gd name="connsiteY36" fmla="*/ 1280130 h 1970826"/>
              <a:gd name="connsiteX37" fmla="*/ 1880447 w 1971297"/>
              <a:gd name="connsiteY37" fmla="*/ 1410026 h 1970826"/>
              <a:gd name="connsiteX38" fmla="*/ 1799727 w 1971297"/>
              <a:gd name="connsiteY38" fmla="*/ 1549837 h 1970826"/>
              <a:gd name="connsiteX39" fmla="*/ 1609829 w 1971297"/>
              <a:gd name="connsiteY39" fmla="*/ 1480714 h 1970826"/>
              <a:gd name="connsiteX40" fmla="*/ 1579151 w 1971297"/>
              <a:gd name="connsiteY40" fmla="*/ 1512281 h 1970826"/>
              <a:gd name="connsiteX41" fmla="*/ 1677610 w 1971297"/>
              <a:gd name="connsiteY41" fmla="*/ 1689905 h 1970826"/>
              <a:gd name="connsiteX42" fmla="*/ 1554277 w 1971297"/>
              <a:gd name="connsiteY42" fmla="*/ 1791961 h 1970826"/>
              <a:gd name="connsiteX43" fmla="*/ 1402854 w 1971297"/>
              <a:gd name="connsiteY43" fmla="*/ 1660626 h 1970826"/>
              <a:gd name="connsiteX44" fmla="*/ 1363848 w 1971297"/>
              <a:gd name="connsiteY44" fmla="*/ 1687117 h 1970826"/>
              <a:gd name="connsiteX45" fmla="*/ 1398945 w 1971297"/>
              <a:gd name="connsiteY45" fmla="*/ 1886133 h 1970826"/>
              <a:gd name="connsiteX46" fmla="*/ 1247240 w 1971297"/>
              <a:gd name="connsiteY46" fmla="*/ 1941349 h 1970826"/>
              <a:gd name="connsiteX47" fmla="*/ 1146202 w 1971297"/>
              <a:gd name="connsiteY47" fmla="*/ 1766334 h 1970826"/>
              <a:gd name="connsiteX48" fmla="*/ 1100680 w 1971297"/>
              <a:gd name="connsiteY48" fmla="*/ 1773318 h 1970826"/>
              <a:gd name="connsiteX49" fmla="*/ 1062288 w 1971297"/>
              <a:gd name="connsiteY49" fmla="*/ 1970826 h 1970826"/>
              <a:gd name="connsiteX50" fmla="*/ 902210 w 1971297"/>
              <a:gd name="connsiteY50" fmla="*/ 1969728 h 1970826"/>
              <a:gd name="connsiteX51" fmla="*/ 870884 w 1971297"/>
              <a:gd name="connsiteY51" fmla="*/ 1773359 h 1970826"/>
              <a:gd name="connsiteX52" fmla="*/ 825096 w 1971297"/>
              <a:gd name="connsiteY52" fmla="*/ 1766334 h 1970826"/>
              <a:gd name="connsiteX53" fmla="*/ 724057 w 1971297"/>
              <a:gd name="connsiteY53" fmla="*/ 1941349 h 1970826"/>
              <a:gd name="connsiteX54" fmla="*/ 572352 w 1971297"/>
              <a:gd name="connsiteY54" fmla="*/ 1886133 h 1970826"/>
              <a:gd name="connsiteX55" fmla="*/ 607450 w 1971297"/>
              <a:gd name="connsiteY55" fmla="*/ 1687117 h 1970826"/>
              <a:gd name="connsiteX56" fmla="*/ 571181 w 1971297"/>
              <a:gd name="connsiteY56" fmla="*/ 1662485 h 1970826"/>
              <a:gd name="connsiteX57" fmla="*/ 421150 w 1971297"/>
              <a:gd name="connsiteY57" fmla="*/ 1792613 h 1970826"/>
              <a:gd name="connsiteX58" fmla="*/ 297817 w 1971297"/>
              <a:gd name="connsiteY58" fmla="*/ 1690557 h 1970826"/>
              <a:gd name="connsiteX59" fmla="*/ 395006 w 1971297"/>
              <a:gd name="connsiteY59" fmla="*/ 1515223 h 1970826"/>
              <a:gd name="connsiteX60" fmla="*/ 361468 w 1971297"/>
              <a:gd name="connsiteY60" fmla="*/ 1480715 h 1970826"/>
              <a:gd name="connsiteX61" fmla="*/ 171570 w 1971297"/>
              <a:gd name="connsiteY61" fmla="*/ 1549837 h 1970826"/>
              <a:gd name="connsiteX62" fmla="*/ 90850 w 1971297"/>
              <a:gd name="connsiteY62" fmla="*/ 1410026 h 1970826"/>
              <a:gd name="connsiteX63" fmla="*/ 245661 w 1971297"/>
              <a:gd name="connsiteY63" fmla="*/ 1280131 h 1970826"/>
              <a:gd name="connsiteX64" fmla="*/ 233972 w 1971297"/>
              <a:gd name="connsiteY64" fmla="*/ 1245643 h 1970826"/>
              <a:gd name="connsiteX65" fmla="*/ 31451 w 1971297"/>
              <a:gd name="connsiteY65" fmla="*/ 1248953 h 1970826"/>
              <a:gd name="connsiteX66" fmla="*/ 2573 w 1971297"/>
              <a:gd name="connsiteY66" fmla="*/ 1091497 h 1970826"/>
              <a:gd name="connsiteX67" fmla="*/ 191133 w 1971297"/>
              <a:gd name="connsiteY67" fmla="*/ 1019115 h 1970826"/>
              <a:gd name="connsiteX68" fmla="*/ 189902 w 1971297"/>
              <a:gd name="connsiteY68" fmla="*/ 963904 h 1970826"/>
              <a:gd name="connsiteX69" fmla="*/ 0 w 1971297"/>
              <a:gd name="connsiteY69" fmla="*/ 894790 h 1970826"/>
              <a:gd name="connsiteX70" fmla="*/ 28034 w 1971297"/>
              <a:gd name="connsiteY70" fmla="*/ 735802 h 1970826"/>
              <a:gd name="connsiteX71" fmla="*/ 230121 w 1971297"/>
              <a:gd name="connsiteY71" fmla="*/ 735808 h 1970826"/>
              <a:gd name="connsiteX72" fmla="*/ 240919 w 1971297"/>
              <a:gd name="connsiteY72" fmla="*/ 708079 h 1970826"/>
              <a:gd name="connsiteX73" fmla="*/ 84936 w 1971297"/>
              <a:gd name="connsiteY73" fmla="*/ 585933 h 1970826"/>
              <a:gd name="connsiteX74" fmla="*/ 161584 w 1971297"/>
              <a:gd name="connsiteY74" fmla="*/ 445393 h 1970826"/>
              <a:gd name="connsiteX75" fmla="*/ 354366 w 1971297"/>
              <a:gd name="connsiteY75" fmla="*/ 508031 h 1970826"/>
              <a:gd name="connsiteX76" fmla="*/ 390674 w 1971297"/>
              <a:gd name="connsiteY76" fmla="*/ 457722 h 1970826"/>
              <a:gd name="connsiteX77" fmla="*/ 289626 w 1971297"/>
              <a:gd name="connsiteY77" fmla="*/ 282712 h 1970826"/>
              <a:gd name="connsiteX78" fmla="*/ 413297 w 1971297"/>
              <a:gd name="connsiteY78" fmla="*/ 178940 h 1970826"/>
              <a:gd name="connsiteX79" fmla="*/ 568101 w 1971297"/>
              <a:gd name="connsiteY79" fmla="*/ 308843 h 1970826"/>
              <a:gd name="connsiteX80" fmla="*/ 611018 w 1971297"/>
              <a:gd name="connsiteY80" fmla="*/ 285324 h 1970826"/>
              <a:gd name="connsiteX81" fmla="*/ 576674 w 1971297"/>
              <a:gd name="connsiteY81" fmla="*/ 89277 h 1970826"/>
              <a:gd name="connsiteX82" fmla="*/ 727674 w 1971297"/>
              <a:gd name="connsiteY82" fmla="*/ 36123 h 1970826"/>
              <a:gd name="connsiteX83" fmla="*/ 826689 w 1971297"/>
              <a:gd name="connsiteY83" fmla="*/ 207623 h 1970826"/>
              <a:gd name="connsiteX84" fmla="*/ 869841 w 1971297"/>
              <a:gd name="connsiteY84" fmla="*/ 199018 h 1970826"/>
              <a:gd name="connsiteX85" fmla="*/ 904928 w 1971297"/>
              <a:gd name="connsiteY85" fmla="*/ 0 h 1970826"/>
              <a:gd name="connsiteX0" fmla="*/ 198126 w 1971297"/>
              <a:gd name="connsiteY0" fmla="*/ 1096370 h 1970826"/>
              <a:gd name="connsiteX1" fmla="*/ 199057 w 1971297"/>
              <a:gd name="connsiteY1" fmla="*/ 1110557 h 1970826"/>
              <a:gd name="connsiteX2" fmla="*/ 198126 w 1971297"/>
              <a:gd name="connsiteY2" fmla="*/ 1096370 h 1970826"/>
              <a:gd name="connsiteX3" fmla="*/ 1658502 w 1971297"/>
              <a:gd name="connsiteY3" fmla="*/ 565633 h 1970826"/>
              <a:gd name="connsiteX4" fmla="*/ 1664864 w 1971297"/>
              <a:gd name="connsiteY4" fmla="*/ 574448 h 1970826"/>
              <a:gd name="connsiteX5" fmla="*/ 1664611 w 1971297"/>
              <a:gd name="connsiteY5" fmla="*/ 573966 h 1970826"/>
              <a:gd name="connsiteX6" fmla="*/ 1658502 w 1971297"/>
              <a:gd name="connsiteY6" fmla="*/ 565633 h 1970826"/>
              <a:gd name="connsiteX7" fmla="*/ 985649 w 1971297"/>
              <a:gd name="connsiteY7" fmla="*/ 323553 h 1970826"/>
              <a:gd name="connsiteX8" fmla="*/ 322581 w 1971297"/>
              <a:gd name="connsiteY8" fmla="*/ 986621 h 1970826"/>
              <a:gd name="connsiteX9" fmla="*/ 985649 w 1971297"/>
              <a:gd name="connsiteY9" fmla="*/ 1649689 h 1970826"/>
              <a:gd name="connsiteX10" fmla="*/ 1648717 w 1971297"/>
              <a:gd name="connsiteY10" fmla="*/ 986621 h 1970826"/>
              <a:gd name="connsiteX11" fmla="*/ 985649 w 1971297"/>
              <a:gd name="connsiteY11" fmla="*/ 323553 h 1970826"/>
              <a:gd name="connsiteX12" fmla="*/ 904928 w 1971297"/>
              <a:gd name="connsiteY12" fmla="*/ 0 h 1970826"/>
              <a:gd name="connsiteX13" fmla="*/ 1066369 w 1971297"/>
              <a:gd name="connsiteY13" fmla="*/ 0 h 1970826"/>
              <a:gd name="connsiteX14" fmla="*/ 1101456 w 1971297"/>
              <a:gd name="connsiteY14" fmla="*/ 199018 h 1970826"/>
              <a:gd name="connsiteX15" fmla="*/ 1149113 w 1971297"/>
              <a:gd name="connsiteY15" fmla="*/ 208521 h 1970826"/>
              <a:gd name="connsiteX16" fmla="*/ 1245734 w 1971297"/>
              <a:gd name="connsiteY16" fmla="*/ 36367 h 1970826"/>
              <a:gd name="connsiteX17" fmla="*/ 1396309 w 1971297"/>
              <a:gd name="connsiteY17" fmla="*/ 90716 h 1970826"/>
              <a:gd name="connsiteX18" fmla="*/ 1364293 w 1971297"/>
              <a:gd name="connsiteY18" fmla="*/ 287523 h 1970826"/>
              <a:gd name="connsiteX19" fmla="*/ 1403197 w 1971297"/>
              <a:gd name="connsiteY19" fmla="*/ 308843 h 1970826"/>
              <a:gd name="connsiteX20" fmla="*/ 1558001 w 1971297"/>
              <a:gd name="connsiteY20" fmla="*/ 178940 h 1970826"/>
              <a:gd name="connsiteX21" fmla="*/ 1681671 w 1971297"/>
              <a:gd name="connsiteY21" fmla="*/ 282712 h 1970826"/>
              <a:gd name="connsiteX22" fmla="*/ 1580623 w 1971297"/>
              <a:gd name="connsiteY22" fmla="*/ 457722 h 1970826"/>
              <a:gd name="connsiteX23" fmla="*/ 1610608 w 1971297"/>
              <a:gd name="connsiteY23" fmla="*/ 499270 h 1970826"/>
              <a:gd name="connsiteX24" fmla="*/ 1802874 w 1971297"/>
              <a:gd name="connsiteY24" fmla="*/ 433067 h 1970826"/>
              <a:gd name="connsiteX25" fmla="*/ 1881963 w 1971297"/>
              <a:gd name="connsiteY25" fmla="*/ 572248 h 1970826"/>
              <a:gd name="connsiteX26" fmla="*/ 1726590 w 1971297"/>
              <a:gd name="connsiteY26" fmla="*/ 698353 h 1970826"/>
              <a:gd name="connsiteX27" fmla="*/ 1741176 w 1971297"/>
              <a:gd name="connsiteY27" fmla="*/ 735808 h 1970826"/>
              <a:gd name="connsiteX28" fmla="*/ 1943264 w 1971297"/>
              <a:gd name="connsiteY28" fmla="*/ 735802 h 1970826"/>
              <a:gd name="connsiteX29" fmla="*/ 1971297 w 1971297"/>
              <a:gd name="connsiteY29" fmla="*/ 894790 h 1970826"/>
              <a:gd name="connsiteX30" fmla="*/ 1781396 w 1971297"/>
              <a:gd name="connsiteY30" fmla="*/ 963903 h 1970826"/>
              <a:gd name="connsiteX31" fmla="*/ 1780264 w 1971297"/>
              <a:gd name="connsiteY31" fmla="*/ 1014677 h 1970826"/>
              <a:gd name="connsiteX32" fmla="*/ 1969010 w 1971297"/>
              <a:gd name="connsiteY32" fmla="*/ 1087130 h 1970826"/>
              <a:gd name="connsiteX33" fmla="*/ 1940132 w 1971297"/>
              <a:gd name="connsiteY33" fmla="*/ 1244586 h 1970826"/>
              <a:gd name="connsiteX34" fmla="*/ 1738798 w 1971297"/>
              <a:gd name="connsiteY34" fmla="*/ 1241295 h 1970826"/>
              <a:gd name="connsiteX35" fmla="*/ 1725636 w 1971297"/>
              <a:gd name="connsiteY35" fmla="*/ 1280130 h 1970826"/>
              <a:gd name="connsiteX36" fmla="*/ 1880447 w 1971297"/>
              <a:gd name="connsiteY36" fmla="*/ 1410026 h 1970826"/>
              <a:gd name="connsiteX37" fmla="*/ 1799727 w 1971297"/>
              <a:gd name="connsiteY37" fmla="*/ 1549837 h 1970826"/>
              <a:gd name="connsiteX38" fmla="*/ 1609829 w 1971297"/>
              <a:gd name="connsiteY38" fmla="*/ 1480714 h 1970826"/>
              <a:gd name="connsiteX39" fmla="*/ 1579151 w 1971297"/>
              <a:gd name="connsiteY39" fmla="*/ 1512281 h 1970826"/>
              <a:gd name="connsiteX40" fmla="*/ 1677610 w 1971297"/>
              <a:gd name="connsiteY40" fmla="*/ 1689905 h 1970826"/>
              <a:gd name="connsiteX41" fmla="*/ 1554277 w 1971297"/>
              <a:gd name="connsiteY41" fmla="*/ 1791961 h 1970826"/>
              <a:gd name="connsiteX42" fmla="*/ 1402854 w 1971297"/>
              <a:gd name="connsiteY42" fmla="*/ 1660626 h 1970826"/>
              <a:gd name="connsiteX43" fmla="*/ 1363848 w 1971297"/>
              <a:gd name="connsiteY43" fmla="*/ 1687117 h 1970826"/>
              <a:gd name="connsiteX44" fmla="*/ 1398945 w 1971297"/>
              <a:gd name="connsiteY44" fmla="*/ 1886133 h 1970826"/>
              <a:gd name="connsiteX45" fmla="*/ 1247240 w 1971297"/>
              <a:gd name="connsiteY45" fmla="*/ 1941349 h 1970826"/>
              <a:gd name="connsiteX46" fmla="*/ 1146202 w 1971297"/>
              <a:gd name="connsiteY46" fmla="*/ 1766334 h 1970826"/>
              <a:gd name="connsiteX47" fmla="*/ 1100680 w 1971297"/>
              <a:gd name="connsiteY47" fmla="*/ 1773318 h 1970826"/>
              <a:gd name="connsiteX48" fmla="*/ 1062288 w 1971297"/>
              <a:gd name="connsiteY48" fmla="*/ 1970826 h 1970826"/>
              <a:gd name="connsiteX49" fmla="*/ 902210 w 1971297"/>
              <a:gd name="connsiteY49" fmla="*/ 1969728 h 1970826"/>
              <a:gd name="connsiteX50" fmla="*/ 870884 w 1971297"/>
              <a:gd name="connsiteY50" fmla="*/ 1773359 h 1970826"/>
              <a:gd name="connsiteX51" fmla="*/ 825096 w 1971297"/>
              <a:gd name="connsiteY51" fmla="*/ 1766334 h 1970826"/>
              <a:gd name="connsiteX52" fmla="*/ 724057 w 1971297"/>
              <a:gd name="connsiteY52" fmla="*/ 1941349 h 1970826"/>
              <a:gd name="connsiteX53" fmla="*/ 572352 w 1971297"/>
              <a:gd name="connsiteY53" fmla="*/ 1886133 h 1970826"/>
              <a:gd name="connsiteX54" fmla="*/ 607450 w 1971297"/>
              <a:gd name="connsiteY54" fmla="*/ 1687117 h 1970826"/>
              <a:gd name="connsiteX55" fmla="*/ 571181 w 1971297"/>
              <a:gd name="connsiteY55" fmla="*/ 1662485 h 1970826"/>
              <a:gd name="connsiteX56" fmla="*/ 421150 w 1971297"/>
              <a:gd name="connsiteY56" fmla="*/ 1792613 h 1970826"/>
              <a:gd name="connsiteX57" fmla="*/ 297817 w 1971297"/>
              <a:gd name="connsiteY57" fmla="*/ 1690557 h 1970826"/>
              <a:gd name="connsiteX58" fmla="*/ 395006 w 1971297"/>
              <a:gd name="connsiteY58" fmla="*/ 1515223 h 1970826"/>
              <a:gd name="connsiteX59" fmla="*/ 361468 w 1971297"/>
              <a:gd name="connsiteY59" fmla="*/ 1480715 h 1970826"/>
              <a:gd name="connsiteX60" fmla="*/ 171570 w 1971297"/>
              <a:gd name="connsiteY60" fmla="*/ 1549837 h 1970826"/>
              <a:gd name="connsiteX61" fmla="*/ 90850 w 1971297"/>
              <a:gd name="connsiteY61" fmla="*/ 1410026 h 1970826"/>
              <a:gd name="connsiteX62" fmla="*/ 245661 w 1971297"/>
              <a:gd name="connsiteY62" fmla="*/ 1280131 h 1970826"/>
              <a:gd name="connsiteX63" fmla="*/ 233972 w 1971297"/>
              <a:gd name="connsiteY63" fmla="*/ 1245643 h 1970826"/>
              <a:gd name="connsiteX64" fmla="*/ 31451 w 1971297"/>
              <a:gd name="connsiteY64" fmla="*/ 1248953 h 1970826"/>
              <a:gd name="connsiteX65" fmla="*/ 2573 w 1971297"/>
              <a:gd name="connsiteY65" fmla="*/ 1091497 h 1970826"/>
              <a:gd name="connsiteX66" fmla="*/ 191133 w 1971297"/>
              <a:gd name="connsiteY66" fmla="*/ 1019115 h 1970826"/>
              <a:gd name="connsiteX67" fmla="*/ 189902 w 1971297"/>
              <a:gd name="connsiteY67" fmla="*/ 963904 h 1970826"/>
              <a:gd name="connsiteX68" fmla="*/ 0 w 1971297"/>
              <a:gd name="connsiteY68" fmla="*/ 894790 h 1970826"/>
              <a:gd name="connsiteX69" fmla="*/ 28034 w 1971297"/>
              <a:gd name="connsiteY69" fmla="*/ 735802 h 1970826"/>
              <a:gd name="connsiteX70" fmla="*/ 230121 w 1971297"/>
              <a:gd name="connsiteY70" fmla="*/ 735808 h 1970826"/>
              <a:gd name="connsiteX71" fmla="*/ 240919 w 1971297"/>
              <a:gd name="connsiteY71" fmla="*/ 708079 h 1970826"/>
              <a:gd name="connsiteX72" fmla="*/ 84936 w 1971297"/>
              <a:gd name="connsiteY72" fmla="*/ 585933 h 1970826"/>
              <a:gd name="connsiteX73" fmla="*/ 161584 w 1971297"/>
              <a:gd name="connsiteY73" fmla="*/ 445393 h 1970826"/>
              <a:gd name="connsiteX74" fmla="*/ 354366 w 1971297"/>
              <a:gd name="connsiteY74" fmla="*/ 508031 h 1970826"/>
              <a:gd name="connsiteX75" fmla="*/ 390674 w 1971297"/>
              <a:gd name="connsiteY75" fmla="*/ 457722 h 1970826"/>
              <a:gd name="connsiteX76" fmla="*/ 289626 w 1971297"/>
              <a:gd name="connsiteY76" fmla="*/ 282712 h 1970826"/>
              <a:gd name="connsiteX77" fmla="*/ 413297 w 1971297"/>
              <a:gd name="connsiteY77" fmla="*/ 178940 h 1970826"/>
              <a:gd name="connsiteX78" fmla="*/ 568101 w 1971297"/>
              <a:gd name="connsiteY78" fmla="*/ 308843 h 1970826"/>
              <a:gd name="connsiteX79" fmla="*/ 611018 w 1971297"/>
              <a:gd name="connsiteY79" fmla="*/ 285324 h 1970826"/>
              <a:gd name="connsiteX80" fmla="*/ 576674 w 1971297"/>
              <a:gd name="connsiteY80" fmla="*/ 89277 h 1970826"/>
              <a:gd name="connsiteX81" fmla="*/ 727674 w 1971297"/>
              <a:gd name="connsiteY81" fmla="*/ 36123 h 1970826"/>
              <a:gd name="connsiteX82" fmla="*/ 826689 w 1971297"/>
              <a:gd name="connsiteY82" fmla="*/ 207623 h 1970826"/>
              <a:gd name="connsiteX83" fmla="*/ 869841 w 1971297"/>
              <a:gd name="connsiteY83" fmla="*/ 199018 h 1970826"/>
              <a:gd name="connsiteX84" fmla="*/ 904928 w 1971297"/>
              <a:gd name="connsiteY84" fmla="*/ 0 h 1970826"/>
              <a:gd name="connsiteX0" fmla="*/ 1658502 w 1971297"/>
              <a:gd name="connsiteY0" fmla="*/ 565633 h 1970826"/>
              <a:gd name="connsiteX1" fmla="*/ 1664864 w 1971297"/>
              <a:gd name="connsiteY1" fmla="*/ 574448 h 1970826"/>
              <a:gd name="connsiteX2" fmla="*/ 1664611 w 1971297"/>
              <a:gd name="connsiteY2" fmla="*/ 573966 h 1970826"/>
              <a:gd name="connsiteX3" fmla="*/ 1658502 w 1971297"/>
              <a:gd name="connsiteY3" fmla="*/ 565633 h 1970826"/>
              <a:gd name="connsiteX4" fmla="*/ 985649 w 1971297"/>
              <a:gd name="connsiteY4" fmla="*/ 323553 h 1970826"/>
              <a:gd name="connsiteX5" fmla="*/ 322581 w 1971297"/>
              <a:gd name="connsiteY5" fmla="*/ 986621 h 1970826"/>
              <a:gd name="connsiteX6" fmla="*/ 985649 w 1971297"/>
              <a:gd name="connsiteY6" fmla="*/ 1649689 h 1970826"/>
              <a:gd name="connsiteX7" fmla="*/ 1648717 w 1971297"/>
              <a:gd name="connsiteY7" fmla="*/ 986621 h 1970826"/>
              <a:gd name="connsiteX8" fmla="*/ 985649 w 1971297"/>
              <a:gd name="connsiteY8" fmla="*/ 323553 h 1970826"/>
              <a:gd name="connsiteX9" fmla="*/ 904928 w 1971297"/>
              <a:gd name="connsiteY9" fmla="*/ 0 h 1970826"/>
              <a:gd name="connsiteX10" fmla="*/ 1066369 w 1971297"/>
              <a:gd name="connsiteY10" fmla="*/ 0 h 1970826"/>
              <a:gd name="connsiteX11" fmla="*/ 1101456 w 1971297"/>
              <a:gd name="connsiteY11" fmla="*/ 199018 h 1970826"/>
              <a:gd name="connsiteX12" fmla="*/ 1149113 w 1971297"/>
              <a:gd name="connsiteY12" fmla="*/ 208521 h 1970826"/>
              <a:gd name="connsiteX13" fmla="*/ 1245734 w 1971297"/>
              <a:gd name="connsiteY13" fmla="*/ 36367 h 1970826"/>
              <a:gd name="connsiteX14" fmla="*/ 1396309 w 1971297"/>
              <a:gd name="connsiteY14" fmla="*/ 90716 h 1970826"/>
              <a:gd name="connsiteX15" fmla="*/ 1364293 w 1971297"/>
              <a:gd name="connsiteY15" fmla="*/ 287523 h 1970826"/>
              <a:gd name="connsiteX16" fmla="*/ 1403197 w 1971297"/>
              <a:gd name="connsiteY16" fmla="*/ 308843 h 1970826"/>
              <a:gd name="connsiteX17" fmla="*/ 1558001 w 1971297"/>
              <a:gd name="connsiteY17" fmla="*/ 178940 h 1970826"/>
              <a:gd name="connsiteX18" fmla="*/ 1681671 w 1971297"/>
              <a:gd name="connsiteY18" fmla="*/ 282712 h 1970826"/>
              <a:gd name="connsiteX19" fmla="*/ 1580623 w 1971297"/>
              <a:gd name="connsiteY19" fmla="*/ 457722 h 1970826"/>
              <a:gd name="connsiteX20" fmla="*/ 1610608 w 1971297"/>
              <a:gd name="connsiteY20" fmla="*/ 499270 h 1970826"/>
              <a:gd name="connsiteX21" fmla="*/ 1802874 w 1971297"/>
              <a:gd name="connsiteY21" fmla="*/ 433067 h 1970826"/>
              <a:gd name="connsiteX22" fmla="*/ 1881963 w 1971297"/>
              <a:gd name="connsiteY22" fmla="*/ 572248 h 1970826"/>
              <a:gd name="connsiteX23" fmla="*/ 1726590 w 1971297"/>
              <a:gd name="connsiteY23" fmla="*/ 698353 h 1970826"/>
              <a:gd name="connsiteX24" fmla="*/ 1741176 w 1971297"/>
              <a:gd name="connsiteY24" fmla="*/ 735808 h 1970826"/>
              <a:gd name="connsiteX25" fmla="*/ 1943264 w 1971297"/>
              <a:gd name="connsiteY25" fmla="*/ 735802 h 1970826"/>
              <a:gd name="connsiteX26" fmla="*/ 1971297 w 1971297"/>
              <a:gd name="connsiteY26" fmla="*/ 894790 h 1970826"/>
              <a:gd name="connsiteX27" fmla="*/ 1781396 w 1971297"/>
              <a:gd name="connsiteY27" fmla="*/ 963903 h 1970826"/>
              <a:gd name="connsiteX28" fmla="*/ 1780264 w 1971297"/>
              <a:gd name="connsiteY28" fmla="*/ 1014677 h 1970826"/>
              <a:gd name="connsiteX29" fmla="*/ 1969010 w 1971297"/>
              <a:gd name="connsiteY29" fmla="*/ 1087130 h 1970826"/>
              <a:gd name="connsiteX30" fmla="*/ 1940132 w 1971297"/>
              <a:gd name="connsiteY30" fmla="*/ 1244586 h 1970826"/>
              <a:gd name="connsiteX31" fmla="*/ 1738798 w 1971297"/>
              <a:gd name="connsiteY31" fmla="*/ 1241295 h 1970826"/>
              <a:gd name="connsiteX32" fmla="*/ 1725636 w 1971297"/>
              <a:gd name="connsiteY32" fmla="*/ 1280130 h 1970826"/>
              <a:gd name="connsiteX33" fmla="*/ 1880447 w 1971297"/>
              <a:gd name="connsiteY33" fmla="*/ 1410026 h 1970826"/>
              <a:gd name="connsiteX34" fmla="*/ 1799727 w 1971297"/>
              <a:gd name="connsiteY34" fmla="*/ 1549837 h 1970826"/>
              <a:gd name="connsiteX35" fmla="*/ 1609829 w 1971297"/>
              <a:gd name="connsiteY35" fmla="*/ 1480714 h 1970826"/>
              <a:gd name="connsiteX36" fmla="*/ 1579151 w 1971297"/>
              <a:gd name="connsiteY36" fmla="*/ 1512281 h 1970826"/>
              <a:gd name="connsiteX37" fmla="*/ 1677610 w 1971297"/>
              <a:gd name="connsiteY37" fmla="*/ 1689905 h 1970826"/>
              <a:gd name="connsiteX38" fmla="*/ 1554277 w 1971297"/>
              <a:gd name="connsiteY38" fmla="*/ 1791961 h 1970826"/>
              <a:gd name="connsiteX39" fmla="*/ 1402854 w 1971297"/>
              <a:gd name="connsiteY39" fmla="*/ 1660626 h 1970826"/>
              <a:gd name="connsiteX40" fmla="*/ 1363848 w 1971297"/>
              <a:gd name="connsiteY40" fmla="*/ 1687117 h 1970826"/>
              <a:gd name="connsiteX41" fmla="*/ 1398945 w 1971297"/>
              <a:gd name="connsiteY41" fmla="*/ 1886133 h 1970826"/>
              <a:gd name="connsiteX42" fmla="*/ 1247240 w 1971297"/>
              <a:gd name="connsiteY42" fmla="*/ 1941349 h 1970826"/>
              <a:gd name="connsiteX43" fmla="*/ 1146202 w 1971297"/>
              <a:gd name="connsiteY43" fmla="*/ 1766334 h 1970826"/>
              <a:gd name="connsiteX44" fmla="*/ 1100680 w 1971297"/>
              <a:gd name="connsiteY44" fmla="*/ 1773318 h 1970826"/>
              <a:gd name="connsiteX45" fmla="*/ 1062288 w 1971297"/>
              <a:gd name="connsiteY45" fmla="*/ 1970826 h 1970826"/>
              <a:gd name="connsiteX46" fmla="*/ 902210 w 1971297"/>
              <a:gd name="connsiteY46" fmla="*/ 1969728 h 1970826"/>
              <a:gd name="connsiteX47" fmla="*/ 870884 w 1971297"/>
              <a:gd name="connsiteY47" fmla="*/ 1773359 h 1970826"/>
              <a:gd name="connsiteX48" fmla="*/ 825096 w 1971297"/>
              <a:gd name="connsiteY48" fmla="*/ 1766334 h 1970826"/>
              <a:gd name="connsiteX49" fmla="*/ 724057 w 1971297"/>
              <a:gd name="connsiteY49" fmla="*/ 1941349 h 1970826"/>
              <a:gd name="connsiteX50" fmla="*/ 572352 w 1971297"/>
              <a:gd name="connsiteY50" fmla="*/ 1886133 h 1970826"/>
              <a:gd name="connsiteX51" fmla="*/ 607450 w 1971297"/>
              <a:gd name="connsiteY51" fmla="*/ 1687117 h 1970826"/>
              <a:gd name="connsiteX52" fmla="*/ 571181 w 1971297"/>
              <a:gd name="connsiteY52" fmla="*/ 1662485 h 1970826"/>
              <a:gd name="connsiteX53" fmla="*/ 421150 w 1971297"/>
              <a:gd name="connsiteY53" fmla="*/ 1792613 h 1970826"/>
              <a:gd name="connsiteX54" fmla="*/ 297817 w 1971297"/>
              <a:gd name="connsiteY54" fmla="*/ 1690557 h 1970826"/>
              <a:gd name="connsiteX55" fmla="*/ 395006 w 1971297"/>
              <a:gd name="connsiteY55" fmla="*/ 1515223 h 1970826"/>
              <a:gd name="connsiteX56" fmla="*/ 361468 w 1971297"/>
              <a:gd name="connsiteY56" fmla="*/ 1480715 h 1970826"/>
              <a:gd name="connsiteX57" fmla="*/ 171570 w 1971297"/>
              <a:gd name="connsiteY57" fmla="*/ 1549837 h 1970826"/>
              <a:gd name="connsiteX58" fmla="*/ 90850 w 1971297"/>
              <a:gd name="connsiteY58" fmla="*/ 1410026 h 1970826"/>
              <a:gd name="connsiteX59" fmla="*/ 245661 w 1971297"/>
              <a:gd name="connsiteY59" fmla="*/ 1280131 h 1970826"/>
              <a:gd name="connsiteX60" fmla="*/ 233972 w 1971297"/>
              <a:gd name="connsiteY60" fmla="*/ 1245643 h 1970826"/>
              <a:gd name="connsiteX61" fmla="*/ 31451 w 1971297"/>
              <a:gd name="connsiteY61" fmla="*/ 1248953 h 1970826"/>
              <a:gd name="connsiteX62" fmla="*/ 2573 w 1971297"/>
              <a:gd name="connsiteY62" fmla="*/ 1091497 h 1970826"/>
              <a:gd name="connsiteX63" fmla="*/ 191133 w 1971297"/>
              <a:gd name="connsiteY63" fmla="*/ 1019115 h 1970826"/>
              <a:gd name="connsiteX64" fmla="*/ 189902 w 1971297"/>
              <a:gd name="connsiteY64" fmla="*/ 963904 h 1970826"/>
              <a:gd name="connsiteX65" fmla="*/ 0 w 1971297"/>
              <a:gd name="connsiteY65" fmla="*/ 894790 h 1970826"/>
              <a:gd name="connsiteX66" fmla="*/ 28034 w 1971297"/>
              <a:gd name="connsiteY66" fmla="*/ 735802 h 1970826"/>
              <a:gd name="connsiteX67" fmla="*/ 230121 w 1971297"/>
              <a:gd name="connsiteY67" fmla="*/ 735808 h 1970826"/>
              <a:gd name="connsiteX68" fmla="*/ 240919 w 1971297"/>
              <a:gd name="connsiteY68" fmla="*/ 708079 h 1970826"/>
              <a:gd name="connsiteX69" fmla="*/ 84936 w 1971297"/>
              <a:gd name="connsiteY69" fmla="*/ 585933 h 1970826"/>
              <a:gd name="connsiteX70" fmla="*/ 161584 w 1971297"/>
              <a:gd name="connsiteY70" fmla="*/ 445393 h 1970826"/>
              <a:gd name="connsiteX71" fmla="*/ 354366 w 1971297"/>
              <a:gd name="connsiteY71" fmla="*/ 508031 h 1970826"/>
              <a:gd name="connsiteX72" fmla="*/ 390674 w 1971297"/>
              <a:gd name="connsiteY72" fmla="*/ 457722 h 1970826"/>
              <a:gd name="connsiteX73" fmla="*/ 289626 w 1971297"/>
              <a:gd name="connsiteY73" fmla="*/ 282712 h 1970826"/>
              <a:gd name="connsiteX74" fmla="*/ 413297 w 1971297"/>
              <a:gd name="connsiteY74" fmla="*/ 178940 h 1970826"/>
              <a:gd name="connsiteX75" fmla="*/ 568101 w 1971297"/>
              <a:gd name="connsiteY75" fmla="*/ 308843 h 1970826"/>
              <a:gd name="connsiteX76" fmla="*/ 611018 w 1971297"/>
              <a:gd name="connsiteY76" fmla="*/ 285324 h 1970826"/>
              <a:gd name="connsiteX77" fmla="*/ 576674 w 1971297"/>
              <a:gd name="connsiteY77" fmla="*/ 89277 h 1970826"/>
              <a:gd name="connsiteX78" fmla="*/ 727674 w 1971297"/>
              <a:gd name="connsiteY78" fmla="*/ 36123 h 1970826"/>
              <a:gd name="connsiteX79" fmla="*/ 826689 w 1971297"/>
              <a:gd name="connsiteY79" fmla="*/ 207623 h 1970826"/>
              <a:gd name="connsiteX80" fmla="*/ 869841 w 1971297"/>
              <a:gd name="connsiteY80" fmla="*/ 199018 h 1970826"/>
              <a:gd name="connsiteX81" fmla="*/ 904928 w 1971297"/>
              <a:gd name="connsiteY81" fmla="*/ 0 h 1970826"/>
              <a:gd name="connsiteX0" fmla="*/ 1664611 w 1971297"/>
              <a:gd name="connsiteY0" fmla="*/ 573966 h 1970826"/>
              <a:gd name="connsiteX1" fmla="*/ 1664864 w 1971297"/>
              <a:gd name="connsiteY1" fmla="*/ 574448 h 1970826"/>
              <a:gd name="connsiteX2" fmla="*/ 1664611 w 1971297"/>
              <a:gd name="connsiteY2" fmla="*/ 573966 h 1970826"/>
              <a:gd name="connsiteX3" fmla="*/ 985649 w 1971297"/>
              <a:gd name="connsiteY3" fmla="*/ 323553 h 1970826"/>
              <a:gd name="connsiteX4" fmla="*/ 322581 w 1971297"/>
              <a:gd name="connsiteY4" fmla="*/ 986621 h 1970826"/>
              <a:gd name="connsiteX5" fmla="*/ 985649 w 1971297"/>
              <a:gd name="connsiteY5" fmla="*/ 1649689 h 1970826"/>
              <a:gd name="connsiteX6" fmla="*/ 1648717 w 1971297"/>
              <a:gd name="connsiteY6" fmla="*/ 986621 h 1970826"/>
              <a:gd name="connsiteX7" fmla="*/ 985649 w 1971297"/>
              <a:gd name="connsiteY7" fmla="*/ 323553 h 1970826"/>
              <a:gd name="connsiteX8" fmla="*/ 904928 w 1971297"/>
              <a:gd name="connsiteY8" fmla="*/ 0 h 1970826"/>
              <a:gd name="connsiteX9" fmla="*/ 1066369 w 1971297"/>
              <a:gd name="connsiteY9" fmla="*/ 0 h 1970826"/>
              <a:gd name="connsiteX10" fmla="*/ 1101456 w 1971297"/>
              <a:gd name="connsiteY10" fmla="*/ 199018 h 1970826"/>
              <a:gd name="connsiteX11" fmla="*/ 1149113 w 1971297"/>
              <a:gd name="connsiteY11" fmla="*/ 208521 h 1970826"/>
              <a:gd name="connsiteX12" fmla="*/ 1245734 w 1971297"/>
              <a:gd name="connsiteY12" fmla="*/ 36367 h 1970826"/>
              <a:gd name="connsiteX13" fmla="*/ 1396309 w 1971297"/>
              <a:gd name="connsiteY13" fmla="*/ 90716 h 1970826"/>
              <a:gd name="connsiteX14" fmla="*/ 1364293 w 1971297"/>
              <a:gd name="connsiteY14" fmla="*/ 287523 h 1970826"/>
              <a:gd name="connsiteX15" fmla="*/ 1403197 w 1971297"/>
              <a:gd name="connsiteY15" fmla="*/ 308843 h 1970826"/>
              <a:gd name="connsiteX16" fmla="*/ 1558001 w 1971297"/>
              <a:gd name="connsiteY16" fmla="*/ 178940 h 1970826"/>
              <a:gd name="connsiteX17" fmla="*/ 1681671 w 1971297"/>
              <a:gd name="connsiteY17" fmla="*/ 282712 h 1970826"/>
              <a:gd name="connsiteX18" fmla="*/ 1580623 w 1971297"/>
              <a:gd name="connsiteY18" fmla="*/ 457722 h 1970826"/>
              <a:gd name="connsiteX19" fmla="*/ 1610608 w 1971297"/>
              <a:gd name="connsiteY19" fmla="*/ 499270 h 1970826"/>
              <a:gd name="connsiteX20" fmla="*/ 1802874 w 1971297"/>
              <a:gd name="connsiteY20" fmla="*/ 433067 h 1970826"/>
              <a:gd name="connsiteX21" fmla="*/ 1881963 w 1971297"/>
              <a:gd name="connsiteY21" fmla="*/ 572248 h 1970826"/>
              <a:gd name="connsiteX22" fmla="*/ 1726590 w 1971297"/>
              <a:gd name="connsiteY22" fmla="*/ 698353 h 1970826"/>
              <a:gd name="connsiteX23" fmla="*/ 1741176 w 1971297"/>
              <a:gd name="connsiteY23" fmla="*/ 735808 h 1970826"/>
              <a:gd name="connsiteX24" fmla="*/ 1943264 w 1971297"/>
              <a:gd name="connsiteY24" fmla="*/ 735802 h 1970826"/>
              <a:gd name="connsiteX25" fmla="*/ 1971297 w 1971297"/>
              <a:gd name="connsiteY25" fmla="*/ 894790 h 1970826"/>
              <a:gd name="connsiteX26" fmla="*/ 1781396 w 1971297"/>
              <a:gd name="connsiteY26" fmla="*/ 963903 h 1970826"/>
              <a:gd name="connsiteX27" fmla="*/ 1780264 w 1971297"/>
              <a:gd name="connsiteY27" fmla="*/ 1014677 h 1970826"/>
              <a:gd name="connsiteX28" fmla="*/ 1969010 w 1971297"/>
              <a:gd name="connsiteY28" fmla="*/ 1087130 h 1970826"/>
              <a:gd name="connsiteX29" fmla="*/ 1940132 w 1971297"/>
              <a:gd name="connsiteY29" fmla="*/ 1244586 h 1970826"/>
              <a:gd name="connsiteX30" fmla="*/ 1738798 w 1971297"/>
              <a:gd name="connsiteY30" fmla="*/ 1241295 h 1970826"/>
              <a:gd name="connsiteX31" fmla="*/ 1725636 w 1971297"/>
              <a:gd name="connsiteY31" fmla="*/ 1280130 h 1970826"/>
              <a:gd name="connsiteX32" fmla="*/ 1880447 w 1971297"/>
              <a:gd name="connsiteY32" fmla="*/ 1410026 h 1970826"/>
              <a:gd name="connsiteX33" fmla="*/ 1799727 w 1971297"/>
              <a:gd name="connsiteY33" fmla="*/ 1549837 h 1970826"/>
              <a:gd name="connsiteX34" fmla="*/ 1609829 w 1971297"/>
              <a:gd name="connsiteY34" fmla="*/ 1480714 h 1970826"/>
              <a:gd name="connsiteX35" fmla="*/ 1579151 w 1971297"/>
              <a:gd name="connsiteY35" fmla="*/ 1512281 h 1970826"/>
              <a:gd name="connsiteX36" fmla="*/ 1677610 w 1971297"/>
              <a:gd name="connsiteY36" fmla="*/ 1689905 h 1970826"/>
              <a:gd name="connsiteX37" fmla="*/ 1554277 w 1971297"/>
              <a:gd name="connsiteY37" fmla="*/ 1791961 h 1970826"/>
              <a:gd name="connsiteX38" fmla="*/ 1402854 w 1971297"/>
              <a:gd name="connsiteY38" fmla="*/ 1660626 h 1970826"/>
              <a:gd name="connsiteX39" fmla="*/ 1363848 w 1971297"/>
              <a:gd name="connsiteY39" fmla="*/ 1687117 h 1970826"/>
              <a:gd name="connsiteX40" fmla="*/ 1398945 w 1971297"/>
              <a:gd name="connsiteY40" fmla="*/ 1886133 h 1970826"/>
              <a:gd name="connsiteX41" fmla="*/ 1247240 w 1971297"/>
              <a:gd name="connsiteY41" fmla="*/ 1941349 h 1970826"/>
              <a:gd name="connsiteX42" fmla="*/ 1146202 w 1971297"/>
              <a:gd name="connsiteY42" fmla="*/ 1766334 h 1970826"/>
              <a:gd name="connsiteX43" fmla="*/ 1100680 w 1971297"/>
              <a:gd name="connsiteY43" fmla="*/ 1773318 h 1970826"/>
              <a:gd name="connsiteX44" fmla="*/ 1062288 w 1971297"/>
              <a:gd name="connsiteY44" fmla="*/ 1970826 h 1970826"/>
              <a:gd name="connsiteX45" fmla="*/ 902210 w 1971297"/>
              <a:gd name="connsiteY45" fmla="*/ 1969728 h 1970826"/>
              <a:gd name="connsiteX46" fmla="*/ 870884 w 1971297"/>
              <a:gd name="connsiteY46" fmla="*/ 1773359 h 1970826"/>
              <a:gd name="connsiteX47" fmla="*/ 825096 w 1971297"/>
              <a:gd name="connsiteY47" fmla="*/ 1766334 h 1970826"/>
              <a:gd name="connsiteX48" fmla="*/ 724057 w 1971297"/>
              <a:gd name="connsiteY48" fmla="*/ 1941349 h 1970826"/>
              <a:gd name="connsiteX49" fmla="*/ 572352 w 1971297"/>
              <a:gd name="connsiteY49" fmla="*/ 1886133 h 1970826"/>
              <a:gd name="connsiteX50" fmla="*/ 607450 w 1971297"/>
              <a:gd name="connsiteY50" fmla="*/ 1687117 h 1970826"/>
              <a:gd name="connsiteX51" fmla="*/ 571181 w 1971297"/>
              <a:gd name="connsiteY51" fmla="*/ 1662485 h 1970826"/>
              <a:gd name="connsiteX52" fmla="*/ 421150 w 1971297"/>
              <a:gd name="connsiteY52" fmla="*/ 1792613 h 1970826"/>
              <a:gd name="connsiteX53" fmla="*/ 297817 w 1971297"/>
              <a:gd name="connsiteY53" fmla="*/ 1690557 h 1970826"/>
              <a:gd name="connsiteX54" fmla="*/ 395006 w 1971297"/>
              <a:gd name="connsiteY54" fmla="*/ 1515223 h 1970826"/>
              <a:gd name="connsiteX55" fmla="*/ 361468 w 1971297"/>
              <a:gd name="connsiteY55" fmla="*/ 1480715 h 1970826"/>
              <a:gd name="connsiteX56" fmla="*/ 171570 w 1971297"/>
              <a:gd name="connsiteY56" fmla="*/ 1549837 h 1970826"/>
              <a:gd name="connsiteX57" fmla="*/ 90850 w 1971297"/>
              <a:gd name="connsiteY57" fmla="*/ 1410026 h 1970826"/>
              <a:gd name="connsiteX58" fmla="*/ 245661 w 1971297"/>
              <a:gd name="connsiteY58" fmla="*/ 1280131 h 1970826"/>
              <a:gd name="connsiteX59" fmla="*/ 233972 w 1971297"/>
              <a:gd name="connsiteY59" fmla="*/ 1245643 h 1970826"/>
              <a:gd name="connsiteX60" fmla="*/ 31451 w 1971297"/>
              <a:gd name="connsiteY60" fmla="*/ 1248953 h 1970826"/>
              <a:gd name="connsiteX61" fmla="*/ 2573 w 1971297"/>
              <a:gd name="connsiteY61" fmla="*/ 1091497 h 1970826"/>
              <a:gd name="connsiteX62" fmla="*/ 191133 w 1971297"/>
              <a:gd name="connsiteY62" fmla="*/ 1019115 h 1970826"/>
              <a:gd name="connsiteX63" fmla="*/ 189902 w 1971297"/>
              <a:gd name="connsiteY63" fmla="*/ 963904 h 1970826"/>
              <a:gd name="connsiteX64" fmla="*/ 0 w 1971297"/>
              <a:gd name="connsiteY64" fmla="*/ 894790 h 1970826"/>
              <a:gd name="connsiteX65" fmla="*/ 28034 w 1971297"/>
              <a:gd name="connsiteY65" fmla="*/ 735802 h 1970826"/>
              <a:gd name="connsiteX66" fmla="*/ 230121 w 1971297"/>
              <a:gd name="connsiteY66" fmla="*/ 735808 h 1970826"/>
              <a:gd name="connsiteX67" fmla="*/ 240919 w 1971297"/>
              <a:gd name="connsiteY67" fmla="*/ 708079 h 1970826"/>
              <a:gd name="connsiteX68" fmla="*/ 84936 w 1971297"/>
              <a:gd name="connsiteY68" fmla="*/ 585933 h 1970826"/>
              <a:gd name="connsiteX69" fmla="*/ 161584 w 1971297"/>
              <a:gd name="connsiteY69" fmla="*/ 445393 h 1970826"/>
              <a:gd name="connsiteX70" fmla="*/ 354366 w 1971297"/>
              <a:gd name="connsiteY70" fmla="*/ 508031 h 1970826"/>
              <a:gd name="connsiteX71" fmla="*/ 390674 w 1971297"/>
              <a:gd name="connsiteY71" fmla="*/ 457722 h 1970826"/>
              <a:gd name="connsiteX72" fmla="*/ 289626 w 1971297"/>
              <a:gd name="connsiteY72" fmla="*/ 282712 h 1970826"/>
              <a:gd name="connsiteX73" fmla="*/ 413297 w 1971297"/>
              <a:gd name="connsiteY73" fmla="*/ 178940 h 1970826"/>
              <a:gd name="connsiteX74" fmla="*/ 568101 w 1971297"/>
              <a:gd name="connsiteY74" fmla="*/ 308843 h 1970826"/>
              <a:gd name="connsiteX75" fmla="*/ 611018 w 1971297"/>
              <a:gd name="connsiteY75" fmla="*/ 285324 h 1970826"/>
              <a:gd name="connsiteX76" fmla="*/ 576674 w 1971297"/>
              <a:gd name="connsiteY76" fmla="*/ 89277 h 1970826"/>
              <a:gd name="connsiteX77" fmla="*/ 727674 w 1971297"/>
              <a:gd name="connsiteY77" fmla="*/ 36123 h 1970826"/>
              <a:gd name="connsiteX78" fmla="*/ 826689 w 1971297"/>
              <a:gd name="connsiteY78" fmla="*/ 207623 h 1970826"/>
              <a:gd name="connsiteX79" fmla="*/ 869841 w 1971297"/>
              <a:gd name="connsiteY79" fmla="*/ 199018 h 1970826"/>
              <a:gd name="connsiteX80" fmla="*/ 904928 w 1971297"/>
              <a:gd name="connsiteY80"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1648717 w 1971297"/>
              <a:gd name="connsiteY3" fmla="*/ 986621 h 1970826"/>
              <a:gd name="connsiteX4" fmla="*/ 985649 w 1971297"/>
              <a:gd name="connsiteY4" fmla="*/ 323553 h 1970826"/>
              <a:gd name="connsiteX5" fmla="*/ 904928 w 1971297"/>
              <a:gd name="connsiteY5" fmla="*/ 0 h 1970826"/>
              <a:gd name="connsiteX6" fmla="*/ 1066369 w 1971297"/>
              <a:gd name="connsiteY6" fmla="*/ 0 h 1970826"/>
              <a:gd name="connsiteX7" fmla="*/ 1101456 w 1971297"/>
              <a:gd name="connsiteY7" fmla="*/ 199018 h 1970826"/>
              <a:gd name="connsiteX8" fmla="*/ 1149113 w 1971297"/>
              <a:gd name="connsiteY8" fmla="*/ 208521 h 1970826"/>
              <a:gd name="connsiteX9" fmla="*/ 1245734 w 1971297"/>
              <a:gd name="connsiteY9" fmla="*/ 36367 h 1970826"/>
              <a:gd name="connsiteX10" fmla="*/ 1396309 w 1971297"/>
              <a:gd name="connsiteY10" fmla="*/ 90716 h 1970826"/>
              <a:gd name="connsiteX11" fmla="*/ 1364293 w 1971297"/>
              <a:gd name="connsiteY11" fmla="*/ 287523 h 1970826"/>
              <a:gd name="connsiteX12" fmla="*/ 1403197 w 1971297"/>
              <a:gd name="connsiteY12" fmla="*/ 308843 h 1970826"/>
              <a:gd name="connsiteX13" fmla="*/ 1558001 w 1971297"/>
              <a:gd name="connsiteY13" fmla="*/ 178940 h 1970826"/>
              <a:gd name="connsiteX14" fmla="*/ 1681671 w 1971297"/>
              <a:gd name="connsiteY14" fmla="*/ 282712 h 1970826"/>
              <a:gd name="connsiteX15" fmla="*/ 1580623 w 1971297"/>
              <a:gd name="connsiteY15" fmla="*/ 457722 h 1970826"/>
              <a:gd name="connsiteX16" fmla="*/ 1610608 w 1971297"/>
              <a:gd name="connsiteY16" fmla="*/ 499270 h 1970826"/>
              <a:gd name="connsiteX17" fmla="*/ 1802874 w 1971297"/>
              <a:gd name="connsiteY17" fmla="*/ 433067 h 1970826"/>
              <a:gd name="connsiteX18" fmla="*/ 1881963 w 1971297"/>
              <a:gd name="connsiteY18" fmla="*/ 572248 h 1970826"/>
              <a:gd name="connsiteX19" fmla="*/ 1726590 w 1971297"/>
              <a:gd name="connsiteY19" fmla="*/ 698353 h 1970826"/>
              <a:gd name="connsiteX20" fmla="*/ 1741176 w 1971297"/>
              <a:gd name="connsiteY20" fmla="*/ 735808 h 1970826"/>
              <a:gd name="connsiteX21" fmla="*/ 1943264 w 1971297"/>
              <a:gd name="connsiteY21" fmla="*/ 735802 h 1970826"/>
              <a:gd name="connsiteX22" fmla="*/ 1971297 w 1971297"/>
              <a:gd name="connsiteY22" fmla="*/ 894790 h 1970826"/>
              <a:gd name="connsiteX23" fmla="*/ 1781396 w 1971297"/>
              <a:gd name="connsiteY23" fmla="*/ 963903 h 1970826"/>
              <a:gd name="connsiteX24" fmla="*/ 1780264 w 1971297"/>
              <a:gd name="connsiteY24" fmla="*/ 1014677 h 1970826"/>
              <a:gd name="connsiteX25" fmla="*/ 1969010 w 1971297"/>
              <a:gd name="connsiteY25" fmla="*/ 1087130 h 1970826"/>
              <a:gd name="connsiteX26" fmla="*/ 1940132 w 1971297"/>
              <a:gd name="connsiteY26" fmla="*/ 1244586 h 1970826"/>
              <a:gd name="connsiteX27" fmla="*/ 1738798 w 1971297"/>
              <a:gd name="connsiteY27" fmla="*/ 1241295 h 1970826"/>
              <a:gd name="connsiteX28" fmla="*/ 1725636 w 1971297"/>
              <a:gd name="connsiteY28" fmla="*/ 1280130 h 1970826"/>
              <a:gd name="connsiteX29" fmla="*/ 1880447 w 1971297"/>
              <a:gd name="connsiteY29" fmla="*/ 1410026 h 1970826"/>
              <a:gd name="connsiteX30" fmla="*/ 1799727 w 1971297"/>
              <a:gd name="connsiteY30" fmla="*/ 1549837 h 1970826"/>
              <a:gd name="connsiteX31" fmla="*/ 1609829 w 1971297"/>
              <a:gd name="connsiteY31" fmla="*/ 1480714 h 1970826"/>
              <a:gd name="connsiteX32" fmla="*/ 1579151 w 1971297"/>
              <a:gd name="connsiteY32" fmla="*/ 1512281 h 1970826"/>
              <a:gd name="connsiteX33" fmla="*/ 1677610 w 1971297"/>
              <a:gd name="connsiteY33" fmla="*/ 1689905 h 1970826"/>
              <a:gd name="connsiteX34" fmla="*/ 1554277 w 1971297"/>
              <a:gd name="connsiteY34" fmla="*/ 1791961 h 1970826"/>
              <a:gd name="connsiteX35" fmla="*/ 1402854 w 1971297"/>
              <a:gd name="connsiteY35" fmla="*/ 1660626 h 1970826"/>
              <a:gd name="connsiteX36" fmla="*/ 1363848 w 1971297"/>
              <a:gd name="connsiteY36" fmla="*/ 1687117 h 1970826"/>
              <a:gd name="connsiteX37" fmla="*/ 1398945 w 1971297"/>
              <a:gd name="connsiteY37" fmla="*/ 1886133 h 1970826"/>
              <a:gd name="connsiteX38" fmla="*/ 1247240 w 1971297"/>
              <a:gd name="connsiteY38" fmla="*/ 1941349 h 1970826"/>
              <a:gd name="connsiteX39" fmla="*/ 1146202 w 1971297"/>
              <a:gd name="connsiteY39" fmla="*/ 1766334 h 1970826"/>
              <a:gd name="connsiteX40" fmla="*/ 1100680 w 1971297"/>
              <a:gd name="connsiteY40" fmla="*/ 1773318 h 1970826"/>
              <a:gd name="connsiteX41" fmla="*/ 1062288 w 1971297"/>
              <a:gd name="connsiteY41" fmla="*/ 1970826 h 1970826"/>
              <a:gd name="connsiteX42" fmla="*/ 902210 w 1971297"/>
              <a:gd name="connsiteY42" fmla="*/ 1969728 h 1970826"/>
              <a:gd name="connsiteX43" fmla="*/ 870884 w 1971297"/>
              <a:gd name="connsiteY43" fmla="*/ 1773359 h 1970826"/>
              <a:gd name="connsiteX44" fmla="*/ 825096 w 1971297"/>
              <a:gd name="connsiteY44" fmla="*/ 1766334 h 1970826"/>
              <a:gd name="connsiteX45" fmla="*/ 724057 w 1971297"/>
              <a:gd name="connsiteY45" fmla="*/ 1941349 h 1970826"/>
              <a:gd name="connsiteX46" fmla="*/ 572352 w 1971297"/>
              <a:gd name="connsiteY46" fmla="*/ 1886133 h 1970826"/>
              <a:gd name="connsiteX47" fmla="*/ 607450 w 1971297"/>
              <a:gd name="connsiteY47" fmla="*/ 1687117 h 1970826"/>
              <a:gd name="connsiteX48" fmla="*/ 571181 w 1971297"/>
              <a:gd name="connsiteY48" fmla="*/ 1662485 h 1970826"/>
              <a:gd name="connsiteX49" fmla="*/ 421150 w 1971297"/>
              <a:gd name="connsiteY49" fmla="*/ 1792613 h 1970826"/>
              <a:gd name="connsiteX50" fmla="*/ 297817 w 1971297"/>
              <a:gd name="connsiteY50" fmla="*/ 1690557 h 1970826"/>
              <a:gd name="connsiteX51" fmla="*/ 395006 w 1971297"/>
              <a:gd name="connsiteY51" fmla="*/ 1515223 h 1970826"/>
              <a:gd name="connsiteX52" fmla="*/ 361468 w 1971297"/>
              <a:gd name="connsiteY52" fmla="*/ 1480715 h 1970826"/>
              <a:gd name="connsiteX53" fmla="*/ 171570 w 1971297"/>
              <a:gd name="connsiteY53" fmla="*/ 1549837 h 1970826"/>
              <a:gd name="connsiteX54" fmla="*/ 90850 w 1971297"/>
              <a:gd name="connsiteY54" fmla="*/ 1410026 h 1970826"/>
              <a:gd name="connsiteX55" fmla="*/ 245661 w 1971297"/>
              <a:gd name="connsiteY55" fmla="*/ 1280131 h 1970826"/>
              <a:gd name="connsiteX56" fmla="*/ 233972 w 1971297"/>
              <a:gd name="connsiteY56" fmla="*/ 1245643 h 1970826"/>
              <a:gd name="connsiteX57" fmla="*/ 31451 w 1971297"/>
              <a:gd name="connsiteY57" fmla="*/ 1248953 h 1970826"/>
              <a:gd name="connsiteX58" fmla="*/ 2573 w 1971297"/>
              <a:gd name="connsiteY58" fmla="*/ 1091497 h 1970826"/>
              <a:gd name="connsiteX59" fmla="*/ 191133 w 1971297"/>
              <a:gd name="connsiteY59" fmla="*/ 1019115 h 1970826"/>
              <a:gd name="connsiteX60" fmla="*/ 189902 w 1971297"/>
              <a:gd name="connsiteY60" fmla="*/ 963904 h 1970826"/>
              <a:gd name="connsiteX61" fmla="*/ 0 w 1971297"/>
              <a:gd name="connsiteY61" fmla="*/ 894790 h 1970826"/>
              <a:gd name="connsiteX62" fmla="*/ 28034 w 1971297"/>
              <a:gd name="connsiteY62" fmla="*/ 735802 h 1970826"/>
              <a:gd name="connsiteX63" fmla="*/ 230121 w 1971297"/>
              <a:gd name="connsiteY63" fmla="*/ 735808 h 1970826"/>
              <a:gd name="connsiteX64" fmla="*/ 240919 w 1971297"/>
              <a:gd name="connsiteY64" fmla="*/ 708079 h 1970826"/>
              <a:gd name="connsiteX65" fmla="*/ 84936 w 1971297"/>
              <a:gd name="connsiteY65" fmla="*/ 585933 h 1970826"/>
              <a:gd name="connsiteX66" fmla="*/ 161584 w 1971297"/>
              <a:gd name="connsiteY66" fmla="*/ 445393 h 1970826"/>
              <a:gd name="connsiteX67" fmla="*/ 354366 w 1971297"/>
              <a:gd name="connsiteY67" fmla="*/ 508031 h 1970826"/>
              <a:gd name="connsiteX68" fmla="*/ 390674 w 1971297"/>
              <a:gd name="connsiteY68" fmla="*/ 457722 h 1970826"/>
              <a:gd name="connsiteX69" fmla="*/ 289626 w 1971297"/>
              <a:gd name="connsiteY69" fmla="*/ 282712 h 1970826"/>
              <a:gd name="connsiteX70" fmla="*/ 413297 w 1971297"/>
              <a:gd name="connsiteY70" fmla="*/ 178940 h 1970826"/>
              <a:gd name="connsiteX71" fmla="*/ 568101 w 1971297"/>
              <a:gd name="connsiteY71" fmla="*/ 308843 h 1970826"/>
              <a:gd name="connsiteX72" fmla="*/ 611018 w 1971297"/>
              <a:gd name="connsiteY72" fmla="*/ 285324 h 1970826"/>
              <a:gd name="connsiteX73" fmla="*/ 576674 w 1971297"/>
              <a:gd name="connsiteY73" fmla="*/ 89277 h 1970826"/>
              <a:gd name="connsiteX74" fmla="*/ 727674 w 1971297"/>
              <a:gd name="connsiteY74" fmla="*/ 36123 h 1970826"/>
              <a:gd name="connsiteX75" fmla="*/ 826689 w 1971297"/>
              <a:gd name="connsiteY75" fmla="*/ 207623 h 1970826"/>
              <a:gd name="connsiteX76" fmla="*/ 869841 w 1971297"/>
              <a:gd name="connsiteY76" fmla="*/ 199018 h 1970826"/>
              <a:gd name="connsiteX77" fmla="*/ 904928 w 1971297"/>
              <a:gd name="connsiteY77"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985649 w 1971297"/>
              <a:gd name="connsiteY3" fmla="*/ 323553 h 1970826"/>
              <a:gd name="connsiteX4" fmla="*/ 904928 w 1971297"/>
              <a:gd name="connsiteY4" fmla="*/ 0 h 1970826"/>
              <a:gd name="connsiteX5" fmla="*/ 1066369 w 1971297"/>
              <a:gd name="connsiteY5" fmla="*/ 0 h 1970826"/>
              <a:gd name="connsiteX6" fmla="*/ 1101456 w 1971297"/>
              <a:gd name="connsiteY6" fmla="*/ 199018 h 1970826"/>
              <a:gd name="connsiteX7" fmla="*/ 1149113 w 1971297"/>
              <a:gd name="connsiteY7" fmla="*/ 208521 h 1970826"/>
              <a:gd name="connsiteX8" fmla="*/ 1245734 w 1971297"/>
              <a:gd name="connsiteY8" fmla="*/ 36367 h 1970826"/>
              <a:gd name="connsiteX9" fmla="*/ 1396309 w 1971297"/>
              <a:gd name="connsiteY9" fmla="*/ 90716 h 1970826"/>
              <a:gd name="connsiteX10" fmla="*/ 1364293 w 1971297"/>
              <a:gd name="connsiteY10" fmla="*/ 287523 h 1970826"/>
              <a:gd name="connsiteX11" fmla="*/ 1403197 w 1971297"/>
              <a:gd name="connsiteY11" fmla="*/ 308843 h 1970826"/>
              <a:gd name="connsiteX12" fmla="*/ 1558001 w 1971297"/>
              <a:gd name="connsiteY12" fmla="*/ 178940 h 1970826"/>
              <a:gd name="connsiteX13" fmla="*/ 1681671 w 1971297"/>
              <a:gd name="connsiteY13" fmla="*/ 282712 h 1970826"/>
              <a:gd name="connsiteX14" fmla="*/ 1580623 w 1971297"/>
              <a:gd name="connsiteY14" fmla="*/ 457722 h 1970826"/>
              <a:gd name="connsiteX15" fmla="*/ 1610608 w 1971297"/>
              <a:gd name="connsiteY15" fmla="*/ 499270 h 1970826"/>
              <a:gd name="connsiteX16" fmla="*/ 1802874 w 1971297"/>
              <a:gd name="connsiteY16" fmla="*/ 433067 h 1970826"/>
              <a:gd name="connsiteX17" fmla="*/ 1881963 w 1971297"/>
              <a:gd name="connsiteY17" fmla="*/ 572248 h 1970826"/>
              <a:gd name="connsiteX18" fmla="*/ 1726590 w 1971297"/>
              <a:gd name="connsiteY18" fmla="*/ 698353 h 1970826"/>
              <a:gd name="connsiteX19" fmla="*/ 1741176 w 1971297"/>
              <a:gd name="connsiteY19" fmla="*/ 735808 h 1970826"/>
              <a:gd name="connsiteX20" fmla="*/ 1943264 w 1971297"/>
              <a:gd name="connsiteY20" fmla="*/ 735802 h 1970826"/>
              <a:gd name="connsiteX21" fmla="*/ 1971297 w 1971297"/>
              <a:gd name="connsiteY21" fmla="*/ 894790 h 1970826"/>
              <a:gd name="connsiteX22" fmla="*/ 1781396 w 1971297"/>
              <a:gd name="connsiteY22" fmla="*/ 963903 h 1970826"/>
              <a:gd name="connsiteX23" fmla="*/ 1780264 w 1971297"/>
              <a:gd name="connsiteY23" fmla="*/ 1014677 h 1970826"/>
              <a:gd name="connsiteX24" fmla="*/ 1969010 w 1971297"/>
              <a:gd name="connsiteY24" fmla="*/ 1087130 h 1970826"/>
              <a:gd name="connsiteX25" fmla="*/ 1940132 w 1971297"/>
              <a:gd name="connsiteY25" fmla="*/ 1244586 h 1970826"/>
              <a:gd name="connsiteX26" fmla="*/ 1738798 w 1971297"/>
              <a:gd name="connsiteY26" fmla="*/ 1241295 h 1970826"/>
              <a:gd name="connsiteX27" fmla="*/ 1725636 w 1971297"/>
              <a:gd name="connsiteY27" fmla="*/ 1280130 h 1970826"/>
              <a:gd name="connsiteX28" fmla="*/ 1880447 w 1971297"/>
              <a:gd name="connsiteY28" fmla="*/ 1410026 h 1970826"/>
              <a:gd name="connsiteX29" fmla="*/ 1799727 w 1971297"/>
              <a:gd name="connsiteY29" fmla="*/ 1549837 h 1970826"/>
              <a:gd name="connsiteX30" fmla="*/ 1609829 w 1971297"/>
              <a:gd name="connsiteY30" fmla="*/ 1480714 h 1970826"/>
              <a:gd name="connsiteX31" fmla="*/ 1579151 w 1971297"/>
              <a:gd name="connsiteY31" fmla="*/ 1512281 h 1970826"/>
              <a:gd name="connsiteX32" fmla="*/ 1677610 w 1971297"/>
              <a:gd name="connsiteY32" fmla="*/ 1689905 h 1970826"/>
              <a:gd name="connsiteX33" fmla="*/ 1554277 w 1971297"/>
              <a:gd name="connsiteY33" fmla="*/ 1791961 h 1970826"/>
              <a:gd name="connsiteX34" fmla="*/ 1402854 w 1971297"/>
              <a:gd name="connsiteY34" fmla="*/ 1660626 h 1970826"/>
              <a:gd name="connsiteX35" fmla="*/ 1363848 w 1971297"/>
              <a:gd name="connsiteY35" fmla="*/ 1687117 h 1970826"/>
              <a:gd name="connsiteX36" fmla="*/ 1398945 w 1971297"/>
              <a:gd name="connsiteY36" fmla="*/ 1886133 h 1970826"/>
              <a:gd name="connsiteX37" fmla="*/ 1247240 w 1971297"/>
              <a:gd name="connsiteY37" fmla="*/ 1941349 h 1970826"/>
              <a:gd name="connsiteX38" fmla="*/ 1146202 w 1971297"/>
              <a:gd name="connsiteY38" fmla="*/ 1766334 h 1970826"/>
              <a:gd name="connsiteX39" fmla="*/ 1100680 w 1971297"/>
              <a:gd name="connsiteY39" fmla="*/ 1773318 h 1970826"/>
              <a:gd name="connsiteX40" fmla="*/ 1062288 w 1971297"/>
              <a:gd name="connsiteY40" fmla="*/ 1970826 h 1970826"/>
              <a:gd name="connsiteX41" fmla="*/ 902210 w 1971297"/>
              <a:gd name="connsiteY41" fmla="*/ 1969728 h 1970826"/>
              <a:gd name="connsiteX42" fmla="*/ 870884 w 1971297"/>
              <a:gd name="connsiteY42" fmla="*/ 1773359 h 1970826"/>
              <a:gd name="connsiteX43" fmla="*/ 825096 w 1971297"/>
              <a:gd name="connsiteY43" fmla="*/ 1766334 h 1970826"/>
              <a:gd name="connsiteX44" fmla="*/ 724057 w 1971297"/>
              <a:gd name="connsiteY44" fmla="*/ 1941349 h 1970826"/>
              <a:gd name="connsiteX45" fmla="*/ 572352 w 1971297"/>
              <a:gd name="connsiteY45" fmla="*/ 1886133 h 1970826"/>
              <a:gd name="connsiteX46" fmla="*/ 607450 w 1971297"/>
              <a:gd name="connsiteY46" fmla="*/ 1687117 h 1970826"/>
              <a:gd name="connsiteX47" fmla="*/ 571181 w 1971297"/>
              <a:gd name="connsiteY47" fmla="*/ 1662485 h 1970826"/>
              <a:gd name="connsiteX48" fmla="*/ 421150 w 1971297"/>
              <a:gd name="connsiteY48" fmla="*/ 1792613 h 1970826"/>
              <a:gd name="connsiteX49" fmla="*/ 297817 w 1971297"/>
              <a:gd name="connsiteY49" fmla="*/ 1690557 h 1970826"/>
              <a:gd name="connsiteX50" fmla="*/ 395006 w 1971297"/>
              <a:gd name="connsiteY50" fmla="*/ 1515223 h 1970826"/>
              <a:gd name="connsiteX51" fmla="*/ 361468 w 1971297"/>
              <a:gd name="connsiteY51" fmla="*/ 1480715 h 1970826"/>
              <a:gd name="connsiteX52" fmla="*/ 171570 w 1971297"/>
              <a:gd name="connsiteY52" fmla="*/ 1549837 h 1970826"/>
              <a:gd name="connsiteX53" fmla="*/ 90850 w 1971297"/>
              <a:gd name="connsiteY53" fmla="*/ 1410026 h 1970826"/>
              <a:gd name="connsiteX54" fmla="*/ 245661 w 1971297"/>
              <a:gd name="connsiteY54" fmla="*/ 1280131 h 1970826"/>
              <a:gd name="connsiteX55" fmla="*/ 233972 w 1971297"/>
              <a:gd name="connsiteY55" fmla="*/ 1245643 h 1970826"/>
              <a:gd name="connsiteX56" fmla="*/ 31451 w 1971297"/>
              <a:gd name="connsiteY56" fmla="*/ 1248953 h 1970826"/>
              <a:gd name="connsiteX57" fmla="*/ 2573 w 1971297"/>
              <a:gd name="connsiteY57" fmla="*/ 1091497 h 1970826"/>
              <a:gd name="connsiteX58" fmla="*/ 191133 w 1971297"/>
              <a:gd name="connsiteY58" fmla="*/ 1019115 h 1970826"/>
              <a:gd name="connsiteX59" fmla="*/ 189902 w 1971297"/>
              <a:gd name="connsiteY59" fmla="*/ 963904 h 1970826"/>
              <a:gd name="connsiteX60" fmla="*/ 0 w 1971297"/>
              <a:gd name="connsiteY60" fmla="*/ 894790 h 1970826"/>
              <a:gd name="connsiteX61" fmla="*/ 28034 w 1971297"/>
              <a:gd name="connsiteY61" fmla="*/ 735802 h 1970826"/>
              <a:gd name="connsiteX62" fmla="*/ 230121 w 1971297"/>
              <a:gd name="connsiteY62" fmla="*/ 735808 h 1970826"/>
              <a:gd name="connsiteX63" fmla="*/ 240919 w 1971297"/>
              <a:gd name="connsiteY63" fmla="*/ 708079 h 1970826"/>
              <a:gd name="connsiteX64" fmla="*/ 84936 w 1971297"/>
              <a:gd name="connsiteY64" fmla="*/ 585933 h 1970826"/>
              <a:gd name="connsiteX65" fmla="*/ 161584 w 1971297"/>
              <a:gd name="connsiteY65" fmla="*/ 445393 h 1970826"/>
              <a:gd name="connsiteX66" fmla="*/ 354366 w 1971297"/>
              <a:gd name="connsiteY66" fmla="*/ 508031 h 1970826"/>
              <a:gd name="connsiteX67" fmla="*/ 390674 w 1971297"/>
              <a:gd name="connsiteY67" fmla="*/ 457722 h 1970826"/>
              <a:gd name="connsiteX68" fmla="*/ 289626 w 1971297"/>
              <a:gd name="connsiteY68" fmla="*/ 282712 h 1970826"/>
              <a:gd name="connsiteX69" fmla="*/ 413297 w 1971297"/>
              <a:gd name="connsiteY69" fmla="*/ 178940 h 1970826"/>
              <a:gd name="connsiteX70" fmla="*/ 568101 w 1971297"/>
              <a:gd name="connsiteY70" fmla="*/ 308843 h 1970826"/>
              <a:gd name="connsiteX71" fmla="*/ 611018 w 1971297"/>
              <a:gd name="connsiteY71" fmla="*/ 285324 h 1970826"/>
              <a:gd name="connsiteX72" fmla="*/ 576674 w 1971297"/>
              <a:gd name="connsiteY72" fmla="*/ 89277 h 1970826"/>
              <a:gd name="connsiteX73" fmla="*/ 727674 w 1971297"/>
              <a:gd name="connsiteY73" fmla="*/ 36123 h 1970826"/>
              <a:gd name="connsiteX74" fmla="*/ 826689 w 1971297"/>
              <a:gd name="connsiteY74" fmla="*/ 207623 h 1970826"/>
              <a:gd name="connsiteX75" fmla="*/ 869841 w 1971297"/>
              <a:gd name="connsiteY75" fmla="*/ 199018 h 1970826"/>
              <a:gd name="connsiteX76" fmla="*/ 904928 w 1971297"/>
              <a:gd name="connsiteY76" fmla="*/ 0 h 1970826"/>
              <a:gd name="connsiteX0" fmla="*/ 985649 w 1971297"/>
              <a:gd name="connsiteY0" fmla="*/ 323553 h 1970826"/>
              <a:gd name="connsiteX1" fmla="*/ 322581 w 1971297"/>
              <a:gd name="connsiteY1" fmla="*/ 986621 h 1970826"/>
              <a:gd name="connsiteX2" fmla="*/ 985649 w 1971297"/>
              <a:gd name="connsiteY2" fmla="*/ 323553 h 1970826"/>
              <a:gd name="connsiteX3" fmla="*/ 904928 w 1971297"/>
              <a:gd name="connsiteY3" fmla="*/ 0 h 1970826"/>
              <a:gd name="connsiteX4" fmla="*/ 1066369 w 1971297"/>
              <a:gd name="connsiteY4" fmla="*/ 0 h 1970826"/>
              <a:gd name="connsiteX5" fmla="*/ 1101456 w 1971297"/>
              <a:gd name="connsiteY5" fmla="*/ 199018 h 1970826"/>
              <a:gd name="connsiteX6" fmla="*/ 1149113 w 1971297"/>
              <a:gd name="connsiteY6" fmla="*/ 208521 h 1970826"/>
              <a:gd name="connsiteX7" fmla="*/ 1245734 w 1971297"/>
              <a:gd name="connsiteY7" fmla="*/ 36367 h 1970826"/>
              <a:gd name="connsiteX8" fmla="*/ 1396309 w 1971297"/>
              <a:gd name="connsiteY8" fmla="*/ 90716 h 1970826"/>
              <a:gd name="connsiteX9" fmla="*/ 1364293 w 1971297"/>
              <a:gd name="connsiteY9" fmla="*/ 287523 h 1970826"/>
              <a:gd name="connsiteX10" fmla="*/ 1403197 w 1971297"/>
              <a:gd name="connsiteY10" fmla="*/ 308843 h 1970826"/>
              <a:gd name="connsiteX11" fmla="*/ 1558001 w 1971297"/>
              <a:gd name="connsiteY11" fmla="*/ 178940 h 1970826"/>
              <a:gd name="connsiteX12" fmla="*/ 1681671 w 1971297"/>
              <a:gd name="connsiteY12" fmla="*/ 282712 h 1970826"/>
              <a:gd name="connsiteX13" fmla="*/ 1580623 w 1971297"/>
              <a:gd name="connsiteY13" fmla="*/ 457722 h 1970826"/>
              <a:gd name="connsiteX14" fmla="*/ 1610608 w 1971297"/>
              <a:gd name="connsiteY14" fmla="*/ 499270 h 1970826"/>
              <a:gd name="connsiteX15" fmla="*/ 1802874 w 1971297"/>
              <a:gd name="connsiteY15" fmla="*/ 433067 h 1970826"/>
              <a:gd name="connsiteX16" fmla="*/ 1881963 w 1971297"/>
              <a:gd name="connsiteY16" fmla="*/ 572248 h 1970826"/>
              <a:gd name="connsiteX17" fmla="*/ 1726590 w 1971297"/>
              <a:gd name="connsiteY17" fmla="*/ 698353 h 1970826"/>
              <a:gd name="connsiteX18" fmla="*/ 1741176 w 1971297"/>
              <a:gd name="connsiteY18" fmla="*/ 735808 h 1970826"/>
              <a:gd name="connsiteX19" fmla="*/ 1943264 w 1971297"/>
              <a:gd name="connsiteY19" fmla="*/ 735802 h 1970826"/>
              <a:gd name="connsiteX20" fmla="*/ 1971297 w 1971297"/>
              <a:gd name="connsiteY20" fmla="*/ 894790 h 1970826"/>
              <a:gd name="connsiteX21" fmla="*/ 1781396 w 1971297"/>
              <a:gd name="connsiteY21" fmla="*/ 963903 h 1970826"/>
              <a:gd name="connsiteX22" fmla="*/ 1780264 w 1971297"/>
              <a:gd name="connsiteY22" fmla="*/ 1014677 h 1970826"/>
              <a:gd name="connsiteX23" fmla="*/ 1969010 w 1971297"/>
              <a:gd name="connsiteY23" fmla="*/ 1087130 h 1970826"/>
              <a:gd name="connsiteX24" fmla="*/ 1940132 w 1971297"/>
              <a:gd name="connsiteY24" fmla="*/ 1244586 h 1970826"/>
              <a:gd name="connsiteX25" fmla="*/ 1738798 w 1971297"/>
              <a:gd name="connsiteY25" fmla="*/ 1241295 h 1970826"/>
              <a:gd name="connsiteX26" fmla="*/ 1725636 w 1971297"/>
              <a:gd name="connsiteY26" fmla="*/ 1280130 h 1970826"/>
              <a:gd name="connsiteX27" fmla="*/ 1880447 w 1971297"/>
              <a:gd name="connsiteY27" fmla="*/ 1410026 h 1970826"/>
              <a:gd name="connsiteX28" fmla="*/ 1799727 w 1971297"/>
              <a:gd name="connsiteY28" fmla="*/ 1549837 h 1970826"/>
              <a:gd name="connsiteX29" fmla="*/ 1609829 w 1971297"/>
              <a:gd name="connsiteY29" fmla="*/ 1480714 h 1970826"/>
              <a:gd name="connsiteX30" fmla="*/ 1579151 w 1971297"/>
              <a:gd name="connsiteY30" fmla="*/ 1512281 h 1970826"/>
              <a:gd name="connsiteX31" fmla="*/ 1677610 w 1971297"/>
              <a:gd name="connsiteY31" fmla="*/ 1689905 h 1970826"/>
              <a:gd name="connsiteX32" fmla="*/ 1554277 w 1971297"/>
              <a:gd name="connsiteY32" fmla="*/ 1791961 h 1970826"/>
              <a:gd name="connsiteX33" fmla="*/ 1402854 w 1971297"/>
              <a:gd name="connsiteY33" fmla="*/ 1660626 h 1970826"/>
              <a:gd name="connsiteX34" fmla="*/ 1363848 w 1971297"/>
              <a:gd name="connsiteY34" fmla="*/ 1687117 h 1970826"/>
              <a:gd name="connsiteX35" fmla="*/ 1398945 w 1971297"/>
              <a:gd name="connsiteY35" fmla="*/ 1886133 h 1970826"/>
              <a:gd name="connsiteX36" fmla="*/ 1247240 w 1971297"/>
              <a:gd name="connsiteY36" fmla="*/ 1941349 h 1970826"/>
              <a:gd name="connsiteX37" fmla="*/ 1146202 w 1971297"/>
              <a:gd name="connsiteY37" fmla="*/ 1766334 h 1970826"/>
              <a:gd name="connsiteX38" fmla="*/ 1100680 w 1971297"/>
              <a:gd name="connsiteY38" fmla="*/ 1773318 h 1970826"/>
              <a:gd name="connsiteX39" fmla="*/ 1062288 w 1971297"/>
              <a:gd name="connsiteY39" fmla="*/ 1970826 h 1970826"/>
              <a:gd name="connsiteX40" fmla="*/ 902210 w 1971297"/>
              <a:gd name="connsiteY40" fmla="*/ 1969728 h 1970826"/>
              <a:gd name="connsiteX41" fmla="*/ 870884 w 1971297"/>
              <a:gd name="connsiteY41" fmla="*/ 1773359 h 1970826"/>
              <a:gd name="connsiteX42" fmla="*/ 825096 w 1971297"/>
              <a:gd name="connsiteY42" fmla="*/ 1766334 h 1970826"/>
              <a:gd name="connsiteX43" fmla="*/ 724057 w 1971297"/>
              <a:gd name="connsiteY43" fmla="*/ 1941349 h 1970826"/>
              <a:gd name="connsiteX44" fmla="*/ 572352 w 1971297"/>
              <a:gd name="connsiteY44" fmla="*/ 1886133 h 1970826"/>
              <a:gd name="connsiteX45" fmla="*/ 607450 w 1971297"/>
              <a:gd name="connsiteY45" fmla="*/ 1687117 h 1970826"/>
              <a:gd name="connsiteX46" fmla="*/ 571181 w 1971297"/>
              <a:gd name="connsiteY46" fmla="*/ 1662485 h 1970826"/>
              <a:gd name="connsiteX47" fmla="*/ 421150 w 1971297"/>
              <a:gd name="connsiteY47" fmla="*/ 1792613 h 1970826"/>
              <a:gd name="connsiteX48" fmla="*/ 297817 w 1971297"/>
              <a:gd name="connsiteY48" fmla="*/ 1690557 h 1970826"/>
              <a:gd name="connsiteX49" fmla="*/ 395006 w 1971297"/>
              <a:gd name="connsiteY49" fmla="*/ 1515223 h 1970826"/>
              <a:gd name="connsiteX50" fmla="*/ 361468 w 1971297"/>
              <a:gd name="connsiteY50" fmla="*/ 1480715 h 1970826"/>
              <a:gd name="connsiteX51" fmla="*/ 171570 w 1971297"/>
              <a:gd name="connsiteY51" fmla="*/ 1549837 h 1970826"/>
              <a:gd name="connsiteX52" fmla="*/ 90850 w 1971297"/>
              <a:gd name="connsiteY52" fmla="*/ 1410026 h 1970826"/>
              <a:gd name="connsiteX53" fmla="*/ 245661 w 1971297"/>
              <a:gd name="connsiteY53" fmla="*/ 1280131 h 1970826"/>
              <a:gd name="connsiteX54" fmla="*/ 233972 w 1971297"/>
              <a:gd name="connsiteY54" fmla="*/ 1245643 h 1970826"/>
              <a:gd name="connsiteX55" fmla="*/ 31451 w 1971297"/>
              <a:gd name="connsiteY55" fmla="*/ 1248953 h 1970826"/>
              <a:gd name="connsiteX56" fmla="*/ 2573 w 1971297"/>
              <a:gd name="connsiteY56" fmla="*/ 1091497 h 1970826"/>
              <a:gd name="connsiteX57" fmla="*/ 191133 w 1971297"/>
              <a:gd name="connsiteY57" fmla="*/ 1019115 h 1970826"/>
              <a:gd name="connsiteX58" fmla="*/ 189902 w 1971297"/>
              <a:gd name="connsiteY58" fmla="*/ 963904 h 1970826"/>
              <a:gd name="connsiteX59" fmla="*/ 0 w 1971297"/>
              <a:gd name="connsiteY59" fmla="*/ 894790 h 1970826"/>
              <a:gd name="connsiteX60" fmla="*/ 28034 w 1971297"/>
              <a:gd name="connsiteY60" fmla="*/ 735802 h 1970826"/>
              <a:gd name="connsiteX61" fmla="*/ 230121 w 1971297"/>
              <a:gd name="connsiteY61" fmla="*/ 735808 h 1970826"/>
              <a:gd name="connsiteX62" fmla="*/ 240919 w 1971297"/>
              <a:gd name="connsiteY62" fmla="*/ 708079 h 1970826"/>
              <a:gd name="connsiteX63" fmla="*/ 84936 w 1971297"/>
              <a:gd name="connsiteY63" fmla="*/ 585933 h 1970826"/>
              <a:gd name="connsiteX64" fmla="*/ 161584 w 1971297"/>
              <a:gd name="connsiteY64" fmla="*/ 445393 h 1970826"/>
              <a:gd name="connsiteX65" fmla="*/ 354366 w 1971297"/>
              <a:gd name="connsiteY65" fmla="*/ 508031 h 1970826"/>
              <a:gd name="connsiteX66" fmla="*/ 390674 w 1971297"/>
              <a:gd name="connsiteY66" fmla="*/ 457722 h 1970826"/>
              <a:gd name="connsiteX67" fmla="*/ 289626 w 1971297"/>
              <a:gd name="connsiteY67" fmla="*/ 282712 h 1970826"/>
              <a:gd name="connsiteX68" fmla="*/ 413297 w 1971297"/>
              <a:gd name="connsiteY68" fmla="*/ 178940 h 1970826"/>
              <a:gd name="connsiteX69" fmla="*/ 568101 w 1971297"/>
              <a:gd name="connsiteY69" fmla="*/ 308843 h 1970826"/>
              <a:gd name="connsiteX70" fmla="*/ 611018 w 1971297"/>
              <a:gd name="connsiteY70" fmla="*/ 285324 h 1970826"/>
              <a:gd name="connsiteX71" fmla="*/ 576674 w 1971297"/>
              <a:gd name="connsiteY71" fmla="*/ 89277 h 1970826"/>
              <a:gd name="connsiteX72" fmla="*/ 727674 w 1971297"/>
              <a:gd name="connsiteY72" fmla="*/ 36123 h 1970826"/>
              <a:gd name="connsiteX73" fmla="*/ 826689 w 1971297"/>
              <a:gd name="connsiteY73" fmla="*/ 207623 h 1970826"/>
              <a:gd name="connsiteX74" fmla="*/ 869841 w 1971297"/>
              <a:gd name="connsiteY74" fmla="*/ 199018 h 1970826"/>
              <a:gd name="connsiteX75" fmla="*/ 904928 w 1971297"/>
              <a:gd name="connsiteY75" fmla="*/ 0 h 1970826"/>
              <a:gd name="connsiteX0" fmla="*/ 904928 w 1971297"/>
              <a:gd name="connsiteY0" fmla="*/ 0 h 1970826"/>
              <a:gd name="connsiteX1" fmla="*/ 1066369 w 1971297"/>
              <a:gd name="connsiteY1" fmla="*/ 0 h 1970826"/>
              <a:gd name="connsiteX2" fmla="*/ 1101456 w 1971297"/>
              <a:gd name="connsiteY2" fmla="*/ 199018 h 1970826"/>
              <a:gd name="connsiteX3" fmla="*/ 1149113 w 1971297"/>
              <a:gd name="connsiteY3" fmla="*/ 208521 h 1970826"/>
              <a:gd name="connsiteX4" fmla="*/ 1245734 w 1971297"/>
              <a:gd name="connsiteY4" fmla="*/ 36367 h 1970826"/>
              <a:gd name="connsiteX5" fmla="*/ 1396309 w 1971297"/>
              <a:gd name="connsiteY5" fmla="*/ 90716 h 1970826"/>
              <a:gd name="connsiteX6" fmla="*/ 1364293 w 1971297"/>
              <a:gd name="connsiteY6" fmla="*/ 287523 h 1970826"/>
              <a:gd name="connsiteX7" fmla="*/ 1403197 w 1971297"/>
              <a:gd name="connsiteY7" fmla="*/ 308843 h 1970826"/>
              <a:gd name="connsiteX8" fmla="*/ 1558001 w 1971297"/>
              <a:gd name="connsiteY8" fmla="*/ 178940 h 1970826"/>
              <a:gd name="connsiteX9" fmla="*/ 1681671 w 1971297"/>
              <a:gd name="connsiteY9" fmla="*/ 282712 h 1970826"/>
              <a:gd name="connsiteX10" fmla="*/ 1580623 w 1971297"/>
              <a:gd name="connsiteY10" fmla="*/ 457722 h 1970826"/>
              <a:gd name="connsiteX11" fmla="*/ 1610608 w 1971297"/>
              <a:gd name="connsiteY11" fmla="*/ 499270 h 1970826"/>
              <a:gd name="connsiteX12" fmla="*/ 1802874 w 1971297"/>
              <a:gd name="connsiteY12" fmla="*/ 433067 h 1970826"/>
              <a:gd name="connsiteX13" fmla="*/ 1881963 w 1971297"/>
              <a:gd name="connsiteY13" fmla="*/ 572248 h 1970826"/>
              <a:gd name="connsiteX14" fmla="*/ 1726590 w 1971297"/>
              <a:gd name="connsiteY14" fmla="*/ 698353 h 1970826"/>
              <a:gd name="connsiteX15" fmla="*/ 1741176 w 1971297"/>
              <a:gd name="connsiteY15" fmla="*/ 735808 h 1970826"/>
              <a:gd name="connsiteX16" fmla="*/ 1943264 w 1971297"/>
              <a:gd name="connsiteY16" fmla="*/ 735802 h 1970826"/>
              <a:gd name="connsiteX17" fmla="*/ 1971297 w 1971297"/>
              <a:gd name="connsiteY17" fmla="*/ 894790 h 1970826"/>
              <a:gd name="connsiteX18" fmla="*/ 1781396 w 1971297"/>
              <a:gd name="connsiteY18" fmla="*/ 963903 h 1970826"/>
              <a:gd name="connsiteX19" fmla="*/ 1780264 w 1971297"/>
              <a:gd name="connsiteY19" fmla="*/ 1014677 h 1970826"/>
              <a:gd name="connsiteX20" fmla="*/ 1969010 w 1971297"/>
              <a:gd name="connsiteY20" fmla="*/ 1087130 h 1970826"/>
              <a:gd name="connsiteX21" fmla="*/ 1940132 w 1971297"/>
              <a:gd name="connsiteY21" fmla="*/ 1244586 h 1970826"/>
              <a:gd name="connsiteX22" fmla="*/ 1738798 w 1971297"/>
              <a:gd name="connsiteY22" fmla="*/ 1241295 h 1970826"/>
              <a:gd name="connsiteX23" fmla="*/ 1725636 w 1971297"/>
              <a:gd name="connsiteY23" fmla="*/ 1280130 h 1970826"/>
              <a:gd name="connsiteX24" fmla="*/ 1880447 w 1971297"/>
              <a:gd name="connsiteY24" fmla="*/ 1410026 h 1970826"/>
              <a:gd name="connsiteX25" fmla="*/ 1799727 w 1971297"/>
              <a:gd name="connsiteY25" fmla="*/ 1549837 h 1970826"/>
              <a:gd name="connsiteX26" fmla="*/ 1609829 w 1971297"/>
              <a:gd name="connsiteY26" fmla="*/ 1480714 h 1970826"/>
              <a:gd name="connsiteX27" fmla="*/ 1579151 w 1971297"/>
              <a:gd name="connsiteY27" fmla="*/ 1512281 h 1970826"/>
              <a:gd name="connsiteX28" fmla="*/ 1677610 w 1971297"/>
              <a:gd name="connsiteY28" fmla="*/ 1689905 h 1970826"/>
              <a:gd name="connsiteX29" fmla="*/ 1554277 w 1971297"/>
              <a:gd name="connsiteY29" fmla="*/ 1791961 h 1970826"/>
              <a:gd name="connsiteX30" fmla="*/ 1402854 w 1971297"/>
              <a:gd name="connsiteY30" fmla="*/ 1660626 h 1970826"/>
              <a:gd name="connsiteX31" fmla="*/ 1363848 w 1971297"/>
              <a:gd name="connsiteY31" fmla="*/ 1687117 h 1970826"/>
              <a:gd name="connsiteX32" fmla="*/ 1398945 w 1971297"/>
              <a:gd name="connsiteY32" fmla="*/ 1886133 h 1970826"/>
              <a:gd name="connsiteX33" fmla="*/ 1247240 w 1971297"/>
              <a:gd name="connsiteY33" fmla="*/ 1941349 h 1970826"/>
              <a:gd name="connsiteX34" fmla="*/ 1146202 w 1971297"/>
              <a:gd name="connsiteY34" fmla="*/ 1766334 h 1970826"/>
              <a:gd name="connsiteX35" fmla="*/ 1100680 w 1971297"/>
              <a:gd name="connsiteY35" fmla="*/ 1773318 h 1970826"/>
              <a:gd name="connsiteX36" fmla="*/ 1062288 w 1971297"/>
              <a:gd name="connsiteY36" fmla="*/ 1970826 h 1970826"/>
              <a:gd name="connsiteX37" fmla="*/ 902210 w 1971297"/>
              <a:gd name="connsiteY37" fmla="*/ 1969728 h 1970826"/>
              <a:gd name="connsiteX38" fmla="*/ 870884 w 1971297"/>
              <a:gd name="connsiteY38" fmla="*/ 1773359 h 1970826"/>
              <a:gd name="connsiteX39" fmla="*/ 825096 w 1971297"/>
              <a:gd name="connsiteY39" fmla="*/ 1766334 h 1970826"/>
              <a:gd name="connsiteX40" fmla="*/ 724057 w 1971297"/>
              <a:gd name="connsiteY40" fmla="*/ 1941349 h 1970826"/>
              <a:gd name="connsiteX41" fmla="*/ 572352 w 1971297"/>
              <a:gd name="connsiteY41" fmla="*/ 1886133 h 1970826"/>
              <a:gd name="connsiteX42" fmla="*/ 607450 w 1971297"/>
              <a:gd name="connsiteY42" fmla="*/ 1687117 h 1970826"/>
              <a:gd name="connsiteX43" fmla="*/ 571181 w 1971297"/>
              <a:gd name="connsiteY43" fmla="*/ 1662485 h 1970826"/>
              <a:gd name="connsiteX44" fmla="*/ 421150 w 1971297"/>
              <a:gd name="connsiteY44" fmla="*/ 1792613 h 1970826"/>
              <a:gd name="connsiteX45" fmla="*/ 297817 w 1971297"/>
              <a:gd name="connsiteY45" fmla="*/ 1690557 h 1970826"/>
              <a:gd name="connsiteX46" fmla="*/ 395006 w 1971297"/>
              <a:gd name="connsiteY46" fmla="*/ 1515223 h 1970826"/>
              <a:gd name="connsiteX47" fmla="*/ 361468 w 1971297"/>
              <a:gd name="connsiteY47" fmla="*/ 1480715 h 1970826"/>
              <a:gd name="connsiteX48" fmla="*/ 171570 w 1971297"/>
              <a:gd name="connsiteY48" fmla="*/ 1549837 h 1970826"/>
              <a:gd name="connsiteX49" fmla="*/ 90850 w 1971297"/>
              <a:gd name="connsiteY49" fmla="*/ 1410026 h 1970826"/>
              <a:gd name="connsiteX50" fmla="*/ 245661 w 1971297"/>
              <a:gd name="connsiteY50" fmla="*/ 1280131 h 1970826"/>
              <a:gd name="connsiteX51" fmla="*/ 233972 w 1971297"/>
              <a:gd name="connsiteY51" fmla="*/ 1245643 h 1970826"/>
              <a:gd name="connsiteX52" fmla="*/ 31451 w 1971297"/>
              <a:gd name="connsiteY52" fmla="*/ 1248953 h 1970826"/>
              <a:gd name="connsiteX53" fmla="*/ 2573 w 1971297"/>
              <a:gd name="connsiteY53" fmla="*/ 1091497 h 1970826"/>
              <a:gd name="connsiteX54" fmla="*/ 191133 w 1971297"/>
              <a:gd name="connsiteY54" fmla="*/ 1019115 h 1970826"/>
              <a:gd name="connsiteX55" fmla="*/ 189902 w 1971297"/>
              <a:gd name="connsiteY55" fmla="*/ 963904 h 1970826"/>
              <a:gd name="connsiteX56" fmla="*/ 0 w 1971297"/>
              <a:gd name="connsiteY56" fmla="*/ 894790 h 1970826"/>
              <a:gd name="connsiteX57" fmla="*/ 28034 w 1971297"/>
              <a:gd name="connsiteY57" fmla="*/ 735802 h 1970826"/>
              <a:gd name="connsiteX58" fmla="*/ 230121 w 1971297"/>
              <a:gd name="connsiteY58" fmla="*/ 735808 h 1970826"/>
              <a:gd name="connsiteX59" fmla="*/ 240919 w 1971297"/>
              <a:gd name="connsiteY59" fmla="*/ 708079 h 1970826"/>
              <a:gd name="connsiteX60" fmla="*/ 84936 w 1971297"/>
              <a:gd name="connsiteY60" fmla="*/ 585933 h 1970826"/>
              <a:gd name="connsiteX61" fmla="*/ 161584 w 1971297"/>
              <a:gd name="connsiteY61" fmla="*/ 445393 h 1970826"/>
              <a:gd name="connsiteX62" fmla="*/ 354366 w 1971297"/>
              <a:gd name="connsiteY62" fmla="*/ 508031 h 1970826"/>
              <a:gd name="connsiteX63" fmla="*/ 390674 w 1971297"/>
              <a:gd name="connsiteY63" fmla="*/ 457722 h 1970826"/>
              <a:gd name="connsiteX64" fmla="*/ 289626 w 1971297"/>
              <a:gd name="connsiteY64" fmla="*/ 282712 h 1970826"/>
              <a:gd name="connsiteX65" fmla="*/ 413297 w 1971297"/>
              <a:gd name="connsiteY65" fmla="*/ 178940 h 1970826"/>
              <a:gd name="connsiteX66" fmla="*/ 568101 w 1971297"/>
              <a:gd name="connsiteY66" fmla="*/ 308843 h 1970826"/>
              <a:gd name="connsiteX67" fmla="*/ 611018 w 1971297"/>
              <a:gd name="connsiteY67" fmla="*/ 285324 h 1970826"/>
              <a:gd name="connsiteX68" fmla="*/ 576674 w 1971297"/>
              <a:gd name="connsiteY68" fmla="*/ 89277 h 1970826"/>
              <a:gd name="connsiteX69" fmla="*/ 727674 w 1971297"/>
              <a:gd name="connsiteY69" fmla="*/ 36123 h 1970826"/>
              <a:gd name="connsiteX70" fmla="*/ 826689 w 1971297"/>
              <a:gd name="connsiteY70" fmla="*/ 207623 h 1970826"/>
              <a:gd name="connsiteX71" fmla="*/ 869841 w 1971297"/>
              <a:gd name="connsiteY71" fmla="*/ 199018 h 1970826"/>
              <a:gd name="connsiteX72" fmla="*/ 904928 w 1971297"/>
              <a:gd name="connsiteY72" fmla="*/ 0 h 197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971297" h="1970826">
                <a:moveTo>
                  <a:pt x="904928" y="0"/>
                </a:moveTo>
                <a:lnTo>
                  <a:pt x="1066369" y="0"/>
                </a:lnTo>
                <a:lnTo>
                  <a:pt x="1101456" y="199018"/>
                </a:lnTo>
                <a:lnTo>
                  <a:pt x="1149113" y="208521"/>
                </a:lnTo>
                <a:lnTo>
                  <a:pt x="1245734" y="36367"/>
                </a:lnTo>
                <a:lnTo>
                  <a:pt x="1396309" y="90716"/>
                </a:lnTo>
                <a:lnTo>
                  <a:pt x="1364293" y="287523"/>
                </a:lnTo>
                <a:lnTo>
                  <a:pt x="1403197" y="308843"/>
                </a:lnTo>
                <a:lnTo>
                  <a:pt x="1558001" y="178940"/>
                </a:lnTo>
                <a:lnTo>
                  <a:pt x="1681671" y="282712"/>
                </a:lnTo>
                <a:lnTo>
                  <a:pt x="1580623" y="457722"/>
                </a:lnTo>
                <a:lnTo>
                  <a:pt x="1610608" y="499270"/>
                </a:lnTo>
                <a:lnTo>
                  <a:pt x="1802874" y="433067"/>
                </a:lnTo>
                <a:lnTo>
                  <a:pt x="1881963" y="572248"/>
                </a:lnTo>
                <a:lnTo>
                  <a:pt x="1726590" y="698353"/>
                </a:lnTo>
                <a:lnTo>
                  <a:pt x="1741176" y="735808"/>
                </a:lnTo>
                <a:lnTo>
                  <a:pt x="1943264" y="735802"/>
                </a:lnTo>
                <a:lnTo>
                  <a:pt x="1971297" y="894790"/>
                </a:lnTo>
                <a:lnTo>
                  <a:pt x="1781396" y="963903"/>
                </a:lnTo>
                <a:cubicBezTo>
                  <a:pt x="1781019" y="980828"/>
                  <a:pt x="1780641" y="997752"/>
                  <a:pt x="1780264" y="1014677"/>
                </a:cubicBezTo>
                <a:lnTo>
                  <a:pt x="1969010" y="1087130"/>
                </a:lnTo>
                <a:lnTo>
                  <a:pt x="1940132" y="1244586"/>
                </a:lnTo>
                <a:lnTo>
                  <a:pt x="1738798" y="1241295"/>
                </a:lnTo>
                <a:lnTo>
                  <a:pt x="1725636" y="1280130"/>
                </a:lnTo>
                <a:lnTo>
                  <a:pt x="1880447" y="1410026"/>
                </a:lnTo>
                <a:lnTo>
                  <a:pt x="1799727" y="1549837"/>
                </a:lnTo>
                <a:lnTo>
                  <a:pt x="1609829" y="1480714"/>
                </a:lnTo>
                <a:lnTo>
                  <a:pt x="1579151" y="1512281"/>
                </a:lnTo>
                <a:lnTo>
                  <a:pt x="1677610" y="1689905"/>
                </a:lnTo>
                <a:lnTo>
                  <a:pt x="1554277" y="1791961"/>
                </a:lnTo>
                <a:lnTo>
                  <a:pt x="1402854" y="1660626"/>
                </a:lnTo>
                <a:lnTo>
                  <a:pt x="1363848" y="1687117"/>
                </a:lnTo>
                <a:lnTo>
                  <a:pt x="1398945" y="1886133"/>
                </a:lnTo>
                <a:lnTo>
                  <a:pt x="1247240" y="1941349"/>
                </a:lnTo>
                <a:lnTo>
                  <a:pt x="1146202" y="1766334"/>
                </a:lnTo>
                <a:lnTo>
                  <a:pt x="1100680" y="1773318"/>
                </a:lnTo>
                <a:lnTo>
                  <a:pt x="1062288" y="1970826"/>
                </a:lnTo>
                <a:lnTo>
                  <a:pt x="902210" y="1969728"/>
                </a:lnTo>
                <a:lnTo>
                  <a:pt x="870884" y="1773359"/>
                </a:lnTo>
                <a:lnTo>
                  <a:pt x="825096" y="1766334"/>
                </a:lnTo>
                <a:lnTo>
                  <a:pt x="724057" y="1941349"/>
                </a:lnTo>
                <a:lnTo>
                  <a:pt x="572352" y="1886133"/>
                </a:lnTo>
                <a:lnTo>
                  <a:pt x="607450" y="1687117"/>
                </a:lnTo>
                <a:lnTo>
                  <a:pt x="571181" y="1662485"/>
                </a:lnTo>
                <a:lnTo>
                  <a:pt x="421150" y="1792613"/>
                </a:lnTo>
                <a:lnTo>
                  <a:pt x="297817" y="1690557"/>
                </a:lnTo>
                <a:lnTo>
                  <a:pt x="395006" y="1515223"/>
                </a:lnTo>
                <a:lnTo>
                  <a:pt x="361468" y="1480715"/>
                </a:lnTo>
                <a:lnTo>
                  <a:pt x="171570" y="1549837"/>
                </a:lnTo>
                <a:lnTo>
                  <a:pt x="90850" y="1410026"/>
                </a:lnTo>
                <a:lnTo>
                  <a:pt x="245661" y="1280131"/>
                </a:lnTo>
                <a:lnTo>
                  <a:pt x="233972" y="1245643"/>
                </a:lnTo>
                <a:lnTo>
                  <a:pt x="31451" y="1248953"/>
                </a:lnTo>
                <a:lnTo>
                  <a:pt x="2573" y="1091497"/>
                </a:lnTo>
                <a:lnTo>
                  <a:pt x="191133" y="1019115"/>
                </a:lnTo>
                <a:cubicBezTo>
                  <a:pt x="190723" y="1000711"/>
                  <a:pt x="190312" y="982308"/>
                  <a:pt x="189902" y="963904"/>
                </a:cubicBezTo>
                <a:lnTo>
                  <a:pt x="0" y="894790"/>
                </a:lnTo>
                <a:lnTo>
                  <a:pt x="28034" y="735802"/>
                </a:lnTo>
                <a:lnTo>
                  <a:pt x="230121" y="735808"/>
                </a:lnTo>
                <a:lnTo>
                  <a:pt x="240919" y="708079"/>
                </a:lnTo>
                <a:lnTo>
                  <a:pt x="84936" y="585933"/>
                </a:lnTo>
                <a:lnTo>
                  <a:pt x="161584" y="445393"/>
                </a:lnTo>
                <a:lnTo>
                  <a:pt x="354366" y="508031"/>
                </a:lnTo>
                <a:lnTo>
                  <a:pt x="390674" y="457722"/>
                </a:lnTo>
                <a:lnTo>
                  <a:pt x="289626" y="282712"/>
                </a:lnTo>
                <a:lnTo>
                  <a:pt x="413297" y="178940"/>
                </a:lnTo>
                <a:lnTo>
                  <a:pt x="568101" y="308843"/>
                </a:lnTo>
                <a:lnTo>
                  <a:pt x="611018" y="285324"/>
                </a:lnTo>
                <a:lnTo>
                  <a:pt x="576674" y="89277"/>
                </a:lnTo>
                <a:lnTo>
                  <a:pt x="727674" y="36123"/>
                </a:lnTo>
                <a:lnTo>
                  <a:pt x="826689" y="207623"/>
                </a:lnTo>
                <a:lnTo>
                  <a:pt x="869841" y="199018"/>
                </a:lnTo>
                <a:lnTo>
                  <a:pt x="904928" y="0"/>
                </a:lnTo>
                <a:close/>
              </a:path>
            </a:pathLst>
          </a:custGeom>
          <a:solidFill>
            <a:schemeClr val="accent1">
              <a:lumMod val="20000"/>
              <a:lumOff val="80000"/>
            </a:scheme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70287" tIns="769233" rIns="670287" bIns="821356" numCol="1" spcCol="1270" anchor="ctr" anchorCtr="0">
            <a:noAutofit/>
          </a:bodyPr>
          <a:lstStyle/>
          <a:p>
            <a:pPr algn="ctr" defTabSz="2489138">
              <a:lnSpc>
                <a:spcPct val="90000"/>
              </a:lnSpc>
              <a:spcBef>
                <a:spcPct val="0"/>
              </a:spcBef>
              <a:spcAft>
                <a:spcPct val="35000"/>
              </a:spcAft>
            </a:pPr>
            <a:endParaRPr lang="en-US" sz="5600" dirty="0">
              <a:solidFill>
                <a:prstClr val="white"/>
              </a:solidFill>
              <a:latin typeface="Arial" panose="020B0604020202020204"/>
            </a:endParaRPr>
          </a:p>
        </p:txBody>
      </p:sp>
      <p:sp>
        <p:nvSpPr>
          <p:cNvPr id="30" name="Freeform 29">
            <a:extLst>
              <a:ext uri="{FF2B5EF4-FFF2-40B4-BE49-F238E27FC236}">
                <a16:creationId xmlns:a16="http://schemas.microsoft.com/office/drawing/2014/main" id="{BA7C495F-24AA-42CF-D6AD-073FDED2CADB}"/>
              </a:ext>
            </a:extLst>
          </p:cNvPr>
          <p:cNvSpPr>
            <a:spLocks noChangeAspect="1"/>
          </p:cNvSpPr>
          <p:nvPr/>
        </p:nvSpPr>
        <p:spPr>
          <a:xfrm flipH="1">
            <a:off x="7925845" y="1694713"/>
            <a:ext cx="168728" cy="168728"/>
          </a:xfrm>
          <a:custGeom>
            <a:avLst/>
            <a:gdLst>
              <a:gd name="connsiteX0" fmla="*/ 212598 w 1971297"/>
              <a:gd name="connsiteY0" fmla="*/ 1172544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98126 w 1971297"/>
              <a:gd name="connsiteY6" fmla="*/ 1096370 h 1970826"/>
              <a:gd name="connsiteX7" fmla="*/ 199057 w 1971297"/>
              <a:gd name="connsiteY7" fmla="*/ 1110557 h 1970826"/>
              <a:gd name="connsiteX8" fmla="*/ 200997 w 1971297"/>
              <a:gd name="connsiteY8" fmla="*/ 1119440 h 1970826"/>
              <a:gd name="connsiteX9" fmla="*/ 1658502 w 1971297"/>
              <a:gd name="connsiteY9" fmla="*/ 565633 h 1970826"/>
              <a:gd name="connsiteX10" fmla="*/ 1664864 w 1971297"/>
              <a:gd name="connsiteY10" fmla="*/ 574448 h 1970826"/>
              <a:gd name="connsiteX11" fmla="*/ 1664611 w 1971297"/>
              <a:gd name="connsiteY11" fmla="*/ 573966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0" fmla="*/ 217129 w 1971297"/>
              <a:gd name="connsiteY0" fmla="*/ 1192320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773168 w 1971297"/>
              <a:gd name="connsiteY6" fmla="*/ 1096396 h 1970826"/>
              <a:gd name="connsiteX7" fmla="*/ 198126 w 1971297"/>
              <a:gd name="connsiteY7" fmla="*/ 1096370 h 1970826"/>
              <a:gd name="connsiteX8" fmla="*/ 199057 w 1971297"/>
              <a:gd name="connsiteY8" fmla="*/ 1110557 h 1970826"/>
              <a:gd name="connsiteX9" fmla="*/ 200997 w 1971297"/>
              <a:gd name="connsiteY9" fmla="*/ 1119440 h 1970826"/>
              <a:gd name="connsiteX10" fmla="*/ 198126 w 1971297"/>
              <a:gd name="connsiteY10" fmla="*/ 1096370 h 1970826"/>
              <a:gd name="connsiteX11" fmla="*/ 1658502 w 1971297"/>
              <a:gd name="connsiteY11" fmla="*/ 565633 h 1970826"/>
              <a:gd name="connsiteX12" fmla="*/ 1664864 w 1971297"/>
              <a:gd name="connsiteY12" fmla="*/ 574448 h 1970826"/>
              <a:gd name="connsiteX13" fmla="*/ 1664611 w 1971297"/>
              <a:gd name="connsiteY13" fmla="*/ 573966 h 1970826"/>
              <a:gd name="connsiteX14" fmla="*/ 1658502 w 1971297"/>
              <a:gd name="connsiteY14" fmla="*/ 565633 h 1970826"/>
              <a:gd name="connsiteX15" fmla="*/ 985649 w 1971297"/>
              <a:gd name="connsiteY15" fmla="*/ 323553 h 1970826"/>
              <a:gd name="connsiteX16" fmla="*/ 322581 w 1971297"/>
              <a:gd name="connsiteY16" fmla="*/ 986621 h 1970826"/>
              <a:gd name="connsiteX17" fmla="*/ 985649 w 1971297"/>
              <a:gd name="connsiteY17" fmla="*/ 1649689 h 1970826"/>
              <a:gd name="connsiteX18" fmla="*/ 1648717 w 1971297"/>
              <a:gd name="connsiteY18" fmla="*/ 986621 h 1970826"/>
              <a:gd name="connsiteX19" fmla="*/ 985649 w 1971297"/>
              <a:gd name="connsiteY19" fmla="*/ 323553 h 1970826"/>
              <a:gd name="connsiteX20" fmla="*/ 904928 w 1971297"/>
              <a:gd name="connsiteY20" fmla="*/ 0 h 1970826"/>
              <a:gd name="connsiteX21" fmla="*/ 1066369 w 1971297"/>
              <a:gd name="connsiteY21" fmla="*/ 0 h 1970826"/>
              <a:gd name="connsiteX22" fmla="*/ 1101456 w 1971297"/>
              <a:gd name="connsiteY22" fmla="*/ 199018 h 1970826"/>
              <a:gd name="connsiteX23" fmla="*/ 1149113 w 1971297"/>
              <a:gd name="connsiteY23" fmla="*/ 208521 h 1970826"/>
              <a:gd name="connsiteX24" fmla="*/ 1245734 w 1971297"/>
              <a:gd name="connsiteY24" fmla="*/ 36367 h 1970826"/>
              <a:gd name="connsiteX25" fmla="*/ 1396309 w 1971297"/>
              <a:gd name="connsiteY25" fmla="*/ 90716 h 1970826"/>
              <a:gd name="connsiteX26" fmla="*/ 1364293 w 1971297"/>
              <a:gd name="connsiteY26" fmla="*/ 287523 h 1970826"/>
              <a:gd name="connsiteX27" fmla="*/ 1403197 w 1971297"/>
              <a:gd name="connsiteY27" fmla="*/ 308843 h 1970826"/>
              <a:gd name="connsiteX28" fmla="*/ 1558001 w 1971297"/>
              <a:gd name="connsiteY28" fmla="*/ 178940 h 1970826"/>
              <a:gd name="connsiteX29" fmla="*/ 1681671 w 1971297"/>
              <a:gd name="connsiteY29" fmla="*/ 282712 h 1970826"/>
              <a:gd name="connsiteX30" fmla="*/ 1580623 w 1971297"/>
              <a:gd name="connsiteY30" fmla="*/ 457722 h 1970826"/>
              <a:gd name="connsiteX31" fmla="*/ 1610608 w 1971297"/>
              <a:gd name="connsiteY31" fmla="*/ 499270 h 1970826"/>
              <a:gd name="connsiteX32" fmla="*/ 1802874 w 1971297"/>
              <a:gd name="connsiteY32" fmla="*/ 433067 h 1970826"/>
              <a:gd name="connsiteX33" fmla="*/ 1881963 w 1971297"/>
              <a:gd name="connsiteY33" fmla="*/ 572248 h 1970826"/>
              <a:gd name="connsiteX34" fmla="*/ 1726590 w 1971297"/>
              <a:gd name="connsiteY34" fmla="*/ 698353 h 1970826"/>
              <a:gd name="connsiteX35" fmla="*/ 1741176 w 1971297"/>
              <a:gd name="connsiteY35" fmla="*/ 735808 h 1970826"/>
              <a:gd name="connsiteX36" fmla="*/ 1943264 w 1971297"/>
              <a:gd name="connsiteY36" fmla="*/ 735802 h 1970826"/>
              <a:gd name="connsiteX37" fmla="*/ 1971297 w 1971297"/>
              <a:gd name="connsiteY37" fmla="*/ 894790 h 1970826"/>
              <a:gd name="connsiteX38" fmla="*/ 1781396 w 1971297"/>
              <a:gd name="connsiteY38" fmla="*/ 963903 h 1970826"/>
              <a:gd name="connsiteX39" fmla="*/ 1780264 w 1971297"/>
              <a:gd name="connsiteY39" fmla="*/ 1014677 h 1970826"/>
              <a:gd name="connsiteX40" fmla="*/ 1969010 w 1971297"/>
              <a:gd name="connsiteY40" fmla="*/ 1087130 h 1970826"/>
              <a:gd name="connsiteX41" fmla="*/ 1940132 w 1971297"/>
              <a:gd name="connsiteY41" fmla="*/ 1244586 h 1970826"/>
              <a:gd name="connsiteX42" fmla="*/ 1738798 w 1971297"/>
              <a:gd name="connsiteY42" fmla="*/ 1241295 h 1970826"/>
              <a:gd name="connsiteX43" fmla="*/ 1725636 w 1971297"/>
              <a:gd name="connsiteY43" fmla="*/ 1280130 h 1970826"/>
              <a:gd name="connsiteX44" fmla="*/ 1880447 w 1971297"/>
              <a:gd name="connsiteY44" fmla="*/ 1410026 h 1970826"/>
              <a:gd name="connsiteX45" fmla="*/ 1799727 w 1971297"/>
              <a:gd name="connsiteY45" fmla="*/ 1549837 h 1970826"/>
              <a:gd name="connsiteX46" fmla="*/ 1609829 w 1971297"/>
              <a:gd name="connsiteY46" fmla="*/ 1480714 h 1970826"/>
              <a:gd name="connsiteX47" fmla="*/ 1579151 w 1971297"/>
              <a:gd name="connsiteY47" fmla="*/ 1512281 h 1970826"/>
              <a:gd name="connsiteX48" fmla="*/ 1677610 w 1971297"/>
              <a:gd name="connsiteY48" fmla="*/ 1689905 h 1970826"/>
              <a:gd name="connsiteX49" fmla="*/ 1554277 w 1971297"/>
              <a:gd name="connsiteY49" fmla="*/ 1791961 h 1970826"/>
              <a:gd name="connsiteX50" fmla="*/ 1402854 w 1971297"/>
              <a:gd name="connsiteY50" fmla="*/ 1660626 h 1970826"/>
              <a:gd name="connsiteX51" fmla="*/ 1363848 w 1971297"/>
              <a:gd name="connsiteY51" fmla="*/ 1687117 h 1970826"/>
              <a:gd name="connsiteX52" fmla="*/ 1398945 w 1971297"/>
              <a:gd name="connsiteY52" fmla="*/ 1886133 h 1970826"/>
              <a:gd name="connsiteX53" fmla="*/ 1247240 w 1971297"/>
              <a:gd name="connsiteY53" fmla="*/ 1941349 h 1970826"/>
              <a:gd name="connsiteX54" fmla="*/ 1146202 w 1971297"/>
              <a:gd name="connsiteY54" fmla="*/ 1766334 h 1970826"/>
              <a:gd name="connsiteX55" fmla="*/ 1100680 w 1971297"/>
              <a:gd name="connsiteY55" fmla="*/ 1773318 h 1970826"/>
              <a:gd name="connsiteX56" fmla="*/ 1062288 w 1971297"/>
              <a:gd name="connsiteY56" fmla="*/ 1970826 h 1970826"/>
              <a:gd name="connsiteX57" fmla="*/ 902210 w 1971297"/>
              <a:gd name="connsiteY57" fmla="*/ 1969728 h 1970826"/>
              <a:gd name="connsiteX58" fmla="*/ 870884 w 1971297"/>
              <a:gd name="connsiteY58" fmla="*/ 1773359 h 1970826"/>
              <a:gd name="connsiteX59" fmla="*/ 825096 w 1971297"/>
              <a:gd name="connsiteY59" fmla="*/ 1766334 h 1970826"/>
              <a:gd name="connsiteX60" fmla="*/ 724057 w 1971297"/>
              <a:gd name="connsiteY60" fmla="*/ 1941349 h 1970826"/>
              <a:gd name="connsiteX61" fmla="*/ 572352 w 1971297"/>
              <a:gd name="connsiteY61" fmla="*/ 1886133 h 1970826"/>
              <a:gd name="connsiteX62" fmla="*/ 607450 w 1971297"/>
              <a:gd name="connsiteY62" fmla="*/ 1687117 h 1970826"/>
              <a:gd name="connsiteX63" fmla="*/ 571181 w 1971297"/>
              <a:gd name="connsiteY63" fmla="*/ 1662485 h 1970826"/>
              <a:gd name="connsiteX64" fmla="*/ 421150 w 1971297"/>
              <a:gd name="connsiteY64" fmla="*/ 1792613 h 1970826"/>
              <a:gd name="connsiteX65" fmla="*/ 297817 w 1971297"/>
              <a:gd name="connsiteY65" fmla="*/ 1690557 h 1970826"/>
              <a:gd name="connsiteX66" fmla="*/ 395006 w 1971297"/>
              <a:gd name="connsiteY66" fmla="*/ 1515223 h 1970826"/>
              <a:gd name="connsiteX67" fmla="*/ 361468 w 1971297"/>
              <a:gd name="connsiteY67" fmla="*/ 1480715 h 1970826"/>
              <a:gd name="connsiteX68" fmla="*/ 171570 w 1971297"/>
              <a:gd name="connsiteY68" fmla="*/ 1549837 h 1970826"/>
              <a:gd name="connsiteX69" fmla="*/ 90850 w 1971297"/>
              <a:gd name="connsiteY69" fmla="*/ 1410026 h 1970826"/>
              <a:gd name="connsiteX70" fmla="*/ 245661 w 1971297"/>
              <a:gd name="connsiteY70" fmla="*/ 1280131 h 1970826"/>
              <a:gd name="connsiteX71" fmla="*/ 233972 w 1971297"/>
              <a:gd name="connsiteY71" fmla="*/ 1245643 h 1970826"/>
              <a:gd name="connsiteX72" fmla="*/ 31451 w 1971297"/>
              <a:gd name="connsiteY72" fmla="*/ 1248953 h 1970826"/>
              <a:gd name="connsiteX73" fmla="*/ 2573 w 1971297"/>
              <a:gd name="connsiteY73" fmla="*/ 1091497 h 1970826"/>
              <a:gd name="connsiteX74" fmla="*/ 191133 w 1971297"/>
              <a:gd name="connsiteY74" fmla="*/ 1019115 h 1970826"/>
              <a:gd name="connsiteX75" fmla="*/ 189902 w 1971297"/>
              <a:gd name="connsiteY75" fmla="*/ 963904 h 1970826"/>
              <a:gd name="connsiteX76" fmla="*/ 0 w 1971297"/>
              <a:gd name="connsiteY76" fmla="*/ 894790 h 1970826"/>
              <a:gd name="connsiteX77" fmla="*/ 28034 w 1971297"/>
              <a:gd name="connsiteY77" fmla="*/ 735802 h 1970826"/>
              <a:gd name="connsiteX78" fmla="*/ 230121 w 1971297"/>
              <a:gd name="connsiteY78" fmla="*/ 735808 h 1970826"/>
              <a:gd name="connsiteX79" fmla="*/ 240919 w 1971297"/>
              <a:gd name="connsiteY79" fmla="*/ 708079 h 1970826"/>
              <a:gd name="connsiteX80" fmla="*/ 84936 w 1971297"/>
              <a:gd name="connsiteY80" fmla="*/ 585933 h 1970826"/>
              <a:gd name="connsiteX81" fmla="*/ 161584 w 1971297"/>
              <a:gd name="connsiteY81" fmla="*/ 445393 h 1970826"/>
              <a:gd name="connsiteX82" fmla="*/ 354366 w 1971297"/>
              <a:gd name="connsiteY82" fmla="*/ 508031 h 1970826"/>
              <a:gd name="connsiteX83" fmla="*/ 390674 w 1971297"/>
              <a:gd name="connsiteY83" fmla="*/ 457722 h 1970826"/>
              <a:gd name="connsiteX84" fmla="*/ 289626 w 1971297"/>
              <a:gd name="connsiteY84" fmla="*/ 282712 h 1970826"/>
              <a:gd name="connsiteX85" fmla="*/ 413297 w 1971297"/>
              <a:gd name="connsiteY85" fmla="*/ 178940 h 1970826"/>
              <a:gd name="connsiteX86" fmla="*/ 568101 w 1971297"/>
              <a:gd name="connsiteY86" fmla="*/ 308843 h 1970826"/>
              <a:gd name="connsiteX87" fmla="*/ 611018 w 1971297"/>
              <a:gd name="connsiteY87" fmla="*/ 285324 h 1970826"/>
              <a:gd name="connsiteX88" fmla="*/ 576674 w 1971297"/>
              <a:gd name="connsiteY88" fmla="*/ 89277 h 1970826"/>
              <a:gd name="connsiteX89" fmla="*/ 727674 w 1971297"/>
              <a:gd name="connsiteY89" fmla="*/ 36123 h 1970826"/>
              <a:gd name="connsiteX90" fmla="*/ 826689 w 1971297"/>
              <a:gd name="connsiteY90" fmla="*/ 207623 h 1970826"/>
              <a:gd name="connsiteX91" fmla="*/ 869841 w 1971297"/>
              <a:gd name="connsiteY91" fmla="*/ 199018 h 1970826"/>
              <a:gd name="connsiteX92" fmla="*/ 904928 w 1971297"/>
              <a:gd name="connsiteY92" fmla="*/ 0 h 1970826"/>
              <a:gd name="connsiteX0" fmla="*/ 1773168 w 1971297"/>
              <a:gd name="connsiteY0" fmla="*/ 1096396 h 1970826"/>
              <a:gd name="connsiteX1" fmla="*/ 1771186 w 1971297"/>
              <a:gd name="connsiteY1" fmla="*/ 1112322 h 1970826"/>
              <a:gd name="connsiteX2" fmla="*/ 1772526 w 1971297"/>
              <a:gd name="connsiteY2" fmla="*/ 1106190 h 1970826"/>
              <a:gd name="connsiteX3" fmla="*/ 1773168 w 1971297"/>
              <a:gd name="connsiteY3" fmla="*/ 1096396 h 1970826"/>
              <a:gd name="connsiteX4" fmla="*/ 198126 w 1971297"/>
              <a:gd name="connsiteY4" fmla="*/ 1096370 h 1970826"/>
              <a:gd name="connsiteX5" fmla="*/ 199057 w 1971297"/>
              <a:gd name="connsiteY5" fmla="*/ 1110557 h 1970826"/>
              <a:gd name="connsiteX6" fmla="*/ 200997 w 1971297"/>
              <a:gd name="connsiteY6" fmla="*/ 1119440 h 1970826"/>
              <a:gd name="connsiteX7" fmla="*/ 198126 w 1971297"/>
              <a:gd name="connsiteY7" fmla="*/ 1096370 h 1970826"/>
              <a:gd name="connsiteX8" fmla="*/ 1658502 w 1971297"/>
              <a:gd name="connsiteY8" fmla="*/ 565633 h 1970826"/>
              <a:gd name="connsiteX9" fmla="*/ 1664864 w 1971297"/>
              <a:gd name="connsiteY9" fmla="*/ 574448 h 1970826"/>
              <a:gd name="connsiteX10" fmla="*/ 1664611 w 1971297"/>
              <a:gd name="connsiteY10" fmla="*/ 573966 h 1970826"/>
              <a:gd name="connsiteX11" fmla="*/ 1658502 w 1971297"/>
              <a:gd name="connsiteY11" fmla="*/ 565633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89" fmla="*/ 904928 w 1971297"/>
              <a:gd name="connsiteY89" fmla="*/ 0 h 1970826"/>
              <a:gd name="connsiteX0" fmla="*/ 1772526 w 1971297"/>
              <a:gd name="connsiteY0" fmla="*/ 1106190 h 1970826"/>
              <a:gd name="connsiteX1" fmla="*/ 1771186 w 1971297"/>
              <a:gd name="connsiteY1" fmla="*/ 1112322 h 1970826"/>
              <a:gd name="connsiteX2" fmla="*/ 1772526 w 1971297"/>
              <a:gd name="connsiteY2" fmla="*/ 1106190 h 1970826"/>
              <a:gd name="connsiteX3" fmla="*/ 198126 w 1971297"/>
              <a:gd name="connsiteY3" fmla="*/ 1096370 h 1970826"/>
              <a:gd name="connsiteX4" fmla="*/ 199057 w 1971297"/>
              <a:gd name="connsiteY4" fmla="*/ 1110557 h 1970826"/>
              <a:gd name="connsiteX5" fmla="*/ 200997 w 1971297"/>
              <a:gd name="connsiteY5" fmla="*/ 1119440 h 1970826"/>
              <a:gd name="connsiteX6" fmla="*/ 198126 w 1971297"/>
              <a:gd name="connsiteY6" fmla="*/ 1096370 h 1970826"/>
              <a:gd name="connsiteX7" fmla="*/ 1658502 w 1971297"/>
              <a:gd name="connsiteY7" fmla="*/ 565633 h 1970826"/>
              <a:gd name="connsiteX8" fmla="*/ 1664864 w 1971297"/>
              <a:gd name="connsiteY8" fmla="*/ 574448 h 1970826"/>
              <a:gd name="connsiteX9" fmla="*/ 1664611 w 1971297"/>
              <a:gd name="connsiteY9" fmla="*/ 573966 h 1970826"/>
              <a:gd name="connsiteX10" fmla="*/ 1658502 w 1971297"/>
              <a:gd name="connsiteY10" fmla="*/ 565633 h 1970826"/>
              <a:gd name="connsiteX11" fmla="*/ 985649 w 1971297"/>
              <a:gd name="connsiteY11" fmla="*/ 323553 h 1970826"/>
              <a:gd name="connsiteX12" fmla="*/ 322581 w 1971297"/>
              <a:gd name="connsiteY12" fmla="*/ 986621 h 1970826"/>
              <a:gd name="connsiteX13" fmla="*/ 985649 w 1971297"/>
              <a:gd name="connsiteY13" fmla="*/ 1649689 h 1970826"/>
              <a:gd name="connsiteX14" fmla="*/ 1648717 w 1971297"/>
              <a:gd name="connsiteY14" fmla="*/ 986621 h 1970826"/>
              <a:gd name="connsiteX15" fmla="*/ 985649 w 1971297"/>
              <a:gd name="connsiteY15" fmla="*/ 323553 h 1970826"/>
              <a:gd name="connsiteX16" fmla="*/ 904928 w 1971297"/>
              <a:gd name="connsiteY16" fmla="*/ 0 h 1970826"/>
              <a:gd name="connsiteX17" fmla="*/ 1066369 w 1971297"/>
              <a:gd name="connsiteY17" fmla="*/ 0 h 1970826"/>
              <a:gd name="connsiteX18" fmla="*/ 1101456 w 1971297"/>
              <a:gd name="connsiteY18" fmla="*/ 199018 h 1970826"/>
              <a:gd name="connsiteX19" fmla="*/ 1149113 w 1971297"/>
              <a:gd name="connsiteY19" fmla="*/ 208521 h 1970826"/>
              <a:gd name="connsiteX20" fmla="*/ 1245734 w 1971297"/>
              <a:gd name="connsiteY20" fmla="*/ 36367 h 1970826"/>
              <a:gd name="connsiteX21" fmla="*/ 1396309 w 1971297"/>
              <a:gd name="connsiteY21" fmla="*/ 90716 h 1970826"/>
              <a:gd name="connsiteX22" fmla="*/ 1364293 w 1971297"/>
              <a:gd name="connsiteY22" fmla="*/ 287523 h 1970826"/>
              <a:gd name="connsiteX23" fmla="*/ 1403197 w 1971297"/>
              <a:gd name="connsiteY23" fmla="*/ 308843 h 1970826"/>
              <a:gd name="connsiteX24" fmla="*/ 1558001 w 1971297"/>
              <a:gd name="connsiteY24" fmla="*/ 178940 h 1970826"/>
              <a:gd name="connsiteX25" fmla="*/ 1681671 w 1971297"/>
              <a:gd name="connsiteY25" fmla="*/ 282712 h 1970826"/>
              <a:gd name="connsiteX26" fmla="*/ 1580623 w 1971297"/>
              <a:gd name="connsiteY26" fmla="*/ 457722 h 1970826"/>
              <a:gd name="connsiteX27" fmla="*/ 1610608 w 1971297"/>
              <a:gd name="connsiteY27" fmla="*/ 499270 h 1970826"/>
              <a:gd name="connsiteX28" fmla="*/ 1802874 w 1971297"/>
              <a:gd name="connsiteY28" fmla="*/ 433067 h 1970826"/>
              <a:gd name="connsiteX29" fmla="*/ 1881963 w 1971297"/>
              <a:gd name="connsiteY29" fmla="*/ 572248 h 1970826"/>
              <a:gd name="connsiteX30" fmla="*/ 1726590 w 1971297"/>
              <a:gd name="connsiteY30" fmla="*/ 698353 h 1970826"/>
              <a:gd name="connsiteX31" fmla="*/ 1741176 w 1971297"/>
              <a:gd name="connsiteY31" fmla="*/ 735808 h 1970826"/>
              <a:gd name="connsiteX32" fmla="*/ 1943264 w 1971297"/>
              <a:gd name="connsiteY32" fmla="*/ 735802 h 1970826"/>
              <a:gd name="connsiteX33" fmla="*/ 1971297 w 1971297"/>
              <a:gd name="connsiteY33" fmla="*/ 894790 h 1970826"/>
              <a:gd name="connsiteX34" fmla="*/ 1781396 w 1971297"/>
              <a:gd name="connsiteY34" fmla="*/ 963903 h 1970826"/>
              <a:gd name="connsiteX35" fmla="*/ 1780264 w 1971297"/>
              <a:gd name="connsiteY35" fmla="*/ 1014677 h 1970826"/>
              <a:gd name="connsiteX36" fmla="*/ 1969010 w 1971297"/>
              <a:gd name="connsiteY36" fmla="*/ 1087130 h 1970826"/>
              <a:gd name="connsiteX37" fmla="*/ 1940132 w 1971297"/>
              <a:gd name="connsiteY37" fmla="*/ 1244586 h 1970826"/>
              <a:gd name="connsiteX38" fmla="*/ 1738798 w 1971297"/>
              <a:gd name="connsiteY38" fmla="*/ 1241295 h 1970826"/>
              <a:gd name="connsiteX39" fmla="*/ 1725636 w 1971297"/>
              <a:gd name="connsiteY39" fmla="*/ 1280130 h 1970826"/>
              <a:gd name="connsiteX40" fmla="*/ 1880447 w 1971297"/>
              <a:gd name="connsiteY40" fmla="*/ 1410026 h 1970826"/>
              <a:gd name="connsiteX41" fmla="*/ 1799727 w 1971297"/>
              <a:gd name="connsiteY41" fmla="*/ 1549837 h 1970826"/>
              <a:gd name="connsiteX42" fmla="*/ 1609829 w 1971297"/>
              <a:gd name="connsiteY42" fmla="*/ 1480714 h 1970826"/>
              <a:gd name="connsiteX43" fmla="*/ 1579151 w 1971297"/>
              <a:gd name="connsiteY43" fmla="*/ 1512281 h 1970826"/>
              <a:gd name="connsiteX44" fmla="*/ 1677610 w 1971297"/>
              <a:gd name="connsiteY44" fmla="*/ 1689905 h 1970826"/>
              <a:gd name="connsiteX45" fmla="*/ 1554277 w 1971297"/>
              <a:gd name="connsiteY45" fmla="*/ 1791961 h 1970826"/>
              <a:gd name="connsiteX46" fmla="*/ 1402854 w 1971297"/>
              <a:gd name="connsiteY46" fmla="*/ 1660626 h 1970826"/>
              <a:gd name="connsiteX47" fmla="*/ 1363848 w 1971297"/>
              <a:gd name="connsiteY47" fmla="*/ 1687117 h 1970826"/>
              <a:gd name="connsiteX48" fmla="*/ 1398945 w 1971297"/>
              <a:gd name="connsiteY48" fmla="*/ 1886133 h 1970826"/>
              <a:gd name="connsiteX49" fmla="*/ 1247240 w 1971297"/>
              <a:gd name="connsiteY49" fmla="*/ 1941349 h 1970826"/>
              <a:gd name="connsiteX50" fmla="*/ 1146202 w 1971297"/>
              <a:gd name="connsiteY50" fmla="*/ 1766334 h 1970826"/>
              <a:gd name="connsiteX51" fmla="*/ 1100680 w 1971297"/>
              <a:gd name="connsiteY51" fmla="*/ 1773318 h 1970826"/>
              <a:gd name="connsiteX52" fmla="*/ 1062288 w 1971297"/>
              <a:gd name="connsiteY52" fmla="*/ 1970826 h 1970826"/>
              <a:gd name="connsiteX53" fmla="*/ 902210 w 1971297"/>
              <a:gd name="connsiteY53" fmla="*/ 1969728 h 1970826"/>
              <a:gd name="connsiteX54" fmla="*/ 870884 w 1971297"/>
              <a:gd name="connsiteY54" fmla="*/ 1773359 h 1970826"/>
              <a:gd name="connsiteX55" fmla="*/ 825096 w 1971297"/>
              <a:gd name="connsiteY55" fmla="*/ 1766334 h 1970826"/>
              <a:gd name="connsiteX56" fmla="*/ 724057 w 1971297"/>
              <a:gd name="connsiteY56" fmla="*/ 1941349 h 1970826"/>
              <a:gd name="connsiteX57" fmla="*/ 572352 w 1971297"/>
              <a:gd name="connsiteY57" fmla="*/ 1886133 h 1970826"/>
              <a:gd name="connsiteX58" fmla="*/ 607450 w 1971297"/>
              <a:gd name="connsiteY58" fmla="*/ 1687117 h 1970826"/>
              <a:gd name="connsiteX59" fmla="*/ 571181 w 1971297"/>
              <a:gd name="connsiteY59" fmla="*/ 1662485 h 1970826"/>
              <a:gd name="connsiteX60" fmla="*/ 421150 w 1971297"/>
              <a:gd name="connsiteY60" fmla="*/ 1792613 h 1970826"/>
              <a:gd name="connsiteX61" fmla="*/ 297817 w 1971297"/>
              <a:gd name="connsiteY61" fmla="*/ 1690557 h 1970826"/>
              <a:gd name="connsiteX62" fmla="*/ 395006 w 1971297"/>
              <a:gd name="connsiteY62" fmla="*/ 1515223 h 1970826"/>
              <a:gd name="connsiteX63" fmla="*/ 361468 w 1971297"/>
              <a:gd name="connsiteY63" fmla="*/ 1480715 h 1970826"/>
              <a:gd name="connsiteX64" fmla="*/ 171570 w 1971297"/>
              <a:gd name="connsiteY64" fmla="*/ 1549837 h 1970826"/>
              <a:gd name="connsiteX65" fmla="*/ 90850 w 1971297"/>
              <a:gd name="connsiteY65" fmla="*/ 1410026 h 1970826"/>
              <a:gd name="connsiteX66" fmla="*/ 245661 w 1971297"/>
              <a:gd name="connsiteY66" fmla="*/ 1280131 h 1970826"/>
              <a:gd name="connsiteX67" fmla="*/ 233972 w 1971297"/>
              <a:gd name="connsiteY67" fmla="*/ 1245643 h 1970826"/>
              <a:gd name="connsiteX68" fmla="*/ 31451 w 1971297"/>
              <a:gd name="connsiteY68" fmla="*/ 1248953 h 1970826"/>
              <a:gd name="connsiteX69" fmla="*/ 2573 w 1971297"/>
              <a:gd name="connsiteY69" fmla="*/ 1091497 h 1970826"/>
              <a:gd name="connsiteX70" fmla="*/ 191133 w 1971297"/>
              <a:gd name="connsiteY70" fmla="*/ 1019115 h 1970826"/>
              <a:gd name="connsiteX71" fmla="*/ 189902 w 1971297"/>
              <a:gd name="connsiteY71" fmla="*/ 963904 h 1970826"/>
              <a:gd name="connsiteX72" fmla="*/ 0 w 1971297"/>
              <a:gd name="connsiteY72" fmla="*/ 894790 h 1970826"/>
              <a:gd name="connsiteX73" fmla="*/ 28034 w 1971297"/>
              <a:gd name="connsiteY73" fmla="*/ 735802 h 1970826"/>
              <a:gd name="connsiteX74" fmla="*/ 230121 w 1971297"/>
              <a:gd name="connsiteY74" fmla="*/ 735808 h 1970826"/>
              <a:gd name="connsiteX75" fmla="*/ 240919 w 1971297"/>
              <a:gd name="connsiteY75" fmla="*/ 708079 h 1970826"/>
              <a:gd name="connsiteX76" fmla="*/ 84936 w 1971297"/>
              <a:gd name="connsiteY76" fmla="*/ 585933 h 1970826"/>
              <a:gd name="connsiteX77" fmla="*/ 161584 w 1971297"/>
              <a:gd name="connsiteY77" fmla="*/ 445393 h 1970826"/>
              <a:gd name="connsiteX78" fmla="*/ 354366 w 1971297"/>
              <a:gd name="connsiteY78" fmla="*/ 508031 h 1970826"/>
              <a:gd name="connsiteX79" fmla="*/ 390674 w 1971297"/>
              <a:gd name="connsiteY79" fmla="*/ 457722 h 1970826"/>
              <a:gd name="connsiteX80" fmla="*/ 289626 w 1971297"/>
              <a:gd name="connsiteY80" fmla="*/ 282712 h 1970826"/>
              <a:gd name="connsiteX81" fmla="*/ 413297 w 1971297"/>
              <a:gd name="connsiteY81" fmla="*/ 178940 h 1970826"/>
              <a:gd name="connsiteX82" fmla="*/ 568101 w 1971297"/>
              <a:gd name="connsiteY82" fmla="*/ 308843 h 1970826"/>
              <a:gd name="connsiteX83" fmla="*/ 611018 w 1971297"/>
              <a:gd name="connsiteY83" fmla="*/ 285324 h 1970826"/>
              <a:gd name="connsiteX84" fmla="*/ 576674 w 1971297"/>
              <a:gd name="connsiteY84" fmla="*/ 89277 h 1970826"/>
              <a:gd name="connsiteX85" fmla="*/ 727674 w 1971297"/>
              <a:gd name="connsiteY85" fmla="*/ 36123 h 1970826"/>
              <a:gd name="connsiteX86" fmla="*/ 826689 w 1971297"/>
              <a:gd name="connsiteY86" fmla="*/ 207623 h 1970826"/>
              <a:gd name="connsiteX87" fmla="*/ 869841 w 1971297"/>
              <a:gd name="connsiteY87" fmla="*/ 199018 h 1970826"/>
              <a:gd name="connsiteX88" fmla="*/ 904928 w 1971297"/>
              <a:gd name="connsiteY88" fmla="*/ 0 h 1970826"/>
              <a:gd name="connsiteX0" fmla="*/ 198126 w 1971297"/>
              <a:gd name="connsiteY0" fmla="*/ 1096370 h 1970826"/>
              <a:gd name="connsiteX1" fmla="*/ 199057 w 1971297"/>
              <a:gd name="connsiteY1" fmla="*/ 1110557 h 1970826"/>
              <a:gd name="connsiteX2" fmla="*/ 200997 w 1971297"/>
              <a:gd name="connsiteY2" fmla="*/ 1119440 h 1970826"/>
              <a:gd name="connsiteX3" fmla="*/ 198126 w 1971297"/>
              <a:gd name="connsiteY3" fmla="*/ 1096370 h 1970826"/>
              <a:gd name="connsiteX4" fmla="*/ 1658502 w 1971297"/>
              <a:gd name="connsiteY4" fmla="*/ 565633 h 1970826"/>
              <a:gd name="connsiteX5" fmla="*/ 1664864 w 1971297"/>
              <a:gd name="connsiteY5" fmla="*/ 574448 h 1970826"/>
              <a:gd name="connsiteX6" fmla="*/ 1664611 w 1971297"/>
              <a:gd name="connsiteY6" fmla="*/ 573966 h 1970826"/>
              <a:gd name="connsiteX7" fmla="*/ 1658502 w 1971297"/>
              <a:gd name="connsiteY7" fmla="*/ 565633 h 1970826"/>
              <a:gd name="connsiteX8" fmla="*/ 985649 w 1971297"/>
              <a:gd name="connsiteY8" fmla="*/ 323553 h 1970826"/>
              <a:gd name="connsiteX9" fmla="*/ 322581 w 1971297"/>
              <a:gd name="connsiteY9" fmla="*/ 986621 h 1970826"/>
              <a:gd name="connsiteX10" fmla="*/ 985649 w 1971297"/>
              <a:gd name="connsiteY10" fmla="*/ 1649689 h 1970826"/>
              <a:gd name="connsiteX11" fmla="*/ 1648717 w 1971297"/>
              <a:gd name="connsiteY11" fmla="*/ 986621 h 1970826"/>
              <a:gd name="connsiteX12" fmla="*/ 985649 w 1971297"/>
              <a:gd name="connsiteY12" fmla="*/ 323553 h 1970826"/>
              <a:gd name="connsiteX13" fmla="*/ 904928 w 1971297"/>
              <a:gd name="connsiteY13" fmla="*/ 0 h 1970826"/>
              <a:gd name="connsiteX14" fmla="*/ 1066369 w 1971297"/>
              <a:gd name="connsiteY14" fmla="*/ 0 h 1970826"/>
              <a:gd name="connsiteX15" fmla="*/ 1101456 w 1971297"/>
              <a:gd name="connsiteY15" fmla="*/ 199018 h 1970826"/>
              <a:gd name="connsiteX16" fmla="*/ 1149113 w 1971297"/>
              <a:gd name="connsiteY16" fmla="*/ 208521 h 1970826"/>
              <a:gd name="connsiteX17" fmla="*/ 1245734 w 1971297"/>
              <a:gd name="connsiteY17" fmla="*/ 36367 h 1970826"/>
              <a:gd name="connsiteX18" fmla="*/ 1396309 w 1971297"/>
              <a:gd name="connsiteY18" fmla="*/ 90716 h 1970826"/>
              <a:gd name="connsiteX19" fmla="*/ 1364293 w 1971297"/>
              <a:gd name="connsiteY19" fmla="*/ 287523 h 1970826"/>
              <a:gd name="connsiteX20" fmla="*/ 1403197 w 1971297"/>
              <a:gd name="connsiteY20" fmla="*/ 308843 h 1970826"/>
              <a:gd name="connsiteX21" fmla="*/ 1558001 w 1971297"/>
              <a:gd name="connsiteY21" fmla="*/ 178940 h 1970826"/>
              <a:gd name="connsiteX22" fmla="*/ 1681671 w 1971297"/>
              <a:gd name="connsiteY22" fmla="*/ 282712 h 1970826"/>
              <a:gd name="connsiteX23" fmla="*/ 1580623 w 1971297"/>
              <a:gd name="connsiteY23" fmla="*/ 457722 h 1970826"/>
              <a:gd name="connsiteX24" fmla="*/ 1610608 w 1971297"/>
              <a:gd name="connsiteY24" fmla="*/ 499270 h 1970826"/>
              <a:gd name="connsiteX25" fmla="*/ 1802874 w 1971297"/>
              <a:gd name="connsiteY25" fmla="*/ 433067 h 1970826"/>
              <a:gd name="connsiteX26" fmla="*/ 1881963 w 1971297"/>
              <a:gd name="connsiteY26" fmla="*/ 572248 h 1970826"/>
              <a:gd name="connsiteX27" fmla="*/ 1726590 w 1971297"/>
              <a:gd name="connsiteY27" fmla="*/ 698353 h 1970826"/>
              <a:gd name="connsiteX28" fmla="*/ 1741176 w 1971297"/>
              <a:gd name="connsiteY28" fmla="*/ 735808 h 1970826"/>
              <a:gd name="connsiteX29" fmla="*/ 1943264 w 1971297"/>
              <a:gd name="connsiteY29" fmla="*/ 735802 h 1970826"/>
              <a:gd name="connsiteX30" fmla="*/ 1971297 w 1971297"/>
              <a:gd name="connsiteY30" fmla="*/ 894790 h 1970826"/>
              <a:gd name="connsiteX31" fmla="*/ 1781396 w 1971297"/>
              <a:gd name="connsiteY31" fmla="*/ 963903 h 1970826"/>
              <a:gd name="connsiteX32" fmla="*/ 1780264 w 1971297"/>
              <a:gd name="connsiteY32" fmla="*/ 1014677 h 1970826"/>
              <a:gd name="connsiteX33" fmla="*/ 1969010 w 1971297"/>
              <a:gd name="connsiteY33" fmla="*/ 1087130 h 1970826"/>
              <a:gd name="connsiteX34" fmla="*/ 1940132 w 1971297"/>
              <a:gd name="connsiteY34" fmla="*/ 1244586 h 1970826"/>
              <a:gd name="connsiteX35" fmla="*/ 1738798 w 1971297"/>
              <a:gd name="connsiteY35" fmla="*/ 1241295 h 1970826"/>
              <a:gd name="connsiteX36" fmla="*/ 1725636 w 1971297"/>
              <a:gd name="connsiteY36" fmla="*/ 1280130 h 1970826"/>
              <a:gd name="connsiteX37" fmla="*/ 1880447 w 1971297"/>
              <a:gd name="connsiteY37" fmla="*/ 1410026 h 1970826"/>
              <a:gd name="connsiteX38" fmla="*/ 1799727 w 1971297"/>
              <a:gd name="connsiteY38" fmla="*/ 1549837 h 1970826"/>
              <a:gd name="connsiteX39" fmla="*/ 1609829 w 1971297"/>
              <a:gd name="connsiteY39" fmla="*/ 1480714 h 1970826"/>
              <a:gd name="connsiteX40" fmla="*/ 1579151 w 1971297"/>
              <a:gd name="connsiteY40" fmla="*/ 1512281 h 1970826"/>
              <a:gd name="connsiteX41" fmla="*/ 1677610 w 1971297"/>
              <a:gd name="connsiteY41" fmla="*/ 1689905 h 1970826"/>
              <a:gd name="connsiteX42" fmla="*/ 1554277 w 1971297"/>
              <a:gd name="connsiteY42" fmla="*/ 1791961 h 1970826"/>
              <a:gd name="connsiteX43" fmla="*/ 1402854 w 1971297"/>
              <a:gd name="connsiteY43" fmla="*/ 1660626 h 1970826"/>
              <a:gd name="connsiteX44" fmla="*/ 1363848 w 1971297"/>
              <a:gd name="connsiteY44" fmla="*/ 1687117 h 1970826"/>
              <a:gd name="connsiteX45" fmla="*/ 1398945 w 1971297"/>
              <a:gd name="connsiteY45" fmla="*/ 1886133 h 1970826"/>
              <a:gd name="connsiteX46" fmla="*/ 1247240 w 1971297"/>
              <a:gd name="connsiteY46" fmla="*/ 1941349 h 1970826"/>
              <a:gd name="connsiteX47" fmla="*/ 1146202 w 1971297"/>
              <a:gd name="connsiteY47" fmla="*/ 1766334 h 1970826"/>
              <a:gd name="connsiteX48" fmla="*/ 1100680 w 1971297"/>
              <a:gd name="connsiteY48" fmla="*/ 1773318 h 1970826"/>
              <a:gd name="connsiteX49" fmla="*/ 1062288 w 1971297"/>
              <a:gd name="connsiteY49" fmla="*/ 1970826 h 1970826"/>
              <a:gd name="connsiteX50" fmla="*/ 902210 w 1971297"/>
              <a:gd name="connsiteY50" fmla="*/ 1969728 h 1970826"/>
              <a:gd name="connsiteX51" fmla="*/ 870884 w 1971297"/>
              <a:gd name="connsiteY51" fmla="*/ 1773359 h 1970826"/>
              <a:gd name="connsiteX52" fmla="*/ 825096 w 1971297"/>
              <a:gd name="connsiteY52" fmla="*/ 1766334 h 1970826"/>
              <a:gd name="connsiteX53" fmla="*/ 724057 w 1971297"/>
              <a:gd name="connsiteY53" fmla="*/ 1941349 h 1970826"/>
              <a:gd name="connsiteX54" fmla="*/ 572352 w 1971297"/>
              <a:gd name="connsiteY54" fmla="*/ 1886133 h 1970826"/>
              <a:gd name="connsiteX55" fmla="*/ 607450 w 1971297"/>
              <a:gd name="connsiteY55" fmla="*/ 1687117 h 1970826"/>
              <a:gd name="connsiteX56" fmla="*/ 571181 w 1971297"/>
              <a:gd name="connsiteY56" fmla="*/ 1662485 h 1970826"/>
              <a:gd name="connsiteX57" fmla="*/ 421150 w 1971297"/>
              <a:gd name="connsiteY57" fmla="*/ 1792613 h 1970826"/>
              <a:gd name="connsiteX58" fmla="*/ 297817 w 1971297"/>
              <a:gd name="connsiteY58" fmla="*/ 1690557 h 1970826"/>
              <a:gd name="connsiteX59" fmla="*/ 395006 w 1971297"/>
              <a:gd name="connsiteY59" fmla="*/ 1515223 h 1970826"/>
              <a:gd name="connsiteX60" fmla="*/ 361468 w 1971297"/>
              <a:gd name="connsiteY60" fmla="*/ 1480715 h 1970826"/>
              <a:gd name="connsiteX61" fmla="*/ 171570 w 1971297"/>
              <a:gd name="connsiteY61" fmla="*/ 1549837 h 1970826"/>
              <a:gd name="connsiteX62" fmla="*/ 90850 w 1971297"/>
              <a:gd name="connsiteY62" fmla="*/ 1410026 h 1970826"/>
              <a:gd name="connsiteX63" fmla="*/ 245661 w 1971297"/>
              <a:gd name="connsiteY63" fmla="*/ 1280131 h 1970826"/>
              <a:gd name="connsiteX64" fmla="*/ 233972 w 1971297"/>
              <a:gd name="connsiteY64" fmla="*/ 1245643 h 1970826"/>
              <a:gd name="connsiteX65" fmla="*/ 31451 w 1971297"/>
              <a:gd name="connsiteY65" fmla="*/ 1248953 h 1970826"/>
              <a:gd name="connsiteX66" fmla="*/ 2573 w 1971297"/>
              <a:gd name="connsiteY66" fmla="*/ 1091497 h 1970826"/>
              <a:gd name="connsiteX67" fmla="*/ 191133 w 1971297"/>
              <a:gd name="connsiteY67" fmla="*/ 1019115 h 1970826"/>
              <a:gd name="connsiteX68" fmla="*/ 189902 w 1971297"/>
              <a:gd name="connsiteY68" fmla="*/ 963904 h 1970826"/>
              <a:gd name="connsiteX69" fmla="*/ 0 w 1971297"/>
              <a:gd name="connsiteY69" fmla="*/ 894790 h 1970826"/>
              <a:gd name="connsiteX70" fmla="*/ 28034 w 1971297"/>
              <a:gd name="connsiteY70" fmla="*/ 735802 h 1970826"/>
              <a:gd name="connsiteX71" fmla="*/ 230121 w 1971297"/>
              <a:gd name="connsiteY71" fmla="*/ 735808 h 1970826"/>
              <a:gd name="connsiteX72" fmla="*/ 240919 w 1971297"/>
              <a:gd name="connsiteY72" fmla="*/ 708079 h 1970826"/>
              <a:gd name="connsiteX73" fmla="*/ 84936 w 1971297"/>
              <a:gd name="connsiteY73" fmla="*/ 585933 h 1970826"/>
              <a:gd name="connsiteX74" fmla="*/ 161584 w 1971297"/>
              <a:gd name="connsiteY74" fmla="*/ 445393 h 1970826"/>
              <a:gd name="connsiteX75" fmla="*/ 354366 w 1971297"/>
              <a:gd name="connsiteY75" fmla="*/ 508031 h 1970826"/>
              <a:gd name="connsiteX76" fmla="*/ 390674 w 1971297"/>
              <a:gd name="connsiteY76" fmla="*/ 457722 h 1970826"/>
              <a:gd name="connsiteX77" fmla="*/ 289626 w 1971297"/>
              <a:gd name="connsiteY77" fmla="*/ 282712 h 1970826"/>
              <a:gd name="connsiteX78" fmla="*/ 413297 w 1971297"/>
              <a:gd name="connsiteY78" fmla="*/ 178940 h 1970826"/>
              <a:gd name="connsiteX79" fmla="*/ 568101 w 1971297"/>
              <a:gd name="connsiteY79" fmla="*/ 308843 h 1970826"/>
              <a:gd name="connsiteX80" fmla="*/ 611018 w 1971297"/>
              <a:gd name="connsiteY80" fmla="*/ 285324 h 1970826"/>
              <a:gd name="connsiteX81" fmla="*/ 576674 w 1971297"/>
              <a:gd name="connsiteY81" fmla="*/ 89277 h 1970826"/>
              <a:gd name="connsiteX82" fmla="*/ 727674 w 1971297"/>
              <a:gd name="connsiteY82" fmla="*/ 36123 h 1970826"/>
              <a:gd name="connsiteX83" fmla="*/ 826689 w 1971297"/>
              <a:gd name="connsiteY83" fmla="*/ 207623 h 1970826"/>
              <a:gd name="connsiteX84" fmla="*/ 869841 w 1971297"/>
              <a:gd name="connsiteY84" fmla="*/ 199018 h 1970826"/>
              <a:gd name="connsiteX85" fmla="*/ 904928 w 1971297"/>
              <a:gd name="connsiteY85" fmla="*/ 0 h 1970826"/>
              <a:gd name="connsiteX0" fmla="*/ 198126 w 1971297"/>
              <a:gd name="connsiteY0" fmla="*/ 1096370 h 1970826"/>
              <a:gd name="connsiteX1" fmla="*/ 199057 w 1971297"/>
              <a:gd name="connsiteY1" fmla="*/ 1110557 h 1970826"/>
              <a:gd name="connsiteX2" fmla="*/ 198126 w 1971297"/>
              <a:gd name="connsiteY2" fmla="*/ 1096370 h 1970826"/>
              <a:gd name="connsiteX3" fmla="*/ 1658502 w 1971297"/>
              <a:gd name="connsiteY3" fmla="*/ 565633 h 1970826"/>
              <a:gd name="connsiteX4" fmla="*/ 1664864 w 1971297"/>
              <a:gd name="connsiteY4" fmla="*/ 574448 h 1970826"/>
              <a:gd name="connsiteX5" fmla="*/ 1664611 w 1971297"/>
              <a:gd name="connsiteY5" fmla="*/ 573966 h 1970826"/>
              <a:gd name="connsiteX6" fmla="*/ 1658502 w 1971297"/>
              <a:gd name="connsiteY6" fmla="*/ 565633 h 1970826"/>
              <a:gd name="connsiteX7" fmla="*/ 985649 w 1971297"/>
              <a:gd name="connsiteY7" fmla="*/ 323553 h 1970826"/>
              <a:gd name="connsiteX8" fmla="*/ 322581 w 1971297"/>
              <a:gd name="connsiteY8" fmla="*/ 986621 h 1970826"/>
              <a:gd name="connsiteX9" fmla="*/ 985649 w 1971297"/>
              <a:gd name="connsiteY9" fmla="*/ 1649689 h 1970826"/>
              <a:gd name="connsiteX10" fmla="*/ 1648717 w 1971297"/>
              <a:gd name="connsiteY10" fmla="*/ 986621 h 1970826"/>
              <a:gd name="connsiteX11" fmla="*/ 985649 w 1971297"/>
              <a:gd name="connsiteY11" fmla="*/ 323553 h 1970826"/>
              <a:gd name="connsiteX12" fmla="*/ 904928 w 1971297"/>
              <a:gd name="connsiteY12" fmla="*/ 0 h 1970826"/>
              <a:gd name="connsiteX13" fmla="*/ 1066369 w 1971297"/>
              <a:gd name="connsiteY13" fmla="*/ 0 h 1970826"/>
              <a:gd name="connsiteX14" fmla="*/ 1101456 w 1971297"/>
              <a:gd name="connsiteY14" fmla="*/ 199018 h 1970826"/>
              <a:gd name="connsiteX15" fmla="*/ 1149113 w 1971297"/>
              <a:gd name="connsiteY15" fmla="*/ 208521 h 1970826"/>
              <a:gd name="connsiteX16" fmla="*/ 1245734 w 1971297"/>
              <a:gd name="connsiteY16" fmla="*/ 36367 h 1970826"/>
              <a:gd name="connsiteX17" fmla="*/ 1396309 w 1971297"/>
              <a:gd name="connsiteY17" fmla="*/ 90716 h 1970826"/>
              <a:gd name="connsiteX18" fmla="*/ 1364293 w 1971297"/>
              <a:gd name="connsiteY18" fmla="*/ 287523 h 1970826"/>
              <a:gd name="connsiteX19" fmla="*/ 1403197 w 1971297"/>
              <a:gd name="connsiteY19" fmla="*/ 308843 h 1970826"/>
              <a:gd name="connsiteX20" fmla="*/ 1558001 w 1971297"/>
              <a:gd name="connsiteY20" fmla="*/ 178940 h 1970826"/>
              <a:gd name="connsiteX21" fmla="*/ 1681671 w 1971297"/>
              <a:gd name="connsiteY21" fmla="*/ 282712 h 1970826"/>
              <a:gd name="connsiteX22" fmla="*/ 1580623 w 1971297"/>
              <a:gd name="connsiteY22" fmla="*/ 457722 h 1970826"/>
              <a:gd name="connsiteX23" fmla="*/ 1610608 w 1971297"/>
              <a:gd name="connsiteY23" fmla="*/ 499270 h 1970826"/>
              <a:gd name="connsiteX24" fmla="*/ 1802874 w 1971297"/>
              <a:gd name="connsiteY24" fmla="*/ 433067 h 1970826"/>
              <a:gd name="connsiteX25" fmla="*/ 1881963 w 1971297"/>
              <a:gd name="connsiteY25" fmla="*/ 572248 h 1970826"/>
              <a:gd name="connsiteX26" fmla="*/ 1726590 w 1971297"/>
              <a:gd name="connsiteY26" fmla="*/ 698353 h 1970826"/>
              <a:gd name="connsiteX27" fmla="*/ 1741176 w 1971297"/>
              <a:gd name="connsiteY27" fmla="*/ 735808 h 1970826"/>
              <a:gd name="connsiteX28" fmla="*/ 1943264 w 1971297"/>
              <a:gd name="connsiteY28" fmla="*/ 735802 h 1970826"/>
              <a:gd name="connsiteX29" fmla="*/ 1971297 w 1971297"/>
              <a:gd name="connsiteY29" fmla="*/ 894790 h 1970826"/>
              <a:gd name="connsiteX30" fmla="*/ 1781396 w 1971297"/>
              <a:gd name="connsiteY30" fmla="*/ 963903 h 1970826"/>
              <a:gd name="connsiteX31" fmla="*/ 1780264 w 1971297"/>
              <a:gd name="connsiteY31" fmla="*/ 1014677 h 1970826"/>
              <a:gd name="connsiteX32" fmla="*/ 1969010 w 1971297"/>
              <a:gd name="connsiteY32" fmla="*/ 1087130 h 1970826"/>
              <a:gd name="connsiteX33" fmla="*/ 1940132 w 1971297"/>
              <a:gd name="connsiteY33" fmla="*/ 1244586 h 1970826"/>
              <a:gd name="connsiteX34" fmla="*/ 1738798 w 1971297"/>
              <a:gd name="connsiteY34" fmla="*/ 1241295 h 1970826"/>
              <a:gd name="connsiteX35" fmla="*/ 1725636 w 1971297"/>
              <a:gd name="connsiteY35" fmla="*/ 1280130 h 1970826"/>
              <a:gd name="connsiteX36" fmla="*/ 1880447 w 1971297"/>
              <a:gd name="connsiteY36" fmla="*/ 1410026 h 1970826"/>
              <a:gd name="connsiteX37" fmla="*/ 1799727 w 1971297"/>
              <a:gd name="connsiteY37" fmla="*/ 1549837 h 1970826"/>
              <a:gd name="connsiteX38" fmla="*/ 1609829 w 1971297"/>
              <a:gd name="connsiteY38" fmla="*/ 1480714 h 1970826"/>
              <a:gd name="connsiteX39" fmla="*/ 1579151 w 1971297"/>
              <a:gd name="connsiteY39" fmla="*/ 1512281 h 1970826"/>
              <a:gd name="connsiteX40" fmla="*/ 1677610 w 1971297"/>
              <a:gd name="connsiteY40" fmla="*/ 1689905 h 1970826"/>
              <a:gd name="connsiteX41" fmla="*/ 1554277 w 1971297"/>
              <a:gd name="connsiteY41" fmla="*/ 1791961 h 1970826"/>
              <a:gd name="connsiteX42" fmla="*/ 1402854 w 1971297"/>
              <a:gd name="connsiteY42" fmla="*/ 1660626 h 1970826"/>
              <a:gd name="connsiteX43" fmla="*/ 1363848 w 1971297"/>
              <a:gd name="connsiteY43" fmla="*/ 1687117 h 1970826"/>
              <a:gd name="connsiteX44" fmla="*/ 1398945 w 1971297"/>
              <a:gd name="connsiteY44" fmla="*/ 1886133 h 1970826"/>
              <a:gd name="connsiteX45" fmla="*/ 1247240 w 1971297"/>
              <a:gd name="connsiteY45" fmla="*/ 1941349 h 1970826"/>
              <a:gd name="connsiteX46" fmla="*/ 1146202 w 1971297"/>
              <a:gd name="connsiteY46" fmla="*/ 1766334 h 1970826"/>
              <a:gd name="connsiteX47" fmla="*/ 1100680 w 1971297"/>
              <a:gd name="connsiteY47" fmla="*/ 1773318 h 1970826"/>
              <a:gd name="connsiteX48" fmla="*/ 1062288 w 1971297"/>
              <a:gd name="connsiteY48" fmla="*/ 1970826 h 1970826"/>
              <a:gd name="connsiteX49" fmla="*/ 902210 w 1971297"/>
              <a:gd name="connsiteY49" fmla="*/ 1969728 h 1970826"/>
              <a:gd name="connsiteX50" fmla="*/ 870884 w 1971297"/>
              <a:gd name="connsiteY50" fmla="*/ 1773359 h 1970826"/>
              <a:gd name="connsiteX51" fmla="*/ 825096 w 1971297"/>
              <a:gd name="connsiteY51" fmla="*/ 1766334 h 1970826"/>
              <a:gd name="connsiteX52" fmla="*/ 724057 w 1971297"/>
              <a:gd name="connsiteY52" fmla="*/ 1941349 h 1970826"/>
              <a:gd name="connsiteX53" fmla="*/ 572352 w 1971297"/>
              <a:gd name="connsiteY53" fmla="*/ 1886133 h 1970826"/>
              <a:gd name="connsiteX54" fmla="*/ 607450 w 1971297"/>
              <a:gd name="connsiteY54" fmla="*/ 1687117 h 1970826"/>
              <a:gd name="connsiteX55" fmla="*/ 571181 w 1971297"/>
              <a:gd name="connsiteY55" fmla="*/ 1662485 h 1970826"/>
              <a:gd name="connsiteX56" fmla="*/ 421150 w 1971297"/>
              <a:gd name="connsiteY56" fmla="*/ 1792613 h 1970826"/>
              <a:gd name="connsiteX57" fmla="*/ 297817 w 1971297"/>
              <a:gd name="connsiteY57" fmla="*/ 1690557 h 1970826"/>
              <a:gd name="connsiteX58" fmla="*/ 395006 w 1971297"/>
              <a:gd name="connsiteY58" fmla="*/ 1515223 h 1970826"/>
              <a:gd name="connsiteX59" fmla="*/ 361468 w 1971297"/>
              <a:gd name="connsiteY59" fmla="*/ 1480715 h 1970826"/>
              <a:gd name="connsiteX60" fmla="*/ 171570 w 1971297"/>
              <a:gd name="connsiteY60" fmla="*/ 1549837 h 1970826"/>
              <a:gd name="connsiteX61" fmla="*/ 90850 w 1971297"/>
              <a:gd name="connsiteY61" fmla="*/ 1410026 h 1970826"/>
              <a:gd name="connsiteX62" fmla="*/ 245661 w 1971297"/>
              <a:gd name="connsiteY62" fmla="*/ 1280131 h 1970826"/>
              <a:gd name="connsiteX63" fmla="*/ 233972 w 1971297"/>
              <a:gd name="connsiteY63" fmla="*/ 1245643 h 1970826"/>
              <a:gd name="connsiteX64" fmla="*/ 31451 w 1971297"/>
              <a:gd name="connsiteY64" fmla="*/ 1248953 h 1970826"/>
              <a:gd name="connsiteX65" fmla="*/ 2573 w 1971297"/>
              <a:gd name="connsiteY65" fmla="*/ 1091497 h 1970826"/>
              <a:gd name="connsiteX66" fmla="*/ 191133 w 1971297"/>
              <a:gd name="connsiteY66" fmla="*/ 1019115 h 1970826"/>
              <a:gd name="connsiteX67" fmla="*/ 189902 w 1971297"/>
              <a:gd name="connsiteY67" fmla="*/ 963904 h 1970826"/>
              <a:gd name="connsiteX68" fmla="*/ 0 w 1971297"/>
              <a:gd name="connsiteY68" fmla="*/ 894790 h 1970826"/>
              <a:gd name="connsiteX69" fmla="*/ 28034 w 1971297"/>
              <a:gd name="connsiteY69" fmla="*/ 735802 h 1970826"/>
              <a:gd name="connsiteX70" fmla="*/ 230121 w 1971297"/>
              <a:gd name="connsiteY70" fmla="*/ 735808 h 1970826"/>
              <a:gd name="connsiteX71" fmla="*/ 240919 w 1971297"/>
              <a:gd name="connsiteY71" fmla="*/ 708079 h 1970826"/>
              <a:gd name="connsiteX72" fmla="*/ 84936 w 1971297"/>
              <a:gd name="connsiteY72" fmla="*/ 585933 h 1970826"/>
              <a:gd name="connsiteX73" fmla="*/ 161584 w 1971297"/>
              <a:gd name="connsiteY73" fmla="*/ 445393 h 1970826"/>
              <a:gd name="connsiteX74" fmla="*/ 354366 w 1971297"/>
              <a:gd name="connsiteY74" fmla="*/ 508031 h 1970826"/>
              <a:gd name="connsiteX75" fmla="*/ 390674 w 1971297"/>
              <a:gd name="connsiteY75" fmla="*/ 457722 h 1970826"/>
              <a:gd name="connsiteX76" fmla="*/ 289626 w 1971297"/>
              <a:gd name="connsiteY76" fmla="*/ 282712 h 1970826"/>
              <a:gd name="connsiteX77" fmla="*/ 413297 w 1971297"/>
              <a:gd name="connsiteY77" fmla="*/ 178940 h 1970826"/>
              <a:gd name="connsiteX78" fmla="*/ 568101 w 1971297"/>
              <a:gd name="connsiteY78" fmla="*/ 308843 h 1970826"/>
              <a:gd name="connsiteX79" fmla="*/ 611018 w 1971297"/>
              <a:gd name="connsiteY79" fmla="*/ 285324 h 1970826"/>
              <a:gd name="connsiteX80" fmla="*/ 576674 w 1971297"/>
              <a:gd name="connsiteY80" fmla="*/ 89277 h 1970826"/>
              <a:gd name="connsiteX81" fmla="*/ 727674 w 1971297"/>
              <a:gd name="connsiteY81" fmla="*/ 36123 h 1970826"/>
              <a:gd name="connsiteX82" fmla="*/ 826689 w 1971297"/>
              <a:gd name="connsiteY82" fmla="*/ 207623 h 1970826"/>
              <a:gd name="connsiteX83" fmla="*/ 869841 w 1971297"/>
              <a:gd name="connsiteY83" fmla="*/ 199018 h 1970826"/>
              <a:gd name="connsiteX84" fmla="*/ 904928 w 1971297"/>
              <a:gd name="connsiteY84" fmla="*/ 0 h 1970826"/>
              <a:gd name="connsiteX0" fmla="*/ 1658502 w 1971297"/>
              <a:gd name="connsiteY0" fmla="*/ 565633 h 1970826"/>
              <a:gd name="connsiteX1" fmla="*/ 1664864 w 1971297"/>
              <a:gd name="connsiteY1" fmla="*/ 574448 h 1970826"/>
              <a:gd name="connsiteX2" fmla="*/ 1664611 w 1971297"/>
              <a:gd name="connsiteY2" fmla="*/ 573966 h 1970826"/>
              <a:gd name="connsiteX3" fmla="*/ 1658502 w 1971297"/>
              <a:gd name="connsiteY3" fmla="*/ 565633 h 1970826"/>
              <a:gd name="connsiteX4" fmla="*/ 985649 w 1971297"/>
              <a:gd name="connsiteY4" fmla="*/ 323553 h 1970826"/>
              <a:gd name="connsiteX5" fmla="*/ 322581 w 1971297"/>
              <a:gd name="connsiteY5" fmla="*/ 986621 h 1970826"/>
              <a:gd name="connsiteX6" fmla="*/ 985649 w 1971297"/>
              <a:gd name="connsiteY6" fmla="*/ 1649689 h 1970826"/>
              <a:gd name="connsiteX7" fmla="*/ 1648717 w 1971297"/>
              <a:gd name="connsiteY7" fmla="*/ 986621 h 1970826"/>
              <a:gd name="connsiteX8" fmla="*/ 985649 w 1971297"/>
              <a:gd name="connsiteY8" fmla="*/ 323553 h 1970826"/>
              <a:gd name="connsiteX9" fmla="*/ 904928 w 1971297"/>
              <a:gd name="connsiteY9" fmla="*/ 0 h 1970826"/>
              <a:gd name="connsiteX10" fmla="*/ 1066369 w 1971297"/>
              <a:gd name="connsiteY10" fmla="*/ 0 h 1970826"/>
              <a:gd name="connsiteX11" fmla="*/ 1101456 w 1971297"/>
              <a:gd name="connsiteY11" fmla="*/ 199018 h 1970826"/>
              <a:gd name="connsiteX12" fmla="*/ 1149113 w 1971297"/>
              <a:gd name="connsiteY12" fmla="*/ 208521 h 1970826"/>
              <a:gd name="connsiteX13" fmla="*/ 1245734 w 1971297"/>
              <a:gd name="connsiteY13" fmla="*/ 36367 h 1970826"/>
              <a:gd name="connsiteX14" fmla="*/ 1396309 w 1971297"/>
              <a:gd name="connsiteY14" fmla="*/ 90716 h 1970826"/>
              <a:gd name="connsiteX15" fmla="*/ 1364293 w 1971297"/>
              <a:gd name="connsiteY15" fmla="*/ 287523 h 1970826"/>
              <a:gd name="connsiteX16" fmla="*/ 1403197 w 1971297"/>
              <a:gd name="connsiteY16" fmla="*/ 308843 h 1970826"/>
              <a:gd name="connsiteX17" fmla="*/ 1558001 w 1971297"/>
              <a:gd name="connsiteY17" fmla="*/ 178940 h 1970826"/>
              <a:gd name="connsiteX18" fmla="*/ 1681671 w 1971297"/>
              <a:gd name="connsiteY18" fmla="*/ 282712 h 1970826"/>
              <a:gd name="connsiteX19" fmla="*/ 1580623 w 1971297"/>
              <a:gd name="connsiteY19" fmla="*/ 457722 h 1970826"/>
              <a:gd name="connsiteX20" fmla="*/ 1610608 w 1971297"/>
              <a:gd name="connsiteY20" fmla="*/ 499270 h 1970826"/>
              <a:gd name="connsiteX21" fmla="*/ 1802874 w 1971297"/>
              <a:gd name="connsiteY21" fmla="*/ 433067 h 1970826"/>
              <a:gd name="connsiteX22" fmla="*/ 1881963 w 1971297"/>
              <a:gd name="connsiteY22" fmla="*/ 572248 h 1970826"/>
              <a:gd name="connsiteX23" fmla="*/ 1726590 w 1971297"/>
              <a:gd name="connsiteY23" fmla="*/ 698353 h 1970826"/>
              <a:gd name="connsiteX24" fmla="*/ 1741176 w 1971297"/>
              <a:gd name="connsiteY24" fmla="*/ 735808 h 1970826"/>
              <a:gd name="connsiteX25" fmla="*/ 1943264 w 1971297"/>
              <a:gd name="connsiteY25" fmla="*/ 735802 h 1970826"/>
              <a:gd name="connsiteX26" fmla="*/ 1971297 w 1971297"/>
              <a:gd name="connsiteY26" fmla="*/ 894790 h 1970826"/>
              <a:gd name="connsiteX27" fmla="*/ 1781396 w 1971297"/>
              <a:gd name="connsiteY27" fmla="*/ 963903 h 1970826"/>
              <a:gd name="connsiteX28" fmla="*/ 1780264 w 1971297"/>
              <a:gd name="connsiteY28" fmla="*/ 1014677 h 1970826"/>
              <a:gd name="connsiteX29" fmla="*/ 1969010 w 1971297"/>
              <a:gd name="connsiteY29" fmla="*/ 1087130 h 1970826"/>
              <a:gd name="connsiteX30" fmla="*/ 1940132 w 1971297"/>
              <a:gd name="connsiteY30" fmla="*/ 1244586 h 1970826"/>
              <a:gd name="connsiteX31" fmla="*/ 1738798 w 1971297"/>
              <a:gd name="connsiteY31" fmla="*/ 1241295 h 1970826"/>
              <a:gd name="connsiteX32" fmla="*/ 1725636 w 1971297"/>
              <a:gd name="connsiteY32" fmla="*/ 1280130 h 1970826"/>
              <a:gd name="connsiteX33" fmla="*/ 1880447 w 1971297"/>
              <a:gd name="connsiteY33" fmla="*/ 1410026 h 1970826"/>
              <a:gd name="connsiteX34" fmla="*/ 1799727 w 1971297"/>
              <a:gd name="connsiteY34" fmla="*/ 1549837 h 1970826"/>
              <a:gd name="connsiteX35" fmla="*/ 1609829 w 1971297"/>
              <a:gd name="connsiteY35" fmla="*/ 1480714 h 1970826"/>
              <a:gd name="connsiteX36" fmla="*/ 1579151 w 1971297"/>
              <a:gd name="connsiteY36" fmla="*/ 1512281 h 1970826"/>
              <a:gd name="connsiteX37" fmla="*/ 1677610 w 1971297"/>
              <a:gd name="connsiteY37" fmla="*/ 1689905 h 1970826"/>
              <a:gd name="connsiteX38" fmla="*/ 1554277 w 1971297"/>
              <a:gd name="connsiteY38" fmla="*/ 1791961 h 1970826"/>
              <a:gd name="connsiteX39" fmla="*/ 1402854 w 1971297"/>
              <a:gd name="connsiteY39" fmla="*/ 1660626 h 1970826"/>
              <a:gd name="connsiteX40" fmla="*/ 1363848 w 1971297"/>
              <a:gd name="connsiteY40" fmla="*/ 1687117 h 1970826"/>
              <a:gd name="connsiteX41" fmla="*/ 1398945 w 1971297"/>
              <a:gd name="connsiteY41" fmla="*/ 1886133 h 1970826"/>
              <a:gd name="connsiteX42" fmla="*/ 1247240 w 1971297"/>
              <a:gd name="connsiteY42" fmla="*/ 1941349 h 1970826"/>
              <a:gd name="connsiteX43" fmla="*/ 1146202 w 1971297"/>
              <a:gd name="connsiteY43" fmla="*/ 1766334 h 1970826"/>
              <a:gd name="connsiteX44" fmla="*/ 1100680 w 1971297"/>
              <a:gd name="connsiteY44" fmla="*/ 1773318 h 1970826"/>
              <a:gd name="connsiteX45" fmla="*/ 1062288 w 1971297"/>
              <a:gd name="connsiteY45" fmla="*/ 1970826 h 1970826"/>
              <a:gd name="connsiteX46" fmla="*/ 902210 w 1971297"/>
              <a:gd name="connsiteY46" fmla="*/ 1969728 h 1970826"/>
              <a:gd name="connsiteX47" fmla="*/ 870884 w 1971297"/>
              <a:gd name="connsiteY47" fmla="*/ 1773359 h 1970826"/>
              <a:gd name="connsiteX48" fmla="*/ 825096 w 1971297"/>
              <a:gd name="connsiteY48" fmla="*/ 1766334 h 1970826"/>
              <a:gd name="connsiteX49" fmla="*/ 724057 w 1971297"/>
              <a:gd name="connsiteY49" fmla="*/ 1941349 h 1970826"/>
              <a:gd name="connsiteX50" fmla="*/ 572352 w 1971297"/>
              <a:gd name="connsiteY50" fmla="*/ 1886133 h 1970826"/>
              <a:gd name="connsiteX51" fmla="*/ 607450 w 1971297"/>
              <a:gd name="connsiteY51" fmla="*/ 1687117 h 1970826"/>
              <a:gd name="connsiteX52" fmla="*/ 571181 w 1971297"/>
              <a:gd name="connsiteY52" fmla="*/ 1662485 h 1970826"/>
              <a:gd name="connsiteX53" fmla="*/ 421150 w 1971297"/>
              <a:gd name="connsiteY53" fmla="*/ 1792613 h 1970826"/>
              <a:gd name="connsiteX54" fmla="*/ 297817 w 1971297"/>
              <a:gd name="connsiteY54" fmla="*/ 1690557 h 1970826"/>
              <a:gd name="connsiteX55" fmla="*/ 395006 w 1971297"/>
              <a:gd name="connsiteY55" fmla="*/ 1515223 h 1970826"/>
              <a:gd name="connsiteX56" fmla="*/ 361468 w 1971297"/>
              <a:gd name="connsiteY56" fmla="*/ 1480715 h 1970826"/>
              <a:gd name="connsiteX57" fmla="*/ 171570 w 1971297"/>
              <a:gd name="connsiteY57" fmla="*/ 1549837 h 1970826"/>
              <a:gd name="connsiteX58" fmla="*/ 90850 w 1971297"/>
              <a:gd name="connsiteY58" fmla="*/ 1410026 h 1970826"/>
              <a:gd name="connsiteX59" fmla="*/ 245661 w 1971297"/>
              <a:gd name="connsiteY59" fmla="*/ 1280131 h 1970826"/>
              <a:gd name="connsiteX60" fmla="*/ 233972 w 1971297"/>
              <a:gd name="connsiteY60" fmla="*/ 1245643 h 1970826"/>
              <a:gd name="connsiteX61" fmla="*/ 31451 w 1971297"/>
              <a:gd name="connsiteY61" fmla="*/ 1248953 h 1970826"/>
              <a:gd name="connsiteX62" fmla="*/ 2573 w 1971297"/>
              <a:gd name="connsiteY62" fmla="*/ 1091497 h 1970826"/>
              <a:gd name="connsiteX63" fmla="*/ 191133 w 1971297"/>
              <a:gd name="connsiteY63" fmla="*/ 1019115 h 1970826"/>
              <a:gd name="connsiteX64" fmla="*/ 189902 w 1971297"/>
              <a:gd name="connsiteY64" fmla="*/ 963904 h 1970826"/>
              <a:gd name="connsiteX65" fmla="*/ 0 w 1971297"/>
              <a:gd name="connsiteY65" fmla="*/ 894790 h 1970826"/>
              <a:gd name="connsiteX66" fmla="*/ 28034 w 1971297"/>
              <a:gd name="connsiteY66" fmla="*/ 735802 h 1970826"/>
              <a:gd name="connsiteX67" fmla="*/ 230121 w 1971297"/>
              <a:gd name="connsiteY67" fmla="*/ 735808 h 1970826"/>
              <a:gd name="connsiteX68" fmla="*/ 240919 w 1971297"/>
              <a:gd name="connsiteY68" fmla="*/ 708079 h 1970826"/>
              <a:gd name="connsiteX69" fmla="*/ 84936 w 1971297"/>
              <a:gd name="connsiteY69" fmla="*/ 585933 h 1970826"/>
              <a:gd name="connsiteX70" fmla="*/ 161584 w 1971297"/>
              <a:gd name="connsiteY70" fmla="*/ 445393 h 1970826"/>
              <a:gd name="connsiteX71" fmla="*/ 354366 w 1971297"/>
              <a:gd name="connsiteY71" fmla="*/ 508031 h 1970826"/>
              <a:gd name="connsiteX72" fmla="*/ 390674 w 1971297"/>
              <a:gd name="connsiteY72" fmla="*/ 457722 h 1970826"/>
              <a:gd name="connsiteX73" fmla="*/ 289626 w 1971297"/>
              <a:gd name="connsiteY73" fmla="*/ 282712 h 1970826"/>
              <a:gd name="connsiteX74" fmla="*/ 413297 w 1971297"/>
              <a:gd name="connsiteY74" fmla="*/ 178940 h 1970826"/>
              <a:gd name="connsiteX75" fmla="*/ 568101 w 1971297"/>
              <a:gd name="connsiteY75" fmla="*/ 308843 h 1970826"/>
              <a:gd name="connsiteX76" fmla="*/ 611018 w 1971297"/>
              <a:gd name="connsiteY76" fmla="*/ 285324 h 1970826"/>
              <a:gd name="connsiteX77" fmla="*/ 576674 w 1971297"/>
              <a:gd name="connsiteY77" fmla="*/ 89277 h 1970826"/>
              <a:gd name="connsiteX78" fmla="*/ 727674 w 1971297"/>
              <a:gd name="connsiteY78" fmla="*/ 36123 h 1970826"/>
              <a:gd name="connsiteX79" fmla="*/ 826689 w 1971297"/>
              <a:gd name="connsiteY79" fmla="*/ 207623 h 1970826"/>
              <a:gd name="connsiteX80" fmla="*/ 869841 w 1971297"/>
              <a:gd name="connsiteY80" fmla="*/ 199018 h 1970826"/>
              <a:gd name="connsiteX81" fmla="*/ 904928 w 1971297"/>
              <a:gd name="connsiteY81" fmla="*/ 0 h 1970826"/>
              <a:gd name="connsiteX0" fmla="*/ 1664611 w 1971297"/>
              <a:gd name="connsiteY0" fmla="*/ 573966 h 1970826"/>
              <a:gd name="connsiteX1" fmla="*/ 1664864 w 1971297"/>
              <a:gd name="connsiteY1" fmla="*/ 574448 h 1970826"/>
              <a:gd name="connsiteX2" fmla="*/ 1664611 w 1971297"/>
              <a:gd name="connsiteY2" fmla="*/ 573966 h 1970826"/>
              <a:gd name="connsiteX3" fmla="*/ 985649 w 1971297"/>
              <a:gd name="connsiteY3" fmla="*/ 323553 h 1970826"/>
              <a:gd name="connsiteX4" fmla="*/ 322581 w 1971297"/>
              <a:gd name="connsiteY4" fmla="*/ 986621 h 1970826"/>
              <a:gd name="connsiteX5" fmla="*/ 985649 w 1971297"/>
              <a:gd name="connsiteY5" fmla="*/ 1649689 h 1970826"/>
              <a:gd name="connsiteX6" fmla="*/ 1648717 w 1971297"/>
              <a:gd name="connsiteY6" fmla="*/ 986621 h 1970826"/>
              <a:gd name="connsiteX7" fmla="*/ 985649 w 1971297"/>
              <a:gd name="connsiteY7" fmla="*/ 323553 h 1970826"/>
              <a:gd name="connsiteX8" fmla="*/ 904928 w 1971297"/>
              <a:gd name="connsiteY8" fmla="*/ 0 h 1970826"/>
              <a:gd name="connsiteX9" fmla="*/ 1066369 w 1971297"/>
              <a:gd name="connsiteY9" fmla="*/ 0 h 1970826"/>
              <a:gd name="connsiteX10" fmla="*/ 1101456 w 1971297"/>
              <a:gd name="connsiteY10" fmla="*/ 199018 h 1970826"/>
              <a:gd name="connsiteX11" fmla="*/ 1149113 w 1971297"/>
              <a:gd name="connsiteY11" fmla="*/ 208521 h 1970826"/>
              <a:gd name="connsiteX12" fmla="*/ 1245734 w 1971297"/>
              <a:gd name="connsiteY12" fmla="*/ 36367 h 1970826"/>
              <a:gd name="connsiteX13" fmla="*/ 1396309 w 1971297"/>
              <a:gd name="connsiteY13" fmla="*/ 90716 h 1970826"/>
              <a:gd name="connsiteX14" fmla="*/ 1364293 w 1971297"/>
              <a:gd name="connsiteY14" fmla="*/ 287523 h 1970826"/>
              <a:gd name="connsiteX15" fmla="*/ 1403197 w 1971297"/>
              <a:gd name="connsiteY15" fmla="*/ 308843 h 1970826"/>
              <a:gd name="connsiteX16" fmla="*/ 1558001 w 1971297"/>
              <a:gd name="connsiteY16" fmla="*/ 178940 h 1970826"/>
              <a:gd name="connsiteX17" fmla="*/ 1681671 w 1971297"/>
              <a:gd name="connsiteY17" fmla="*/ 282712 h 1970826"/>
              <a:gd name="connsiteX18" fmla="*/ 1580623 w 1971297"/>
              <a:gd name="connsiteY18" fmla="*/ 457722 h 1970826"/>
              <a:gd name="connsiteX19" fmla="*/ 1610608 w 1971297"/>
              <a:gd name="connsiteY19" fmla="*/ 499270 h 1970826"/>
              <a:gd name="connsiteX20" fmla="*/ 1802874 w 1971297"/>
              <a:gd name="connsiteY20" fmla="*/ 433067 h 1970826"/>
              <a:gd name="connsiteX21" fmla="*/ 1881963 w 1971297"/>
              <a:gd name="connsiteY21" fmla="*/ 572248 h 1970826"/>
              <a:gd name="connsiteX22" fmla="*/ 1726590 w 1971297"/>
              <a:gd name="connsiteY22" fmla="*/ 698353 h 1970826"/>
              <a:gd name="connsiteX23" fmla="*/ 1741176 w 1971297"/>
              <a:gd name="connsiteY23" fmla="*/ 735808 h 1970826"/>
              <a:gd name="connsiteX24" fmla="*/ 1943264 w 1971297"/>
              <a:gd name="connsiteY24" fmla="*/ 735802 h 1970826"/>
              <a:gd name="connsiteX25" fmla="*/ 1971297 w 1971297"/>
              <a:gd name="connsiteY25" fmla="*/ 894790 h 1970826"/>
              <a:gd name="connsiteX26" fmla="*/ 1781396 w 1971297"/>
              <a:gd name="connsiteY26" fmla="*/ 963903 h 1970826"/>
              <a:gd name="connsiteX27" fmla="*/ 1780264 w 1971297"/>
              <a:gd name="connsiteY27" fmla="*/ 1014677 h 1970826"/>
              <a:gd name="connsiteX28" fmla="*/ 1969010 w 1971297"/>
              <a:gd name="connsiteY28" fmla="*/ 1087130 h 1970826"/>
              <a:gd name="connsiteX29" fmla="*/ 1940132 w 1971297"/>
              <a:gd name="connsiteY29" fmla="*/ 1244586 h 1970826"/>
              <a:gd name="connsiteX30" fmla="*/ 1738798 w 1971297"/>
              <a:gd name="connsiteY30" fmla="*/ 1241295 h 1970826"/>
              <a:gd name="connsiteX31" fmla="*/ 1725636 w 1971297"/>
              <a:gd name="connsiteY31" fmla="*/ 1280130 h 1970826"/>
              <a:gd name="connsiteX32" fmla="*/ 1880447 w 1971297"/>
              <a:gd name="connsiteY32" fmla="*/ 1410026 h 1970826"/>
              <a:gd name="connsiteX33" fmla="*/ 1799727 w 1971297"/>
              <a:gd name="connsiteY33" fmla="*/ 1549837 h 1970826"/>
              <a:gd name="connsiteX34" fmla="*/ 1609829 w 1971297"/>
              <a:gd name="connsiteY34" fmla="*/ 1480714 h 1970826"/>
              <a:gd name="connsiteX35" fmla="*/ 1579151 w 1971297"/>
              <a:gd name="connsiteY35" fmla="*/ 1512281 h 1970826"/>
              <a:gd name="connsiteX36" fmla="*/ 1677610 w 1971297"/>
              <a:gd name="connsiteY36" fmla="*/ 1689905 h 1970826"/>
              <a:gd name="connsiteX37" fmla="*/ 1554277 w 1971297"/>
              <a:gd name="connsiteY37" fmla="*/ 1791961 h 1970826"/>
              <a:gd name="connsiteX38" fmla="*/ 1402854 w 1971297"/>
              <a:gd name="connsiteY38" fmla="*/ 1660626 h 1970826"/>
              <a:gd name="connsiteX39" fmla="*/ 1363848 w 1971297"/>
              <a:gd name="connsiteY39" fmla="*/ 1687117 h 1970826"/>
              <a:gd name="connsiteX40" fmla="*/ 1398945 w 1971297"/>
              <a:gd name="connsiteY40" fmla="*/ 1886133 h 1970826"/>
              <a:gd name="connsiteX41" fmla="*/ 1247240 w 1971297"/>
              <a:gd name="connsiteY41" fmla="*/ 1941349 h 1970826"/>
              <a:gd name="connsiteX42" fmla="*/ 1146202 w 1971297"/>
              <a:gd name="connsiteY42" fmla="*/ 1766334 h 1970826"/>
              <a:gd name="connsiteX43" fmla="*/ 1100680 w 1971297"/>
              <a:gd name="connsiteY43" fmla="*/ 1773318 h 1970826"/>
              <a:gd name="connsiteX44" fmla="*/ 1062288 w 1971297"/>
              <a:gd name="connsiteY44" fmla="*/ 1970826 h 1970826"/>
              <a:gd name="connsiteX45" fmla="*/ 902210 w 1971297"/>
              <a:gd name="connsiteY45" fmla="*/ 1969728 h 1970826"/>
              <a:gd name="connsiteX46" fmla="*/ 870884 w 1971297"/>
              <a:gd name="connsiteY46" fmla="*/ 1773359 h 1970826"/>
              <a:gd name="connsiteX47" fmla="*/ 825096 w 1971297"/>
              <a:gd name="connsiteY47" fmla="*/ 1766334 h 1970826"/>
              <a:gd name="connsiteX48" fmla="*/ 724057 w 1971297"/>
              <a:gd name="connsiteY48" fmla="*/ 1941349 h 1970826"/>
              <a:gd name="connsiteX49" fmla="*/ 572352 w 1971297"/>
              <a:gd name="connsiteY49" fmla="*/ 1886133 h 1970826"/>
              <a:gd name="connsiteX50" fmla="*/ 607450 w 1971297"/>
              <a:gd name="connsiteY50" fmla="*/ 1687117 h 1970826"/>
              <a:gd name="connsiteX51" fmla="*/ 571181 w 1971297"/>
              <a:gd name="connsiteY51" fmla="*/ 1662485 h 1970826"/>
              <a:gd name="connsiteX52" fmla="*/ 421150 w 1971297"/>
              <a:gd name="connsiteY52" fmla="*/ 1792613 h 1970826"/>
              <a:gd name="connsiteX53" fmla="*/ 297817 w 1971297"/>
              <a:gd name="connsiteY53" fmla="*/ 1690557 h 1970826"/>
              <a:gd name="connsiteX54" fmla="*/ 395006 w 1971297"/>
              <a:gd name="connsiteY54" fmla="*/ 1515223 h 1970826"/>
              <a:gd name="connsiteX55" fmla="*/ 361468 w 1971297"/>
              <a:gd name="connsiteY55" fmla="*/ 1480715 h 1970826"/>
              <a:gd name="connsiteX56" fmla="*/ 171570 w 1971297"/>
              <a:gd name="connsiteY56" fmla="*/ 1549837 h 1970826"/>
              <a:gd name="connsiteX57" fmla="*/ 90850 w 1971297"/>
              <a:gd name="connsiteY57" fmla="*/ 1410026 h 1970826"/>
              <a:gd name="connsiteX58" fmla="*/ 245661 w 1971297"/>
              <a:gd name="connsiteY58" fmla="*/ 1280131 h 1970826"/>
              <a:gd name="connsiteX59" fmla="*/ 233972 w 1971297"/>
              <a:gd name="connsiteY59" fmla="*/ 1245643 h 1970826"/>
              <a:gd name="connsiteX60" fmla="*/ 31451 w 1971297"/>
              <a:gd name="connsiteY60" fmla="*/ 1248953 h 1970826"/>
              <a:gd name="connsiteX61" fmla="*/ 2573 w 1971297"/>
              <a:gd name="connsiteY61" fmla="*/ 1091497 h 1970826"/>
              <a:gd name="connsiteX62" fmla="*/ 191133 w 1971297"/>
              <a:gd name="connsiteY62" fmla="*/ 1019115 h 1970826"/>
              <a:gd name="connsiteX63" fmla="*/ 189902 w 1971297"/>
              <a:gd name="connsiteY63" fmla="*/ 963904 h 1970826"/>
              <a:gd name="connsiteX64" fmla="*/ 0 w 1971297"/>
              <a:gd name="connsiteY64" fmla="*/ 894790 h 1970826"/>
              <a:gd name="connsiteX65" fmla="*/ 28034 w 1971297"/>
              <a:gd name="connsiteY65" fmla="*/ 735802 h 1970826"/>
              <a:gd name="connsiteX66" fmla="*/ 230121 w 1971297"/>
              <a:gd name="connsiteY66" fmla="*/ 735808 h 1970826"/>
              <a:gd name="connsiteX67" fmla="*/ 240919 w 1971297"/>
              <a:gd name="connsiteY67" fmla="*/ 708079 h 1970826"/>
              <a:gd name="connsiteX68" fmla="*/ 84936 w 1971297"/>
              <a:gd name="connsiteY68" fmla="*/ 585933 h 1970826"/>
              <a:gd name="connsiteX69" fmla="*/ 161584 w 1971297"/>
              <a:gd name="connsiteY69" fmla="*/ 445393 h 1970826"/>
              <a:gd name="connsiteX70" fmla="*/ 354366 w 1971297"/>
              <a:gd name="connsiteY70" fmla="*/ 508031 h 1970826"/>
              <a:gd name="connsiteX71" fmla="*/ 390674 w 1971297"/>
              <a:gd name="connsiteY71" fmla="*/ 457722 h 1970826"/>
              <a:gd name="connsiteX72" fmla="*/ 289626 w 1971297"/>
              <a:gd name="connsiteY72" fmla="*/ 282712 h 1970826"/>
              <a:gd name="connsiteX73" fmla="*/ 413297 w 1971297"/>
              <a:gd name="connsiteY73" fmla="*/ 178940 h 1970826"/>
              <a:gd name="connsiteX74" fmla="*/ 568101 w 1971297"/>
              <a:gd name="connsiteY74" fmla="*/ 308843 h 1970826"/>
              <a:gd name="connsiteX75" fmla="*/ 611018 w 1971297"/>
              <a:gd name="connsiteY75" fmla="*/ 285324 h 1970826"/>
              <a:gd name="connsiteX76" fmla="*/ 576674 w 1971297"/>
              <a:gd name="connsiteY76" fmla="*/ 89277 h 1970826"/>
              <a:gd name="connsiteX77" fmla="*/ 727674 w 1971297"/>
              <a:gd name="connsiteY77" fmla="*/ 36123 h 1970826"/>
              <a:gd name="connsiteX78" fmla="*/ 826689 w 1971297"/>
              <a:gd name="connsiteY78" fmla="*/ 207623 h 1970826"/>
              <a:gd name="connsiteX79" fmla="*/ 869841 w 1971297"/>
              <a:gd name="connsiteY79" fmla="*/ 199018 h 1970826"/>
              <a:gd name="connsiteX80" fmla="*/ 904928 w 1971297"/>
              <a:gd name="connsiteY80"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1648717 w 1971297"/>
              <a:gd name="connsiteY3" fmla="*/ 986621 h 1970826"/>
              <a:gd name="connsiteX4" fmla="*/ 985649 w 1971297"/>
              <a:gd name="connsiteY4" fmla="*/ 323553 h 1970826"/>
              <a:gd name="connsiteX5" fmla="*/ 904928 w 1971297"/>
              <a:gd name="connsiteY5" fmla="*/ 0 h 1970826"/>
              <a:gd name="connsiteX6" fmla="*/ 1066369 w 1971297"/>
              <a:gd name="connsiteY6" fmla="*/ 0 h 1970826"/>
              <a:gd name="connsiteX7" fmla="*/ 1101456 w 1971297"/>
              <a:gd name="connsiteY7" fmla="*/ 199018 h 1970826"/>
              <a:gd name="connsiteX8" fmla="*/ 1149113 w 1971297"/>
              <a:gd name="connsiteY8" fmla="*/ 208521 h 1970826"/>
              <a:gd name="connsiteX9" fmla="*/ 1245734 w 1971297"/>
              <a:gd name="connsiteY9" fmla="*/ 36367 h 1970826"/>
              <a:gd name="connsiteX10" fmla="*/ 1396309 w 1971297"/>
              <a:gd name="connsiteY10" fmla="*/ 90716 h 1970826"/>
              <a:gd name="connsiteX11" fmla="*/ 1364293 w 1971297"/>
              <a:gd name="connsiteY11" fmla="*/ 287523 h 1970826"/>
              <a:gd name="connsiteX12" fmla="*/ 1403197 w 1971297"/>
              <a:gd name="connsiteY12" fmla="*/ 308843 h 1970826"/>
              <a:gd name="connsiteX13" fmla="*/ 1558001 w 1971297"/>
              <a:gd name="connsiteY13" fmla="*/ 178940 h 1970826"/>
              <a:gd name="connsiteX14" fmla="*/ 1681671 w 1971297"/>
              <a:gd name="connsiteY14" fmla="*/ 282712 h 1970826"/>
              <a:gd name="connsiteX15" fmla="*/ 1580623 w 1971297"/>
              <a:gd name="connsiteY15" fmla="*/ 457722 h 1970826"/>
              <a:gd name="connsiteX16" fmla="*/ 1610608 w 1971297"/>
              <a:gd name="connsiteY16" fmla="*/ 499270 h 1970826"/>
              <a:gd name="connsiteX17" fmla="*/ 1802874 w 1971297"/>
              <a:gd name="connsiteY17" fmla="*/ 433067 h 1970826"/>
              <a:gd name="connsiteX18" fmla="*/ 1881963 w 1971297"/>
              <a:gd name="connsiteY18" fmla="*/ 572248 h 1970826"/>
              <a:gd name="connsiteX19" fmla="*/ 1726590 w 1971297"/>
              <a:gd name="connsiteY19" fmla="*/ 698353 h 1970826"/>
              <a:gd name="connsiteX20" fmla="*/ 1741176 w 1971297"/>
              <a:gd name="connsiteY20" fmla="*/ 735808 h 1970826"/>
              <a:gd name="connsiteX21" fmla="*/ 1943264 w 1971297"/>
              <a:gd name="connsiteY21" fmla="*/ 735802 h 1970826"/>
              <a:gd name="connsiteX22" fmla="*/ 1971297 w 1971297"/>
              <a:gd name="connsiteY22" fmla="*/ 894790 h 1970826"/>
              <a:gd name="connsiteX23" fmla="*/ 1781396 w 1971297"/>
              <a:gd name="connsiteY23" fmla="*/ 963903 h 1970826"/>
              <a:gd name="connsiteX24" fmla="*/ 1780264 w 1971297"/>
              <a:gd name="connsiteY24" fmla="*/ 1014677 h 1970826"/>
              <a:gd name="connsiteX25" fmla="*/ 1969010 w 1971297"/>
              <a:gd name="connsiteY25" fmla="*/ 1087130 h 1970826"/>
              <a:gd name="connsiteX26" fmla="*/ 1940132 w 1971297"/>
              <a:gd name="connsiteY26" fmla="*/ 1244586 h 1970826"/>
              <a:gd name="connsiteX27" fmla="*/ 1738798 w 1971297"/>
              <a:gd name="connsiteY27" fmla="*/ 1241295 h 1970826"/>
              <a:gd name="connsiteX28" fmla="*/ 1725636 w 1971297"/>
              <a:gd name="connsiteY28" fmla="*/ 1280130 h 1970826"/>
              <a:gd name="connsiteX29" fmla="*/ 1880447 w 1971297"/>
              <a:gd name="connsiteY29" fmla="*/ 1410026 h 1970826"/>
              <a:gd name="connsiteX30" fmla="*/ 1799727 w 1971297"/>
              <a:gd name="connsiteY30" fmla="*/ 1549837 h 1970826"/>
              <a:gd name="connsiteX31" fmla="*/ 1609829 w 1971297"/>
              <a:gd name="connsiteY31" fmla="*/ 1480714 h 1970826"/>
              <a:gd name="connsiteX32" fmla="*/ 1579151 w 1971297"/>
              <a:gd name="connsiteY32" fmla="*/ 1512281 h 1970826"/>
              <a:gd name="connsiteX33" fmla="*/ 1677610 w 1971297"/>
              <a:gd name="connsiteY33" fmla="*/ 1689905 h 1970826"/>
              <a:gd name="connsiteX34" fmla="*/ 1554277 w 1971297"/>
              <a:gd name="connsiteY34" fmla="*/ 1791961 h 1970826"/>
              <a:gd name="connsiteX35" fmla="*/ 1402854 w 1971297"/>
              <a:gd name="connsiteY35" fmla="*/ 1660626 h 1970826"/>
              <a:gd name="connsiteX36" fmla="*/ 1363848 w 1971297"/>
              <a:gd name="connsiteY36" fmla="*/ 1687117 h 1970826"/>
              <a:gd name="connsiteX37" fmla="*/ 1398945 w 1971297"/>
              <a:gd name="connsiteY37" fmla="*/ 1886133 h 1970826"/>
              <a:gd name="connsiteX38" fmla="*/ 1247240 w 1971297"/>
              <a:gd name="connsiteY38" fmla="*/ 1941349 h 1970826"/>
              <a:gd name="connsiteX39" fmla="*/ 1146202 w 1971297"/>
              <a:gd name="connsiteY39" fmla="*/ 1766334 h 1970826"/>
              <a:gd name="connsiteX40" fmla="*/ 1100680 w 1971297"/>
              <a:gd name="connsiteY40" fmla="*/ 1773318 h 1970826"/>
              <a:gd name="connsiteX41" fmla="*/ 1062288 w 1971297"/>
              <a:gd name="connsiteY41" fmla="*/ 1970826 h 1970826"/>
              <a:gd name="connsiteX42" fmla="*/ 902210 w 1971297"/>
              <a:gd name="connsiteY42" fmla="*/ 1969728 h 1970826"/>
              <a:gd name="connsiteX43" fmla="*/ 870884 w 1971297"/>
              <a:gd name="connsiteY43" fmla="*/ 1773359 h 1970826"/>
              <a:gd name="connsiteX44" fmla="*/ 825096 w 1971297"/>
              <a:gd name="connsiteY44" fmla="*/ 1766334 h 1970826"/>
              <a:gd name="connsiteX45" fmla="*/ 724057 w 1971297"/>
              <a:gd name="connsiteY45" fmla="*/ 1941349 h 1970826"/>
              <a:gd name="connsiteX46" fmla="*/ 572352 w 1971297"/>
              <a:gd name="connsiteY46" fmla="*/ 1886133 h 1970826"/>
              <a:gd name="connsiteX47" fmla="*/ 607450 w 1971297"/>
              <a:gd name="connsiteY47" fmla="*/ 1687117 h 1970826"/>
              <a:gd name="connsiteX48" fmla="*/ 571181 w 1971297"/>
              <a:gd name="connsiteY48" fmla="*/ 1662485 h 1970826"/>
              <a:gd name="connsiteX49" fmla="*/ 421150 w 1971297"/>
              <a:gd name="connsiteY49" fmla="*/ 1792613 h 1970826"/>
              <a:gd name="connsiteX50" fmla="*/ 297817 w 1971297"/>
              <a:gd name="connsiteY50" fmla="*/ 1690557 h 1970826"/>
              <a:gd name="connsiteX51" fmla="*/ 395006 w 1971297"/>
              <a:gd name="connsiteY51" fmla="*/ 1515223 h 1970826"/>
              <a:gd name="connsiteX52" fmla="*/ 361468 w 1971297"/>
              <a:gd name="connsiteY52" fmla="*/ 1480715 h 1970826"/>
              <a:gd name="connsiteX53" fmla="*/ 171570 w 1971297"/>
              <a:gd name="connsiteY53" fmla="*/ 1549837 h 1970826"/>
              <a:gd name="connsiteX54" fmla="*/ 90850 w 1971297"/>
              <a:gd name="connsiteY54" fmla="*/ 1410026 h 1970826"/>
              <a:gd name="connsiteX55" fmla="*/ 245661 w 1971297"/>
              <a:gd name="connsiteY55" fmla="*/ 1280131 h 1970826"/>
              <a:gd name="connsiteX56" fmla="*/ 233972 w 1971297"/>
              <a:gd name="connsiteY56" fmla="*/ 1245643 h 1970826"/>
              <a:gd name="connsiteX57" fmla="*/ 31451 w 1971297"/>
              <a:gd name="connsiteY57" fmla="*/ 1248953 h 1970826"/>
              <a:gd name="connsiteX58" fmla="*/ 2573 w 1971297"/>
              <a:gd name="connsiteY58" fmla="*/ 1091497 h 1970826"/>
              <a:gd name="connsiteX59" fmla="*/ 191133 w 1971297"/>
              <a:gd name="connsiteY59" fmla="*/ 1019115 h 1970826"/>
              <a:gd name="connsiteX60" fmla="*/ 189902 w 1971297"/>
              <a:gd name="connsiteY60" fmla="*/ 963904 h 1970826"/>
              <a:gd name="connsiteX61" fmla="*/ 0 w 1971297"/>
              <a:gd name="connsiteY61" fmla="*/ 894790 h 1970826"/>
              <a:gd name="connsiteX62" fmla="*/ 28034 w 1971297"/>
              <a:gd name="connsiteY62" fmla="*/ 735802 h 1970826"/>
              <a:gd name="connsiteX63" fmla="*/ 230121 w 1971297"/>
              <a:gd name="connsiteY63" fmla="*/ 735808 h 1970826"/>
              <a:gd name="connsiteX64" fmla="*/ 240919 w 1971297"/>
              <a:gd name="connsiteY64" fmla="*/ 708079 h 1970826"/>
              <a:gd name="connsiteX65" fmla="*/ 84936 w 1971297"/>
              <a:gd name="connsiteY65" fmla="*/ 585933 h 1970826"/>
              <a:gd name="connsiteX66" fmla="*/ 161584 w 1971297"/>
              <a:gd name="connsiteY66" fmla="*/ 445393 h 1970826"/>
              <a:gd name="connsiteX67" fmla="*/ 354366 w 1971297"/>
              <a:gd name="connsiteY67" fmla="*/ 508031 h 1970826"/>
              <a:gd name="connsiteX68" fmla="*/ 390674 w 1971297"/>
              <a:gd name="connsiteY68" fmla="*/ 457722 h 1970826"/>
              <a:gd name="connsiteX69" fmla="*/ 289626 w 1971297"/>
              <a:gd name="connsiteY69" fmla="*/ 282712 h 1970826"/>
              <a:gd name="connsiteX70" fmla="*/ 413297 w 1971297"/>
              <a:gd name="connsiteY70" fmla="*/ 178940 h 1970826"/>
              <a:gd name="connsiteX71" fmla="*/ 568101 w 1971297"/>
              <a:gd name="connsiteY71" fmla="*/ 308843 h 1970826"/>
              <a:gd name="connsiteX72" fmla="*/ 611018 w 1971297"/>
              <a:gd name="connsiteY72" fmla="*/ 285324 h 1970826"/>
              <a:gd name="connsiteX73" fmla="*/ 576674 w 1971297"/>
              <a:gd name="connsiteY73" fmla="*/ 89277 h 1970826"/>
              <a:gd name="connsiteX74" fmla="*/ 727674 w 1971297"/>
              <a:gd name="connsiteY74" fmla="*/ 36123 h 1970826"/>
              <a:gd name="connsiteX75" fmla="*/ 826689 w 1971297"/>
              <a:gd name="connsiteY75" fmla="*/ 207623 h 1970826"/>
              <a:gd name="connsiteX76" fmla="*/ 869841 w 1971297"/>
              <a:gd name="connsiteY76" fmla="*/ 199018 h 1970826"/>
              <a:gd name="connsiteX77" fmla="*/ 904928 w 1971297"/>
              <a:gd name="connsiteY77"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985649 w 1971297"/>
              <a:gd name="connsiteY3" fmla="*/ 323553 h 1970826"/>
              <a:gd name="connsiteX4" fmla="*/ 904928 w 1971297"/>
              <a:gd name="connsiteY4" fmla="*/ 0 h 1970826"/>
              <a:gd name="connsiteX5" fmla="*/ 1066369 w 1971297"/>
              <a:gd name="connsiteY5" fmla="*/ 0 h 1970826"/>
              <a:gd name="connsiteX6" fmla="*/ 1101456 w 1971297"/>
              <a:gd name="connsiteY6" fmla="*/ 199018 h 1970826"/>
              <a:gd name="connsiteX7" fmla="*/ 1149113 w 1971297"/>
              <a:gd name="connsiteY7" fmla="*/ 208521 h 1970826"/>
              <a:gd name="connsiteX8" fmla="*/ 1245734 w 1971297"/>
              <a:gd name="connsiteY8" fmla="*/ 36367 h 1970826"/>
              <a:gd name="connsiteX9" fmla="*/ 1396309 w 1971297"/>
              <a:gd name="connsiteY9" fmla="*/ 90716 h 1970826"/>
              <a:gd name="connsiteX10" fmla="*/ 1364293 w 1971297"/>
              <a:gd name="connsiteY10" fmla="*/ 287523 h 1970826"/>
              <a:gd name="connsiteX11" fmla="*/ 1403197 w 1971297"/>
              <a:gd name="connsiteY11" fmla="*/ 308843 h 1970826"/>
              <a:gd name="connsiteX12" fmla="*/ 1558001 w 1971297"/>
              <a:gd name="connsiteY12" fmla="*/ 178940 h 1970826"/>
              <a:gd name="connsiteX13" fmla="*/ 1681671 w 1971297"/>
              <a:gd name="connsiteY13" fmla="*/ 282712 h 1970826"/>
              <a:gd name="connsiteX14" fmla="*/ 1580623 w 1971297"/>
              <a:gd name="connsiteY14" fmla="*/ 457722 h 1970826"/>
              <a:gd name="connsiteX15" fmla="*/ 1610608 w 1971297"/>
              <a:gd name="connsiteY15" fmla="*/ 499270 h 1970826"/>
              <a:gd name="connsiteX16" fmla="*/ 1802874 w 1971297"/>
              <a:gd name="connsiteY16" fmla="*/ 433067 h 1970826"/>
              <a:gd name="connsiteX17" fmla="*/ 1881963 w 1971297"/>
              <a:gd name="connsiteY17" fmla="*/ 572248 h 1970826"/>
              <a:gd name="connsiteX18" fmla="*/ 1726590 w 1971297"/>
              <a:gd name="connsiteY18" fmla="*/ 698353 h 1970826"/>
              <a:gd name="connsiteX19" fmla="*/ 1741176 w 1971297"/>
              <a:gd name="connsiteY19" fmla="*/ 735808 h 1970826"/>
              <a:gd name="connsiteX20" fmla="*/ 1943264 w 1971297"/>
              <a:gd name="connsiteY20" fmla="*/ 735802 h 1970826"/>
              <a:gd name="connsiteX21" fmla="*/ 1971297 w 1971297"/>
              <a:gd name="connsiteY21" fmla="*/ 894790 h 1970826"/>
              <a:gd name="connsiteX22" fmla="*/ 1781396 w 1971297"/>
              <a:gd name="connsiteY22" fmla="*/ 963903 h 1970826"/>
              <a:gd name="connsiteX23" fmla="*/ 1780264 w 1971297"/>
              <a:gd name="connsiteY23" fmla="*/ 1014677 h 1970826"/>
              <a:gd name="connsiteX24" fmla="*/ 1969010 w 1971297"/>
              <a:gd name="connsiteY24" fmla="*/ 1087130 h 1970826"/>
              <a:gd name="connsiteX25" fmla="*/ 1940132 w 1971297"/>
              <a:gd name="connsiteY25" fmla="*/ 1244586 h 1970826"/>
              <a:gd name="connsiteX26" fmla="*/ 1738798 w 1971297"/>
              <a:gd name="connsiteY26" fmla="*/ 1241295 h 1970826"/>
              <a:gd name="connsiteX27" fmla="*/ 1725636 w 1971297"/>
              <a:gd name="connsiteY27" fmla="*/ 1280130 h 1970826"/>
              <a:gd name="connsiteX28" fmla="*/ 1880447 w 1971297"/>
              <a:gd name="connsiteY28" fmla="*/ 1410026 h 1970826"/>
              <a:gd name="connsiteX29" fmla="*/ 1799727 w 1971297"/>
              <a:gd name="connsiteY29" fmla="*/ 1549837 h 1970826"/>
              <a:gd name="connsiteX30" fmla="*/ 1609829 w 1971297"/>
              <a:gd name="connsiteY30" fmla="*/ 1480714 h 1970826"/>
              <a:gd name="connsiteX31" fmla="*/ 1579151 w 1971297"/>
              <a:gd name="connsiteY31" fmla="*/ 1512281 h 1970826"/>
              <a:gd name="connsiteX32" fmla="*/ 1677610 w 1971297"/>
              <a:gd name="connsiteY32" fmla="*/ 1689905 h 1970826"/>
              <a:gd name="connsiteX33" fmla="*/ 1554277 w 1971297"/>
              <a:gd name="connsiteY33" fmla="*/ 1791961 h 1970826"/>
              <a:gd name="connsiteX34" fmla="*/ 1402854 w 1971297"/>
              <a:gd name="connsiteY34" fmla="*/ 1660626 h 1970826"/>
              <a:gd name="connsiteX35" fmla="*/ 1363848 w 1971297"/>
              <a:gd name="connsiteY35" fmla="*/ 1687117 h 1970826"/>
              <a:gd name="connsiteX36" fmla="*/ 1398945 w 1971297"/>
              <a:gd name="connsiteY36" fmla="*/ 1886133 h 1970826"/>
              <a:gd name="connsiteX37" fmla="*/ 1247240 w 1971297"/>
              <a:gd name="connsiteY37" fmla="*/ 1941349 h 1970826"/>
              <a:gd name="connsiteX38" fmla="*/ 1146202 w 1971297"/>
              <a:gd name="connsiteY38" fmla="*/ 1766334 h 1970826"/>
              <a:gd name="connsiteX39" fmla="*/ 1100680 w 1971297"/>
              <a:gd name="connsiteY39" fmla="*/ 1773318 h 1970826"/>
              <a:gd name="connsiteX40" fmla="*/ 1062288 w 1971297"/>
              <a:gd name="connsiteY40" fmla="*/ 1970826 h 1970826"/>
              <a:gd name="connsiteX41" fmla="*/ 902210 w 1971297"/>
              <a:gd name="connsiteY41" fmla="*/ 1969728 h 1970826"/>
              <a:gd name="connsiteX42" fmla="*/ 870884 w 1971297"/>
              <a:gd name="connsiteY42" fmla="*/ 1773359 h 1970826"/>
              <a:gd name="connsiteX43" fmla="*/ 825096 w 1971297"/>
              <a:gd name="connsiteY43" fmla="*/ 1766334 h 1970826"/>
              <a:gd name="connsiteX44" fmla="*/ 724057 w 1971297"/>
              <a:gd name="connsiteY44" fmla="*/ 1941349 h 1970826"/>
              <a:gd name="connsiteX45" fmla="*/ 572352 w 1971297"/>
              <a:gd name="connsiteY45" fmla="*/ 1886133 h 1970826"/>
              <a:gd name="connsiteX46" fmla="*/ 607450 w 1971297"/>
              <a:gd name="connsiteY46" fmla="*/ 1687117 h 1970826"/>
              <a:gd name="connsiteX47" fmla="*/ 571181 w 1971297"/>
              <a:gd name="connsiteY47" fmla="*/ 1662485 h 1970826"/>
              <a:gd name="connsiteX48" fmla="*/ 421150 w 1971297"/>
              <a:gd name="connsiteY48" fmla="*/ 1792613 h 1970826"/>
              <a:gd name="connsiteX49" fmla="*/ 297817 w 1971297"/>
              <a:gd name="connsiteY49" fmla="*/ 1690557 h 1970826"/>
              <a:gd name="connsiteX50" fmla="*/ 395006 w 1971297"/>
              <a:gd name="connsiteY50" fmla="*/ 1515223 h 1970826"/>
              <a:gd name="connsiteX51" fmla="*/ 361468 w 1971297"/>
              <a:gd name="connsiteY51" fmla="*/ 1480715 h 1970826"/>
              <a:gd name="connsiteX52" fmla="*/ 171570 w 1971297"/>
              <a:gd name="connsiteY52" fmla="*/ 1549837 h 1970826"/>
              <a:gd name="connsiteX53" fmla="*/ 90850 w 1971297"/>
              <a:gd name="connsiteY53" fmla="*/ 1410026 h 1970826"/>
              <a:gd name="connsiteX54" fmla="*/ 245661 w 1971297"/>
              <a:gd name="connsiteY54" fmla="*/ 1280131 h 1970826"/>
              <a:gd name="connsiteX55" fmla="*/ 233972 w 1971297"/>
              <a:gd name="connsiteY55" fmla="*/ 1245643 h 1970826"/>
              <a:gd name="connsiteX56" fmla="*/ 31451 w 1971297"/>
              <a:gd name="connsiteY56" fmla="*/ 1248953 h 1970826"/>
              <a:gd name="connsiteX57" fmla="*/ 2573 w 1971297"/>
              <a:gd name="connsiteY57" fmla="*/ 1091497 h 1970826"/>
              <a:gd name="connsiteX58" fmla="*/ 191133 w 1971297"/>
              <a:gd name="connsiteY58" fmla="*/ 1019115 h 1970826"/>
              <a:gd name="connsiteX59" fmla="*/ 189902 w 1971297"/>
              <a:gd name="connsiteY59" fmla="*/ 963904 h 1970826"/>
              <a:gd name="connsiteX60" fmla="*/ 0 w 1971297"/>
              <a:gd name="connsiteY60" fmla="*/ 894790 h 1970826"/>
              <a:gd name="connsiteX61" fmla="*/ 28034 w 1971297"/>
              <a:gd name="connsiteY61" fmla="*/ 735802 h 1970826"/>
              <a:gd name="connsiteX62" fmla="*/ 230121 w 1971297"/>
              <a:gd name="connsiteY62" fmla="*/ 735808 h 1970826"/>
              <a:gd name="connsiteX63" fmla="*/ 240919 w 1971297"/>
              <a:gd name="connsiteY63" fmla="*/ 708079 h 1970826"/>
              <a:gd name="connsiteX64" fmla="*/ 84936 w 1971297"/>
              <a:gd name="connsiteY64" fmla="*/ 585933 h 1970826"/>
              <a:gd name="connsiteX65" fmla="*/ 161584 w 1971297"/>
              <a:gd name="connsiteY65" fmla="*/ 445393 h 1970826"/>
              <a:gd name="connsiteX66" fmla="*/ 354366 w 1971297"/>
              <a:gd name="connsiteY66" fmla="*/ 508031 h 1970826"/>
              <a:gd name="connsiteX67" fmla="*/ 390674 w 1971297"/>
              <a:gd name="connsiteY67" fmla="*/ 457722 h 1970826"/>
              <a:gd name="connsiteX68" fmla="*/ 289626 w 1971297"/>
              <a:gd name="connsiteY68" fmla="*/ 282712 h 1970826"/>
              <a:gd name="connsiteX69" fmla="*/ 413297 w 1971297"/>
              <a:gd name="connsiteY69" fmla="*/ 178940 h 1970826"/>
              <a:gd name="connsiteX70" fmla="*/ 568101 w 1971297"/>
              <a:gd name="connsiteY70" fmla="*/ 308843 h 1970826"/>
              <a:gd name="connsiteX71" fmla="*/ 611018 w 1971297"/>
              <a:gd name="connsiteY71" fmla="*/ 285324 h 1970826"/>
              <a:gd name="connsiteX72" fmla="*/ 576674 w 1971297"/>
              <a:gd name="connsiteY72" fmla="*/ 89277 h 1970826"/>
              <a:gd name="connsiteX73" fmla="*/ 727674 w 1971297"/>
              <a:gd name="connsiteY73" fmla="*/ 36123 h 1970826"/>
              <a:gd name="connsiteX74" fmla="*/ 826689 w 1971297"/>
              <a:gd name="connsiteY74" fmla="*/ 207623 h 1970826"/>
              <a:gd name="connsiteX75" fmla="*/ 869841 w 1971297"/>
              <a:gd name="connsiteY75" fmla="*/ 199018 h 1970826"/>
              <a:gd name="connsiteX76" fmla="*/ 904928 w 1971297"/>
              <a:gd name="connsiteY76" fmla="*/ 0 h 1970826"/>
              <a:gd name="connsiteX0" fmla="*/ 985649 w 1971297"/>
              <a:gd name="connsiteY0" fmla="*/ 323553 h 1970826"/>
              <a:gd name="connsiteX1" fmla="*/ 322581 w 1971297"/>
              <a:gd name="connsiteY1" fmla="*/ 986621 h 1970826"/>
              <a:gd name="connsiteX2" fmla="*/ 985649 w 1971297"/>
              <a:gd name="connsiteY2" fmla="*/ 323553 h 1970826"/>
              <a:gd name="connsiteX3" fmla="*/ 904928 w 1971297"/>
              <a:gd name="connsiteY3" fmla="*/ 0 h 1970826"/>
              <a:gd name="connsiteX4" fmla="*/ 1066369 w 1971297"/>
              <a:gd name="connsiteY4" fmla="*/ 0 h 1970826"/>
              <a:gd name="connsiteX5" fmla="*/ 1101456 w 1971297"/>
              <a:gd name="connsiteY5" fmla="*/ 199018 h 1970826"/>
              <a:gd name="connsiteX6" fmla="*/ 1149113 w 1971297"/>
              <a:gd name="connsiteY6" fmla="*/ 208521 h 1970826"/>
              <a:gd name="connsiteX7" fmla="*/ 1245734 w 1971297"/>
              <a:gd name="connsiteY7" fmla="*/ 36367 h 1970826"/>
              <a:gd name="connsiteX8" fmla="*/ 1396309 w 1971297"/>
              <a:gd name="connsiteY8" fmla="*/ 90716 h 1970826"/>
              <a:gd name="connsiteX9" fmla="*/ 1364293 w 1971297"/>
              <a:gd name="connsiteY9" fmla="*/ 287523 h 1970826"/>
              <a:gd name="connsiteX10" fmla="*/ 1403197 w 1971297"/>
              <a:gd name="connsiteY10" fmla="*/ 308843 h 1970826"/>
              <a:gd name="connsiteX11" fmla="*/ 1558001 w 1971297"/>
              <a:gd name="connsiteY11" fmla="*/ 178940 h 1970826"/>
              <a:gd name="connsiteX12" fmla="*/ 1681671 w 1971297"/>
              <a:gd name="connsiteY12" fmla="*/ 282712 h 1970826"/>
              <a:gd name="connsiteX13" fmla="*/ 1580623 w 1971297"/>
              <a:gd name="connsiteY13" fmla="*/ 457722 h 1970826"/>
              <a:gd name="connsiteX14" fmla="*/ 1610608 w 1971297"/>
              <a:gd name="connsiteY14" fmla="*/ 499270 h 1970826"/>
              <a:gd name="connsiteX15" fmla="*/ 1802874 w 1971297"/>
              <a:gd name="connsiteY15" fmla="*/ 433067 h 1970826"/>
              <a:gd name="connsiteX16" fmla="*/ 1881963 w 1971297"/>
              <a:gd name="connsiteY16" fmla="*/ 572248 h 1970826"/>
              <a:gd name="connsiteX17" fmla="*/ 1726590 w 1971297"/>
              <a:gd name="connsiteY17" fmla="*/ 698353 h 1970826"/>
              <a:gd name="connsiteX18" fmla="*/ 1741176 w 1971297"/>
              <a:gd name="connsiteY18" fmla="*/ 735808 h 1970826"/>
              <a:gd name="connsiteX19" fmla="*/ 1943264 w 1971297"/>
              <a:gd name="connsiteY19" fmla="*/ 735802 h 1970826"/>
              <a:gd name="connsiteX20" fmla="*/ 1971297 w 1971297"/>
              <a:gd name="connsiteY20" fmla="*/ 894790 h 1970826"/>
              <a:gd name="connsiteX21" fmla="*/ 1781396 w 1971297"/>
              <a:gd name="connsiteY21" fmla="*/ 963903 h 1970826"/>
              <a:gd name="connsiteX22" fmla="*/ 1780264 w 1971297"/>
              <a:gd name="connsiteY22" fmla="*/ 1014677 h 1970826"/>
              <a:gd name="connsiteX23" fmla="*/ 1969010 w 1971297"/>
              <a:gd name="connsiteY23" fmla="*/ 1087130 h 1970826"/>
              <a:gd name="connsiteX24" fmla="*/ 1940132 w 1971297"/>
              <a:gd name="connsiteY24" fmla="*/ 1244586 h 1970826"/>
              <a:gd name="connsiteX25" fmla="*/ 1738798 w 1971297"/>
              <a:gd name="connsiteY25" fmla="*/ 1241295 h 1970826"/>
              <a:gd name="connsiteX26" fmla="*/ 1725636 w 1971297"/>
              <a:gd name="connsiteY26" fmla="*/ 1280130 h 1970826"/>
              <a:gd name="connsiteX27" fmla="*/ 1880447 w 1971297"/>
              <a:gd name="connsiteY27" fmla="*/ 1410026 h 1970826"/>
              <a:gd name="connsiteX28" fmla="*/ 1799727 w 1971297"/>
              <a:gd name="connsiteY28" fmla="*/ 1549837 h 1970826"/>
              <a:gd name="connsiteX29" fmla="*/ 1609829 w 1971297"/>
              <a:gd name="connsiteY29" fmla="*/ 1480714 h 1970826"/>
              <a:gd name="connsiteX30" fmla="*/ 1579151 w 1971297"/>
              <a:gd name="connsiteY30" fmla="*/ 1512281 h 1970826"/>
              <a:gd name="connsiteX31" fmla="*/ 1677610 w 1971297"/>
              <a:gd name="connsiteY31" fmla="*/ 1689905 h 1970826"/>
              <a:gd name="connsiteX32" fmla="*/ 1554277 w 1971297"/>
              <a:gd name="connsiteY32" fmla="*/ 1791961 h 1970826"/>
              <a:gd name="connsiteX33" fmla="*/ 1402854 w 1971297"/>
              <a:gd name="connsiteY33" fmla="*/ 1660626 h 1970826"/>
              <a:gd name="connsiteX34" fmla="*/ 1363848 w 1971297"/>
              <a:gd name="connsiteY34" fmla="*/ 1687117 h 1970826"/>
              <a:gd name="connsiteX35" fmla="*/ 1398945 w 1971297"/>
              <a:gd name="connsiteY35" fmla="*/ 1886133 h 1970826"/>
              <a:gd name="connsiteX36" fmla="*/ 1247240 w 1971297"/>
              <a:gd name="connsiteY36" fmla="*/ 1941349 h 1970826"/>
              <a:gd name="connsiteX37" fmla="*/ 1146202 w 1971297"/>
              <a:gd name="connsiteY37" fmla="*/ 1766334 h 1970826"/>
              <a:gd name="connsiteX38" fmla="*/ 1100680 w 1971297"/>
              <a:gd name="connsiteY38" fmla="*/ 1773318 h 1970826"/>
              <a:gd name="connsiteX39" fmla="*/ 1062288 w 1971297"/>
              <a:gd name="connsiteY39" fmla="*/ 1970826 h 1970826"/>
              <a:gd name="connsiteX40" fmla="*/ 902210 w 1971297"/>
              <a:gd name="connsiteY40" fmla="*/ 1969728 h 1970826"/>
              <a:gd name="connsiteX41" fmla="*/ 870884 w 1971297"/>
              <a:gd name="connsiteY41" fmla="*/ 1773359 h 1970826"/>
              <a:gd name="connsiteX42" fmla="*/ 825096 w 1971297"/>
              <a:gd name="connsiteY42" fmla="*/ 1766334 h 1970826"/>
              <a:gd name="connsiteX43" fmla="*/ 724057 w 1971297"/>
              <a:gd name="connsiteY43" fmla="*/ 1941349 h 1970826"/>
              <a:gd name="connsiteX44" fmla="*/ 572352 w 1971297"/>
              <a:gd name="connsiteY44" fmla="*/ 1886133 h 1970826"/>
              <a:gd name="connsiteX45" fmla="*/ 607450 w 1971297"/>
              <a:gd name="connsiteY45" fmla="*/ 1687117 h 1970826"/>
              <a:gd name="connsiteX46" fmla="*/ 571181 w 1971297"/>
              <a:gd name="connsiteY46" fmla="*/ 1662485 h 1970826"/>
              <a:gd name="connsiteX47" fmla="*/ 421150 w 1971297"/>
              <a:gd name="connsiteY47" fmla="*/ 1792613 h 1970826"/>
              <a:gd name="connsiteX48" fmla="*/ 297817 w 1971297"/>
              <a:gd name="connsiteY48" fmla="*/ 1690557 h 1970826"/>
              <a:gd name="connsiteX49" fmla="*/ 395006 w 1971297"/>
              <a:gd name="connsiteY49" fmla="*/ 1515223 h 1970826"/>
              <a:gd name="connsiteX50" fmla="*/ 361468 w 1971297"/>
              <a:gd name="connsiteY50" fmla="*/ 1480715 h 1970826"/>
              <a:gd name="connsiteX51" fmla="*/ 171570 w 1971297"/>
              <a:gd name="connsiteY51" fmla="*/ 1549837 h 1970826"/>
              <a:gd name="connsiteX52" fmla="*/ 90850 w 1971297"/>
              <a:gd name="connsiteY52" fmla="*/ 1410026 h 1970826"/>
              <a:gd name="connsiteX53" fmla="*/ 245661 w 1971297"/>
              <a:gd name="connsiteY53" fmla="*/ 1280131 h 1970826"/>
              <a:gd name="connsiteX54" fmla="*/ 233972 w 1971297"/>
              <a:gd name="connsiteY54" fmla="*/ 1245643 h 1970826"/>
              <a:gd name="connsiteX55" fmla="*/ 31451 w 1971297"/>
              <a:gd name="connsiteY55" fmla="*/ 1248953 h 1970826"/>
              <a:gd name="connsiteX56" fmla="*/ 2573 w 1971297"/>
              <a:gd name="connsiteY56" fmla="*/ 1091497 h 1970826"/>
              <a:gd name="connsiteX57" fmla="*/ 191133 w 1971297"/>
              <a:gd name="connsiteY57" fmla="*/ 1019115 h 1970826"/>
              <a:gd name="connsiteX58" fmla="*/ 189902 w 1971297"/>
              <a:gd name="connsiteY58" fmla="*/ 963904 h 1970826"/>
              <a:gd name="connsiteX59" fmla="*/ 0 w 1971297"/>
              <a:gd name="connsiteY59" fmla="*/ 894790 h 1970826"/>
              <a:gd name="connsiteX60" fmla="*/ 28034 w 1971297"/>
              <a:gd name="connsiteY60" fmla="*/ 735802 h 1970826"/>
              <a:gd name="connsiteX61" fmla="*/ 230121 w 1971297"/>
              <a:gd name="connsiteY61" fmla="*/ 735808 h 1970826"/>
              <a:gd name="connsiteX62" fmla="*/ 240919 w 1971297"/>
              <a:gd name="connsiteY62" fmla="*/ 708079 h 1970826"/>
              <a:gd name="connsiteX63" fmla="*/ 84936 w 1971297"/>
              <a:gd name="connsiteY63" fmla="*/ 585933 h 1970826"/>
              <a:gd name="connsiteX64" fmla="*/ 161584 w 1971297"/>
              <a:gd name="connsiteY64" fmla="*/ 445393 h 1970826"/>
              <a:gd name="connsiteX65" fmla="*/ 354366 w 1971297"/>
              <a:gd name="connsiteY65" fmla="*/ 508031 h 1970826"/>
              <a:gd name="connsiteX66" fmla="*/ 390674 w 1971297"/>
              <a:gd name="connsiteY66" fmla="*/ 457722 h 1970826"/>
              <a:gd name="connsiteX67" fmla="*/ 289626 w 1971297"/>
              <a:gd name="connsiteY67" fmla="*/ 282712 h 1970826"/>
              <a:gd name="connsiteX68" fmla="*/ 413297 w 1971297"/>
              <a:gd name="connsiteY68" fmla="*/ 178940 h 1970826"/>
              <a:gd name="connsiteX69" fmla="*/ 568101 w 1971297"/>
              <a:gd name="connsiteY69" fmla="*/ 308843 h 1970826"/>
              <a:gd name="connsiteX70" fmla="*/ 611018 w 1971297"/>
              <a:gd name="connsiteY70" fmla="*/ 285324 h 1970826"/>
              <a:gd name="connsiteX71" fmla="*/ 576674 w 1971297"/>
              <a:gd name="connsiteY71" fmla="*/ 89277 h 1970826"/>
              <a:gd name="connsiteX72" fmla="*/ 727674 w 1971297"/>
              <a:gd name="connsiteY72" fmla="*/ 36123 h 1970826"/>
              <a:gd name="connsiteX73" fmla="*/ 826689 w 1971297"/>
              <a:gd name="connsiteY73" fmla="*/ 207623 h 1970826"/>
              <a:gd name="connsiteX74" fmla="*/ 869841 w 1971297"/>
              <a:gd name="connsiteY74" fmla="*/ 199018 h 1970826"/>
              <a:gd name="connsiteX75" fmla="*/ 904928 w 1971297"/>
              <a:gd name="connsiteY75" fmla="*/ 0 h 1970826"/>
              <a:gd name="connsiteX0" fmla="*/ 904928 w 1971297"/>
              <a:gd name="connsiteY0" fmla="*/ 0 h 1970826"/>
              <a:gd name="connsiteX1" fmla="*/ 1066369 w 1971297"/>
              <a:gd name="connsiteY1" fmla="*/ 0 h 1970826"/>
              <a:gd name="connsiteX2" fmla="*/ 1101456 w 1971297"/>
              <a:gd name="connsiteY2" fmla="*/ 199018 h 1970826"/>
              <a:gd name="connsiteX3" fmla="*/ 1149113 w 1971297"/>
              <a:gd name="connsiteY3" fmla="*/ 208521 h 1970826"/>
              <a:gd name="connsiteX4" fmla="*/ 1245734 w 1971297"/>
              <a:gd name="connsiteY4" fmla="*/ 36367 h 1970826"/>
              <a:gd name="connsiteX5" fmla="*/ 1396309 w 1971297"/>
              <a:gd name="connsiteY5" fmla="*/ 90716 h 1970826"/>
              <a:gd name="connsiteX6" fmla="*/ 1364293 w 1971297"/>
              <a:gd name="connsiteY6" fmla="*/ 287523 h 1970826"/>
              <a:gd name="connsiteX7" fmla="*/ 1403197 w 1971297"/>
              <a:gd name="connsiteY7" fmla="*/ 308843 h 1970826"/>
              <a:gd name="connsiteX8" fmla="*/ 1558001 w 1971297"/>
              <a:gd name="connsiteY8" fmla="*/ 178940 h 1970826"/>
              <a:gd name="connsiteX9" fmla="*/ 1681671 w 1971297"/>
              <a:gd name="connsiteY9" fmla="*/ 282712 h 1970826"/>
              <a:gd name="connsiteX10" fmla="*/ 1580623 w 1971297"/>
              <a:gd name="connsiteY10" fmla="*/ 457722 h 1970826"/>
              <a:gd name="connsiteX11" fmla="*/ 1610608 w 1971297"/>
              <a:gd name="connsiteY11" fmla="*/ 499270 h 1970826"/>
              <a:gd name="connsiteX12" fmla="*/ 1802874 w 1971297"/>
              <a:gd name="connsiteY12" fmla="*/ 433067 h 1970826"/>
              <a:gd name="connsiteX13" fmla="*/ 1881963 w 1971297"/>
              <a:gd name="connsiteY13" fmla="*/ 572248 h 1970826"/>
              <a:gd name="connsiteX14" fmla="*/ 1726590 w 1971297"/>
              <a:gd name="connsiteY14" fmla="*/ 698353 h 1970826"/>
              <a:gd name="connsiteX15" fmla="*/ 1741176 w 1971297"/>
              <a:gd name="connsiteY15" fmla="*/ 735808 h 1970826"/>
              <a:gd name="connsiteX16" fmla="*/ 1943264 w 1971297"/>
              <a:gd name="connsiteY16" fmla="*/ 735802 h 1970826"/>
              <a:gd name="connsiteX17" fmla="*/ 1971297 w 1971297"/>
              <a:gd name="connsiteY17" fmla="*/ 894790 h 1970826"/>
              <a:gd name="connsiteX18" fmla="*/ 1781396 w 1971297"/>
              <a:gd name="connsiteY18" fmla="*/ 963903 h 1970826"/>
              <a:gd name="connsiteX19" fmla="*/ 1780264 w 1971297"/>
              <a:gd name="connsiteY19" fmla="*/ 1014677 h 1970826"/>
              <a:gd name="connsiteX20" fmla="*/ 1969010 w 1971297"/>
              <a:gd name="connsiteY20" fmla="*/ 1087130 h 1970826"/>
              <a:gd name="connsiteX21" fmla="*/ 1940132 w 1971297"/>
              <a:gd name="connsiteY21" fmla="*/ 1244586 h 1970826"/>
              <a:gd name="connsiteX22" fmla="*/ 1738798 w 1971297"/>
              <a:gd name="connsiteY22" fmla="*/ 1241295 h 1970826"/>
              <a:gd name="connsiteX23" fmla="*/ 1725636 w 1971297"/>
              <a:gd name="connsiteY23" fmla="*/ 1280130 h 1970826"/>
              <a:gd name="connsiteX24" fmla="*/ 1880447 w 1971297"/>
              <a:gd name="connsiteY24" fmla="*/ 1410026 h 1970826"/>
              <a:gd name="connsiteX25" fmla="*/ 1799727 w 1971297"/>
              <a:gd name="connsiteY25" fmla="*/ 1549837 h 1970826"/>
              <a:gd name="connsiteX26" fmla="*/ 1609829 w 1971297"/>
              <a:gd name="connsiteY26" fmla="*/ 1480714 h 1970826"/>
              <a:gd name="connsiteX27" fmla="*/ 1579151 w 1971297"/>
              <a:gd name="connsiteY27" fmla="*/ 1512281 h 1970826"/>
              <a:gd name="connsiteX28" fmla="*/ 1677610 w 1971297"/>
              <a:gd name="connsiteY28" fmla="*/ 1689905 h 1970826"/>
              <a:gd name="connsiteX29" fmla="*/ 1554277 w 1971297"/>
              <a:gd name="connsiteY29" fmla="*/ 1791961 h 1970826"/>
              <a:gd name="connsiteX30" fmla="*/ 1402854 w 1971297"/>
              <a:gd name="connsiteY30" fmla="*/ 1660626 h 1970826"/>
              <a:gd name="connsiteX31" fmla="*/ 1363848 w 1971297"/>
              <a:gd name="connsiteY31" fmla="*/ 1687117 h 1970826"/>
              <a:gd name="connsiteX32" fmla="*/ 1398945 w 1971297"/>
              <a:gd name="connsiteY32" fmla="*/ 1886133 h 1970826"/>
              <a:gd name="connsiteX33" fmla="*/ 1247240 w 1971297"/>
              <a:gd name="connsiteY33" fmla="*/ 1941349 h 1970826"/>
              <a:gd name="connsiteX34" fmla="*/ 1146202 w 1971297"/>
              <a:gd name="connsiteY34" fmla="*/ 1766334 h 1970826"/>
              <a:gd name="connsiteX35" fmla="*/ 1100680 w 1971297"/>
              <a:gd name="connsiteY35" fmla="*/ 1773318 h 1970826"/>
              <a:gd name="connsiteX36" fmla="*/ 1062288 w 1971297"/>
              <a:gd name="connsiteY36" fmla="*/ 1970826 h 1970826"/>
              <a:gd name="connsiteX37" fmla="*/ 902210 w 1971297"/>
              <a:gd name="connsiteY37" fmla="*/ 1969728 h 1970826"/>
              <a:gd name="connsiteX38" fmla="*/ 870884 w 1971297"/>
              <a:gd name="connsiteY38" fmla="*/ 1773359 h 1970826"/>
              <a:gd name="connsiteX39" fmla="*/ 825096 w 1971297"/>
              <a:gd name="connsiteY39" fmla="*/ 1766334 h 1970826"/>
              <a:gd name="connsiteX40" fmla="*/ 724057 w 1971297"/>
              <a:gd name="connsiteY40" fmla="*/ 1941349 h 1970826"/>
              <a:gd name="connsiteX41" fmla="*/ 572352 w 1971297"/>
              <a:gd name="connsiteY41" fmla="*/ 1886133 h 1970826"/>
              <a:gd name="connsiteX42" fmla="*/ 607450 w 1971297"/>
              <a:gd name="connsiteY42" fmla="*/ 1687117 h 1970826"/>
              <a:gd name="connsiteX43" fmla="*/ 571181 w 1971297"/>
              <a:gd name="connsiteY43" fmla="*/ 1662485 h 1970826"/>
              <a:gd name="connsiteX44" fmla="*/ 421150 w 1971297"/>
              <a:gd name="connsiteY44" fmla="*/ 1792613 h 1970826"/>
              <a:gd name="connsiteX45" fmla="*/ 297817 w 1971297"/>
              <a:gd name="connsiteY45" fmla="*/ 1690557 h 1970826"/>
              <a:gd name="connsiteX46" fmla="*/ 395006 w 1971297"/>
              <a:gd name="connsiteY46" fmla="*/ 1515223 h 1970826"/>
              <a:gd name="connsiteX47" fmla="*/ 361468 w 1971297"/>
              <a:gd name="connsiteY47" fmla="*/ 1480715 h 1970826"/>
              <a:gd name="connsiteX48" fmla="*/ 171570 w 1971297"/>
              <a:gd name="connsiteY48" fmla="*/ 1549837 h 1970826"/>
              <a:gd name="connsiteX49" fmla="*/ 90850 w 1971297"/>
              <a:gd name="connsiteY49" fmla="*/ 1410026 h 1970826"/>
              <a:gd name="connsiteX50" fmla="*/ 245661 w 1971297"/>
              <a:gd name="connsiteY50" fmla="*/ 1280131 h 1970826"/>
              <a:gd name="connsiteX51" fmla="*/ 233972 w 1971297"/>
              <a:gd name="connsiteY51" fmla="*/ 1245643 h 1970826"/>
              <a:gd name="connsiteX52" fmla="*/ 31451 w 1971297"/>
              <a:gd name="connsiteY52" fmla="*/ 1248953 h 1970826"/>
              <a:gd name="connsiteX53" fmla="*/ 2573 w 1971297"/>
              <a:gd name="connsiteY53" fmla="*/ 1091497 h 1970826"/>
              <a:gd name="connsiteX54" fmla="*/ 191133 w 1971297"/>
              <a:gd name="connsiteY54" fmla="*/ 1019115 h 1970826"/>
              <a:gd name="connsiteX55" fmla="*/ 189902 w 1971297"/>
              <a:gd name="connsiteY55" fmla="*/ 963904 h 1970826"/>
              <a:gd name="connsiteX56" fmla="*/ 0 w 1971297"/>
              <a:gd name="connsiteY56" fmla="*/ 894790 h 1970826"/>
              <a:gd name="connsiteX57" fmla="*/ 28034 w 1971297"/>
              <a:gd name="connsiteY57" fmla="*/ 735802 h 1970826"/>
              <a:gd name="connsiteX58" fmla="*/ 230121 w 1971297"/>
              <a:gd name="connsiteY58" fmla="*/ 735808 h 1970826"/>
              <a:gd name="connsiteX59" fmla="*/ 240919 w 1971297"/>
              <a:gd name="connsiteY59" fmla="*/ 708079 h 1970826"/>
              <a:gd name="connsiteX60" fmla="*/ 84936 w 1971297"/>
              <a:gd name="connsiteY60" fmla="*/ 585933 h 1970826"/>
              <a:gd name="connsiteX61" fmla="*/ 161584 w 1971297"/>
              <a:gd name="connsiteY61" fmla="*/ 445393 h 1970826"/>
              <a:gd name="connsiteX62" fmla="*/ 354366 w 1971297"/>
              <a:gd name="connsiteY62" fmla="*/ 508031 h 1970826"/>
              <a:gd name="connsiteX63" fmla="*/ 390674 w 1971297"/>
              <a:gd name="connsiteY63" fmla="*/ 457722 h 1970826"/>
              <a:gd name="connsiteX64" fmla="*/ 289626 w 1971297"/>
              <a:gd name="connsiteY64" fmla="*/ 282712 h 1970826"/>
              <a:gd name="connsiteX65" fmla="*/ 413297 w 1971297"/>
              <a:gd name="connsiteY65" fmla="*/ 178940 h 1970826"/>
              <a:gd name="connsiteX66" fmla="*/ 568101 w 1971297"/>
              <a:gd name="connsiteY66" fmla="*/ 308843 h 1970826"/>
              <a:gd name="connsiteX67" fmla="*/ 611018 w 1971297"/>
              <a:gd name="connsiteY67" fmla="*/ 285324 h 1970826"/>
              <a:gd name="connsiteX68" fmla="*/ 576674 w 1971297"/>
              <a:gd name="connsiteY68" fmla="*/ 89277 h 1970826"/>
              <a:gd name="connsiteX69" fmla="*/ 727674 w 1971297"/>
              <a:gd name="connsiteY69" fmla="*/ 36123 h 1970826"/>
              <a:gd name="connsiteX70" fmla="*/ 826689 w 1971297"/>
              <a:gd name="connsiteY70" fmla="*/ 207623 h 1970826"/>
              <a:gd name="connsiteX71" fmla="*/ 869841 w 1971297"/>
              <a:gd name="connsiteY71" fmla="*/ 199018 h 1970826"/>
              <a:gd name="connsiteX72" fmla="*/ 904928 w 1971297"/>
              <a:gd name="connsiteY72" fmla="*/ 0 h 197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971297" h="1970826">
                <a:moveTo>
                  <a:pt x="904928" y="0"/>
                </a:moveTo>
                <a:lnTo>
                  <a:pt x="1066369" y="0"/>
                </a:lnTo>
                <a:lnTo>
                  <a:pt x="1101456" y="199018"/>
                </a:lnTo>
                <a:lnTo>
                  <a:pt x="1149113" y="208521"/>
                </a:lnTo>
                <a:lnTo>
                  <a:pt x="1245734" y="36367"/>
                </a:lnTo>
                <a:lnTo>
                  <a:pt x="1396309" y="90716"/>
                </a:lnTo>
                <a:lnTo>
                  <a:pt x="1364293" y="287523"/>
                </a:lnTo>
                <a:lnTo>
                  <a:pt x="1403197" y="308843"/>
                </a:lnTo>
                <a:lnTo>
                  <a:pt x="1558001" y="178940"/>
                </a:lnTo>
                <a:lnTo>
                  <a:pt x="1681671" y="282712"/>
                </a:lnTo>
                <a:lnTo>
                  <a:pt x="1580623" y="457722"/>
                </a:lnTo>
                <a:lnTo>
                  <a:pt x="1610608" y="499270"/>
                </a:lnTo>
                <a:lnTo>
                  <a:pt x="1802874" y="433067"/>
                </a:lnTo>
                <a:lnTo>
                  <a:pt x="1881963" y="572248"/>
                </a:lnTo>
                <a:lnTo>
                  <a:pt x="1726590" y="698353"/>
                </a:lnTo>
                <a:lnTo>
                  <a:pt x="1741176" y="735808"/>
                </a:lnTo>
                <a:lnTo>
                  <a:pt x="1943264" y="735802"/>
                </a:lnTo>
                <a:lnTo>
                  <a:pt x="1971297" y="894790"/>
                </a:lnTo>
                <a:lnTo>
                  <a:pt x="1781396" y="963903"/>
                </a:lnTo>
                <a:cubicBezTo>
                  <a:pt x="1781019" y="980828"/>
                  <a:pt x="1780641" y="997752"/>
                  <a:pt x="1780264" y="1014677"/>
                </a:cubicBezTo>
                <a:lnTo>
                  <a:pt x="1969010" y="1087130"/>
                </a:lnTo>
                <a:lnTo>
                  <a:pt x="1940132" y="1244586"/>
                </a:lnTo>
                <a:lnTo>
                  <a:pt x="1738798" y="1241295"/>
                </a:lnTo>
                <a:lnTo>
                  <a:pt x="1725636" y="1280130"/>
                </a:lnTo>
                <a:lnTo>
                  <a:pt x="1880447" y="1410026"/>
                </a:lnTo>
                <a:lnTo>
                  <a:pt x="1799727" y="1549837"/>
                </a:lnTo>
                <a:lnTo>
                  <a:pt x="1609829" y="1480714"/>
                </a:lnTo>
                <a:lnTo>
                  <a:pt x="1579151" y="1512281"/>
                </a:lnTo>
                <a:lnTo>
                  <a:pt x="1677610" y="1689905"/>
                </a:lnTo>
                <a:lnTo>
                  <a:pt x="1554277" y="1791961"/>
                </a:lnTo>
                <a:lnTo>
                  <a:pt x="1402854" y="1660626"/>
                </a:lnTo>
                <a:lnTo>
                  <a:pt x="1363848" y="1687117"/>
                </a:lnTo>
                <a:lnTo>
                  <a:pt x="1398945" y="1886133"/>
                </a:lnTo>
                <a:lnTo>
                  <a:pt x="1247240" y="1941349"/>
                </a:lnTo>
                <a:lnTo>
                  <a:pt x="1146202" y="1766334"/>
                </a:lnTo>
                <a:lnTo>
                  <a:pt x="1100680" y="1773318"/>
                </a:lnTo>
                <a:lnTo>
                  <a:pt x="1062288" y="1970826"/>
                </a:lnTo>
                <a:lnTo>
                  <a:pt x="902210" y="1969728"/>
                </a:lnTo>
                <a:lnTo>
                  <a:pt x="870884" y="1773359"/>
                </a:lnTo>
                <a:lnTo>
                  <a:pt x="825096" y="1766334"/>
                </a:lnTo>
                <a:lnTo>
                  <a:pt x="724057" y="1941349"/>
                </a:lnTo>
                <a:lnTo>
                  <a:pt x="572352" y="1886133"/>
                </a:lnTo>
                <a:lnTo>
                  <a:pt x="607450" y="1687117"/>
                </a:lnTo>
                <a:lnTo>
                  <a:pt x="571181" y="1662485"/>
                </a:lnTo>
                <a:lnTo>
                  <a:pt x="421150" y="1792613"/>
                </a:lnTo>
                <a:lnTo>
                  <a:pt x="297817" y="1690557"/>
                </a:lnTo>
                <a:lnTo>
                  <a:pt x="395006" y="1515223"/>
                </a:lnTo>
                <a:lnTo>
                  <a:pt x="361468" y="1480715"/>
                </a:lnTo>
                <a:lnTo>
                  <a:pt x="171570" y="1549837"/>
                </a:lnTo>
                <a:lnTo>
                  <a:pt x="90850" y="1410026"/>
                </a:lnTo>
                <a:lnTo>
                  <a:pt x="245661" y="1280131"/>
                </a:lnTo>
                <a:lnTo>
                  <a:pt x="233972" y="1245643"/>
                </a:lnTo>
                <a:lnTo>
                  <a:pt x="31451" y="1248953"/>
                </a:lnTo>
                <a:lnTo>
                  <a:pt x="2573" y="1091497"/>
                </a:lnTo>
                <a:lnTo>
                  <a:pt x="191133" y="1019115"/>
                </a:lnTo>
                <a:cubicBezTo>
                  <a:pt x="190723" y="1000711"/>
                  <a:pt x="190312" y="982308"/>
                  <a:pt x="189902" y="963904"/>
                </a:cubicBezTo>
                <a:lnTo>
                  <a:pt x="0" y="894790"/>
                </a:lnTo>
                <a:lnTo>
                  <a:pt x="28034" y="735802"/>
                </a:lnTo>
                <a:lnTo>
                  <a:pt x="230121" y="735808"/>
                </a:lnTo>
                <a:lnTo>
                  <a:pt x="240919" y="708079"/>
                </a:lnTo>
                <a:lnTo>
                  <a:pt x="84936" y="585933"/>
                </a:lnTo>
                <a:lnTo>
                  <a:pt x="161584" y="445393"/>
                </a:lnTo>
                <a:lnTo>
                  <a:pt x="354366" y="508031"/>
                </a:lnTo>
                <a:lnTo>
                  <a:pt x="390674" y="457722"/>
                </a:lnTo>
                <a:lnTo>
                  <a:pt x="289626" y="282712"/>
                </a:lnTo>
                <a:lnTo>
                  <a:pt x="413297" y="178940"/>
                </a:lnTo>
                <a:lnTo>
                  <a:pt x="568101" y="308843"/>
                </a:lnTo>
                <a:lnTo>
                  <a:pt x="611018" y="285324"/>
                </a:lnTo>
                <a:lnTo>
                  <a:pt x="576674" y="89277"/>
                </a:lnTo>
                <a:lnTo>
                  <a:pt x="727674" y="36123"/>
                </a:lnTo>
                <a:lnTo>
                  <a:pt x="826689" y="207623"/>
                </a:lnTo>
                <a:lnTo>
                  <a:pt x="869841" y="199018"/>
                </a:lnTo>
                <a:lnTo>
                  <a:pt x="904928" y="0"/>
                </a:lnTo>
                <a:close/>
              </a:path>
            </a:pathLst>
          </a:custGeom>
          <a:solidFill>
            <a:schemeClr val="accent1">
              <a:lumMod val="20000"/>
              <a:lumOff val="80000"/>
            </a:scheme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70287" tIns="769233" rIns="670287" bIns="821356" numCol="1" spcCol="1270" anchor="ctr" anchorCtr="0">
            <a:noAutofit/>
          </a:bodyPr>
          <a:lstStyle/>
          <a:p>
            <a:pPr algn="ctr" defTabSz="2489138">
              <a:lnSpc>
                <a:spcPct val="90000"/>
              </a:lnSpc>
              <a:spcBef>
                <a:spcPct val="0"/>
              </a:spcBef>
              <a:spcAft>
                <a:spcPct val="35000"/>
              </a:spcAft>
            </a:pPr>
            <a:endParaRPr lang="en-US" sz="5600" dirty="0">
              <a:solidFill>
                <a:prstClr val="white"/>
              </a:solidFill>
              <a:latin typeface="Arial" panose="020B0604020202020204"/>
            </a:endParaRPr>
          </a:p>
        </p:txBody>
      </p:sp>
      <p:sp>
        <p:nvSpPr>
          <p:cNvPr id="31" name="Freeform 30">
            <a:extLst>
              <a:ext uri="{FF2B5EF4-FFF2-40B4-BE49-F238E27FC236}">
                <a16:creationId xmlns:a16="http://schemas.microsoft.com/office/drawing/2014/main" id="{FDD1CFA6-6012-61CA-0AA3-C89F69F9028C}"/>
              </a:ext>
            </a:extLst>
          </p:cNvPr>
          <p:cNvSpPr>
            <a:spLocks noChangeAspect="1"/>
          </p:cNvSpPr>
          <p:nvPr/>
        </p:nvSpPr>
        <p:spPr>
          <a:xfrm flipH="1">
            <a:off x="8456811" y="2675157"/>
            <a:ext cx="233780" cy="233780"/>
          </a:xfrm>
          <a:custGeom>
            <a:avLst/>
            <a:gdLst>
              <a:gd name="connsiteX0" fmla="*/ 212598 w 1971297"/>
              <a:gd name="connsiteY0" fmla="*/ 1172544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98126 w 1971297"/>
              <a:gd name="connsiteY6" fmla="*/ 1096370 h 1970826"/>
              <a:gd name="connsiteX7" fmla="*/ 199057 w 1971297"/>
              <a:gd name="connsiteY7" fmla="*/ 1110557 h 1970826"/>
              <a:gd name="connsiteX8" fmla="*/ 200997 w 1971297"/>
              <a:gd name="connsiteY8" fmla="*/ 1119440 h 1970826"/>
              <a:gd name="connsiteX9" fmla="*/ 1658502 w 1971297"/>
              <a:gd name="connsiteY9" fmla="*/ 565633 h 1970826"/>
              <a:gd name="connsiteX10" fmla="*/ 1664864 w 1971297"/>
              <a:gd name="connsiteY10" fmla="*/ 574448 h 1970826"/>
              <a:gd name="connsiteX11" fmla="*/ 1664611 w 1971297"/>
              <a:gd name="connsiteY11" fmla="*/ 573966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0" fmla="*/ 217129 w 1971297"/>
              <a:gd name="connsiteY0" fmla="*/ 1192320 h 1970826"/>
              <a:gd name="connsiteX1" fmla="*/ 216493 w 1971297"/>
              <a:gd name="connsiteY1" fmla="*/ 1190375 h 1970826"/>
              <a:gd name="connsiteX2" fmla="*/ 217129 w 1971297"/>
              <a:gd name="connsiteY2" fmla="*/ 1192320 h 1970826"/>
              <a:gd name="connsiteX3" fmla="*/ 1773168 w 1971297"/>
              <a:gd name="connsiteY3" fmla="*/ 1096396 h 1970826"/>
              <a:gd name="connsiteX4" fmla="*/ 1771186 w 1971297"/>
              <a:gd name="connsiteY4" fmla="*/ 1112322 h 1970826"/>
              <a:gd name="connsiteX5" fmla="*/ 1772526 w 1971297"/>
              <a:gd name="connsiteY5" fmla="*/ 1106190 h 1970826"/>
              <a:gd name="connsiteX6" fmla="*/ 1773168 w 1971297"/>
              <a:gd name="connsiteY6" fmla="*/ 1096396 h 1970826"/>
              <a:gd name="connsiteX7" fmla="*/ 198126 w 1971297"/>
              <a:gd name="connsiteY7" fmla="*/ 1096370 h 1970826"/>
              <a:gd name="connsiteX8" fmla="*/ 199057 w 1971297"/>
              <a:gd name="connsiteY8" fmla="*/ 1110557 h 1970826"/>
              <a:gd name="connsiteX9" fmla="*/ 200997 w 1971297"/>
              <a:gd name="connsiteY9" fmla="*/ 1119440 h 1970826"/>
              <a:gd name="connsiteX10" fmla="*/ 198126 w 1971297"/>
              <a:gd name="connsiteY10" fmla="*/ 1096370 h 1970826"/>
              <a:gd name="connsiteX11" fmla="*/ 1658502 w 1971297"/>
              <a:gd name="connsiteY11" fmla="*/ 565633 h 1970826"/>
              <a:gd name="connsiteX12" fmla="*/ 1664864 w 1971297"/>
              <a:gd name="connsiteY12" fmla="*/ 574448 h 1970826"/>
              <a:gd name="connsiteX13" fmla="*/ 1664611 w 1971297"/>
              <a:gd name="connsiteY13" fmla="*/ 573966 h 1970826"/>
              <a:gd name="connsiteX14" fmla="*/ 1658502 w 1971297"/>
              <a:gd name="connsiteY14" fmla="*/ 565633 h 1970826"/>
              <a:gd name="connsiteX15" fmla="*/ 985649 w 1971297"/>
              <a:gd name="connsiteY15" fmla="*/ 323553 h 1970826"/>
              <a:gd name="connsiteX16" fmla="*/ 322581 w 1971297"/>
              <a:gd name="connsiteY16" fmla="*/ 986621 h 1970826"/>
              <a:gd name="connsiteX17" fmla="*/ 985649 w 1971297"/>
              <a:gd name="connsiteY17" fmla="*/ 1649689 h 1970826"/>
              <a:gd name="connsiteX18" fmla="*/ 1648717 w 1971297"/>
              <a:gd name="connsiteY18" fmla="*/ 986621 h 1970826"/>
              <a:gd name="connsiteX19" fmla="*/ 985649 w 1971297"/>
              <a:gd name="connsiteY19" fmla="*/ 323553 h 1970826"/>
              <a:gd name="connsiteX20" fmla="*/ 904928 w 1971297"/>
              <a:gd name="connsiteY20" fmla="*/ 0 h 1970826"/>
              <a:gd name="connsiteX21" fmla="*/ 1066369 w 1971297"/>
              <a:gd name="connsiteY21" fmla="*/ 0 h 1970826"/>
              <a:gd name="connsiteX22" fmla="*/ 1101456 w 1971297"/>
              <a:gd name="connsiteY22" fmla="*/ 199018 h 1970826"/>
              <a:gd name="connsiteX23" fmla="*/ 1149113 w 1971297"/>
              <a:gd name="connsiteY23" fmla="*/ 208521 h 1970826"/>
              <a:gd name="connsiteX24" fmla="*/ 1245734 w 1971297"/>
              <a:gd name="connsiteY24" fmla="*/ 36367 h 1970826"/>
              <a:gd name="connsiteX25" fmla="*/ 1396309 w 1971297"/>
              <a:gd name="connsiteY25" fmla="*/ 90716 h 1970826"/>
              <a:gd name="connsiteX26" fmla="*/ 1364293 w 1971297"/>
              <a:gd name="connsiteY26" fmla="*/ 287523 h 1970826"/>
              <a:gd name="connsiteX27" fmla="*/ 1403197 w 1971297"/>
              <a:gd name="connsiteY27" fmla="*/ 308843 h 1970826"/>
              <a:gd name="connsiteX28" fmla="*/ 1558001 w 1971297"/>
              <a:gd name="connsiteY28" fmla="*/ 178940 h 1970826"/>
              <a:gd name="connsiteX29" fmla="*/ 1681671 w 1971297"/>
              <a:gd name="connsiteY29" fmla="*/ 282712 h 1970826"/>
              <a:gd name="connsiteX30" fmla="*/ 1580623 w 1971297"/>
              <a:gd name="connsiteY30" fmla="*/ 457722 h 1970826"/>
              <a:gd name="connsiteX31" fmla="*/ 1610608 w 1971297"/>
              <a:gd name="connsiteY31" fmla="*/ 499270 h 1970826"/>
              <a:gd name="connsiteX32" fmla="*/ 1802874 w 1971297"/>
              <a:gd name="connsiteY32" fmla="*/ 433067 h 1970826"/>
              <a:gd name="connsiteX33" fmla="*/ 1881963 w 1971297"/>
              <a:gd name="connsiteY33" fmla="*/ 572248 h 1970826"/>
              <a:gd name="connsiteX34" fmla="*/ 1726590 w 1971297"/>
              <a:gd name="connsiteY34" fmla="*/ 698353 h 1970826"/>
              <a:gd name="connsiteX35" fmla="*/ 1741176 w 1971297"/>
              <a:gd name="connsiteY35" fmla="*/ 735808 h 1970826"/>
              <a:gd name="connsiteX36" fmla="*/ 1943264 w 1971297"/>
              <a:gd name="connsiteY36" fmla="*/ 735802 h 1970826"/>
              <a:gd name="connsiteX37" fmla="*/ 1971297 w 1971297"/>
              <a:gd name="connsiteY37" fmla="*/ 894790 h 1970826"/>
              <a:gd name="connsiteX38" fmla="*/ 1781396 w 1971297"/>
              <a:gd name="connsiteY38" fmla="*/ 963903 h 1970826"/>
              <a:gd name="connsiteX39" fmla="*/ 1780264 w 1971297"/>
              <a:gd name="connsiteY39" fmla="*/ 1014677 h 1970826"/>
              <a:gd name="connsiteX40" fmla="*/ 1969010 w 1971297"/>
              <a:gd name="connsiteY40" fmla="*/ 1087130 h 1970826"/>
              <a:gd name="connsiteX41" fmla="*/ 1940132 w 1971297"/>
              <a:gd name="connsiteY41" fmla="*/ 1244586 h 1970826"/>
              <a:gd name="connsiteX42" fmla="*/ 1738798 w 1971297"/>
              <a:gd name="connsiteY42" fmla="*/ 1241295 h 1970826"/>
              <a:gd name="connsiteX43" fmla="*/ 1725636 w 1971297"/>
              <a:gd name="connsiteY43" fmla="*/ 1280130 h 1970826"/>
              <a:gd name="connsiteX44" fmla="*/ 1880447 w 1971297"/>
              <a:gd name="connsiteY44" fmla="*/ 1410026 h 1970826"/>
              <a:gd name="connsiteX45" fmla="*/ 1799727 w 1971297"/>
              <a:gd name="connsiteY45" fmla="*/ 1549837 h 1970826"/>
              <a:gd name="connsiteX46" fmla="*/ 1609829 w 1971297"/>
              <a:gd name="connsiteY46" fmla="*/ 1480714 h 1970826"/>
              <a:gd name="connsiteX47" fmla="*/ 1579151 w 1971297"/>
              <a:gd name="connsiteY47" fmla="*/ 1512281 h 1970826"/>
              <a:gd name="connsiteX48" fmla="*/ 1677610 w 1971297"/>
              <a:gd name="connsiteY48" fmla="*/ 1689905 h 1970826"/>
              <a:gd name="connsiteX49" fmla="*/ 1554277 w 1971297"/>
              <a:gd name="connsiteY49" fmla="*/ 1791961 h 1970826"/>
              <a:gd name="connsiteX50" fmla="*/ 1402854 w 1971297"/>
              <a:gd name="connsiteY50" fmla="*/ 1660626 h 1970826"/>
              <a:gd name="connsiteX51" fmla="*/ 1363848 w 1971297"/>
              <a:gd name="connsiteY51" fmla="*/ 1687117 h 1970826"/>
              <a:gd name="connsiteX52" fmla="*/ 1398945 w 1971297"/>
              <a:gd name="connsiteY52" fmla="*/ 1886133 h 1970826"/>
              <a:gd name="connsiteX53" fmla="*/ 1247240 w 1971297"/>
              <a:gd name="connsiteY53" fmla="*/ 1941349 h 1970826"/>
              <a:gd name="connsiteX54" fmla="*/ 1146202 w 1971297"/>
              <a:gd name="connsiteY54" fmla="*/ 1766334 h 1970826"/>
              <a:gd name="connsiteX55" fmla="*/ 1100680 w 1971297"/>
              <a:gd name="connsiteY55" fmla="*/ 1773318 h 1970826"/>
              <a:gd name="connsiteX56" fmla="*/ 1062288 w 1971297"/>
              <a:gd name="connsiteY56" fmla="*/ 1970826 h 1970826"/>
              <a:gd name="connsiteX57" fmla="*/ 902210 w 1971297"/>
              <a:gd name="connsiteY57" fmla="*/ 1969728 h 1970826"/>
              <a:gd name="connsiteX58" fmla="*/ 870884 w 1971297"/>
              <a:gd name="connsiteY58" fmla="*/ 1773359 h 1970826"/>
              <a:gd name="connsiteX59" fmla="*/ 825096 w 1971297"/>
              <a:gd name="connsiteY59" fmla="*/ 1766334 h 1970826"/>
              <a:gd name="connsiteX60" fmla="*/ 724057 w 1971297"/>
              <a:gd name="connsiteY60" fmla="*/ 1941349 h 1970826"/>
              <a:gd name="connsiteX61" fmla="*/ 572352 w 1971297"/>
              <a:gd name="connsiteY61" fmla="*/ 1886133 h 1970826"/>
              <a:gd name="connsiteX62" fmla="*/ 607450 w 1971297"/>
              <a:gd name="connsiteY62" fmla="*/ 1687117 h 1970826"/>
              <a:gd name="connsiteX63" fmla="*/ 571181 w 1971297"/>
              <a:gd name="connsiteY63" fmla="*/ 1662485 h 1970826"/>
              <a:gd name="connsiteX64" fmla="*/ 421150 w 1971297"/>
              <a:gd name="connsiteY64" fmla="*/ 1792613 h 1970826"/>
              <a:gd name="connsiteX65" fmla="*/ 297817 w 1971297"/>
              <a:gd name="connsiteY65" fmla="*/ 1690557 h 1970826"/>
              <a:gd name="connsiteX66" fmla="*/ 395006 w 1971297"/>
              <a:gd name="connsiteY66" fmla="*/ 1515223 h 1970826"/>
              <a:gd name="connsiteX67" fmla="*/ 361468 w 1971297"/>
              <a:gd name="connsiteY67" fmla="*/ 1480715 h 1970826"/>
              <a:gd name="connsiteX68" fmla="*/ 171570 w 1971297"/>
              <a:gd name="connsiteY68" fmla="*/ 1549837 h 1970826"/>
              <a:gd name="connsiteX69" fmla="*/ 90850 w 1971297"/>
              <a:gd name="connsiteY69" fmla="*/ 1410026 h 1970826"/>
              <a:gd name="connsiteX70" fmla="*/ 245661 w 1971297"/>
              <a:gd name="connsiteY70" fmla="*/ 1280131 h 1970826"/>
              <a:gd name="connsiteX71" fmla="*/ 233972 w 1971297"/>
              <a:gd name="connsiteY71" fmla="*/ 1245643 h 1970826"/>
              <a:gd name="connsiteX72" fmla="*/ 31451 w 1971297"/>
              <a:gd name="connsiteY72" fmla="*/ 1248953 h 1970826"/>
              <a:gd name="connsiteX73" fmla="*/ 2573 w 1971297"/>
              <a:gd name="connsiteY73" fmla="*/ 1091497 h 1970826"/>
              <a:gd name="connsiteX74" fmla="*/ 191133 w 1971297"/>
              <a:gd name="connsiteY74" fmla="*/ 1019115 h 1970826"/>
              <a:gd name="connsiteX75" fmla="*/ 189902 w 1971297"/>
              <a:gd name="connsiteY75" fmla="*/ 963904 h 1970826"/>
              <a:gd name="connsiteX76" fmla="*/ 0 w 1971297"/>
              <a:gd name="connsiteY76" fmla="*/ 894790 h 1970826"/>
              <a:gd name="connsiteX77" fmla="*/ 28034 w 1971297"/>
              <a:gd name="connsiteY77" fmla="*/ 735802 h 1970826"/>
              <a:gd name="connsiteX78" fmla="*/ 230121 w 1971297"/>
              <a:gd name="connsiteY78" fmla="*/ 735808 h 1970826"/>
              <a:gd name="connsiteX79" fmla="*/ 240919 w 1971297"/>
              <a:gd name="connsiteY79" fmla="*/ 708079 h 1970826"/>
              <a:gd name="connsiteX80" fmla="*/ 84936 w 1971297"/>
              <a:gd name="connsiteY80" fmla="*/ 585933 h 1970826"/>
              <a:gd name="connsiteX81" fmla="*/ 161584 w 1971297"/>
              <a:gd name="connsiteY81" fmla="*/ 445393 h 1970826"/>
              <a:gd name="connsiteX82" fmla="*/ 354366 w 1971297"/>
              <a:gd name="connsiteY82" fmla="*/ 508031 h 1970826"/>
              <a:gd name="connsiteX83" fmla="*/ 390674 w 1971297"/>
              <a:gd name="connsiteY83" fmla="*/ 457722 h 1970826"/>
              <a:gd name="connsiteX84" fmla="*/ 289626 w 1971297"/>
              <a:gd name="connsiteY84" fmla="*/ 282712 h 1970826"/>
              <a:gd name="connsiteX85" fmla="*/ 413297 w 1971297"/>
              <a:gd name="connsiteY85" fmla="*/ 178940 h 1970826"/>
              <a:gd name="connsiteX86" fmla="*/ 568101 w 1971297"/>
              <a:gd name="connsiteY86" fmla="*/ 308843 h 1970826"/>
              <a:gd name="connsiteX87" fmla="*/ 611018 w 1971297"/>
              <a:gd name="connsiteY87" fmla="*/ 285324 h 1970826"/>
              <a:gd name="connsiteX88" fmla="*/ 576674 w 1971297"/>
              <a:gd name="connsiteY88" fmla="*/ 89277 h 1970826"/>
              <a:gd name="connsiteX89" fmla="*/ 727674 w 1971297"/>
              <a:gd name="connsiteY89" fmla="*/ 36123 h 1970826"/>
              <a:gd name="connsiteX90" fmla="*/ 826689 w 1971297"/>
              <a:gd name="connsiteY90" fmla="*/ 207623 h 1970826"/>
              <a:gd name="connsiteX91" fmla="*/ 869841 w 1971297"/>
              <a:gd name="connsiteY91" fmla="*/ 199018 h 1970826"/>
              <a:gd name="connsiteX92" fmla="*/ 904928 w 1971297"/>
              <a:gd name="connsiteY92" fmla="*/ 0 h 1970826"/>
              <a:gd name="connsiteX0" fmla="*/ 1773168 w 1971297"/>
              <a:gd name="connsiteY0" fmla="*/ 1096396 h 1970826"/>
              <a:gd name="connsiteX1" fmla="*/ 1771186 w 1971297"/>
              <a:gd name="connsiteY1" fmla="*/ 1112322 h 1970826"/>
              <a:gd name="connsiteX2" fmla="*/ 1772526 w 1971297"/>
              <a:gd name="connsiteY2" fmla="*/ 1106190 h 1970826"/>
              <a:gd name="connsiteX3" fmla="*/ 1773168 w 1971297"/>
              <a:gd name="connsiteY3" fmla="*/ 1096396 h 1970826"/>
              <a:gd name="connsiteX4" fmla="*/ 198126 w 1971297"/>
              <a:gd name="connsiteY4" fmla="*/ 1096370 h 1970826"/>
              <a:gd name="connsiteX5" fmla="*/ 199057 w 1971297"/>
              <a:gd name="connsiteY5" fmla="*/ 1110557 h 1970826"/>
              <a:gd name="connsiteX6" fmla="*/ 200997 w 1971297"/>
              <a:gd name="connsiteY6" fmla="*/ 1119440 h 1970826"/>
              <a:gd name="connsiteX7" fmla="*/ 198126 w 1971297"/>
              <a:gd name="connsiteY7" fmla="*/ 1096370 h 1970826"/>
              <a:gd name="connsiteX8" fmla="*/ 1658502 w 1971297"/>
              <a:gd name="connsiteY8" fmla="*/ 565633 h 1970826"/>
              <a:gd name="connsiteX9" fmla="*/ 1664864 w 1971297"/>
              <a:gd name="connsiteY9" fmla="*/ 574448 h 1970826"/>
              <a:gd name="connsiteX10" fmla="*/ 1664611 w 1971297"/>
              <a:gd name="connsiteY10" fmla="*/ 573966 h 1970826"/>
              <a:gd name="connsiteX11" fmla="*/ 1658502 w 1971297"/>
              <a:gd name="connsiteY11" fmla="*/ 565633 h 1970826"/>
              <a:gd name="connsiteX12" fmla="*/ 985649 w 1971297"/>
              <a:gd name="connsiteY12" fmla="*/ 323553 h 1970826"/>
              <a:gd name="connsiteX13" fmla="*/ 322581 w 1971297"/>
              <a:gd name="connsiteY13" fmla="*/ 986621 h 1970826"/>
              <a:gd name="connsiteX14" fmla="*/ 985649 w 1971297"/>
              <a:gd name="connsiteY14" fmla="*/ 1649689 h 1970826"/>
              <a:gd name="connsiteX15" fmla="*/ 1648717 w 1971297"/>
              <a:gd name="connsiteY15" fmla="*/ 986621 h 1970826"/>
              <a:gd name="connsiteX16" fmla="*/ 985649 w 1971297"/>
              <a:gd name="connsiteY16" fmla="*/ 323553 h 1970826"/>
              <a:gd name="connsiteX17" fmla="*/ 904928 w 1971297"/>
              <a:gd name="connsiteY17" fmla="*/ 0 h 1970826"/>
              <a:gd name="connsiteX18" fmla="*/ 1066369 w 1971297"/>
              <a:gd name="connsiteY18" fmla="*/ 0 h 1970826"/>
              <a:gd name="connsiteX19" fmla="*/ 1101456 w 1971297"/>
              <a:gd name="connsiteY19" fmla="*/ 199018 h 1970826"/>
              <a:gd name="connsiteX20" fmla="*/ 1149113 w 1971297"/>
              <a:gd name="connsiteY20" fmla="*/ 208521 h 1970826"/>
              <a:gd name="connsiteX21" fmla="*/ 1245734 w 1971297"/>
              <a:gd name="connsiteY21" fmla="*/ 36367 h 1970826"/>
              <a:gd name="connsiteX22" fmla="*/ 1396309 w 1971297"/>
              <a:gd name="connsiteY22" fmla="*/ 90716 h 1970826"/>
              <a:gd name="connsiteX23" fmla="*/ 1364293 w 1971297"/>
              <a:gd name="connsiteY23" fmla="*/ 287523 h 1970826"/>
              <a:gd name="connsiteX24" fmla="*/ 1403197 w 1971297"/>
              <a:gd name="connsiteY24" fmla="*/ 308843 h 1970826"/>
              <a:gd name="connsiteX25" fmla="*/ 1558001 w 1971297"/>
              <a:gd name="connsiteY25" fmla="*/ 178940 h 1970826"/>
              <a:gd name="connsiteX26" fmla="*/ 1681671 w 1971297"/>
              <a:gd name="connsiteY26" fmla="*/ 282712 h 1970826"/>
              <a:gd name="connsiteX27" fmla="*/ 1580623 w 1971297"/>
              <a:gd name="connsiteY27" fmla="*/ 457722 h 1970826"/>
              <a:gd name="connsiteX28" fmla="*/ 1610608 w 1971297"/>
              <a:gd name="connsiteY28" fmla="*/ 499270 h 1970826"/>
              <a:gd name="connsiteX29" fmla="*/ 1802874 w 1971297"/>
              <a:gd name="connsiteY29" fmla="*/ 433067 h 1970826"/>
              <a:gd name="connsiteX30" fmla="*/ 1881963 w 1971297"/>
              <a:gd name="connsiteY30" fmla="*/ 572248 h 1970826"/>
              <a:gd name="connsiteX31" fmla="*/ 1726590 w 1971297"/>
              <a:gd name="connsiteY31" fmla="*/ 698353 h 1970826"/>
              <a:gd name="connsiteX32" fmla="*/ 1741176 w 1971297"/>
              <a:gd name="connsiteY32" fmla="*/ 735808 h 1970826"/>
              <a:gd name="connsiteX33" fmla="*/ 1943264 w 1971297"/>
              <a:gd name="connsiteY33" fmla="*/ 735802 h 1970826"/>
              <a:gd name="connsiteX34" fmla="*/ 1971297 w 1971297"/>
              <a:gd name="connsiteY34" fmla="*/ 894790 h 1970826"/>
              <a:gd name="connsiteX35" fmla="*/ 1781396 w 1971297"/>
              <a:gd name="connsiteY35" fmla="*/ 963903 h 1970826"/>
              <a:gd name="connsiteX36" fmla="*/ 1780264 w 1971297"/>
              <a:gd name="connsiteY36" fmla="*/ 1014677 h 1970826"/>
              <a:gd name="connsiteX37" fmla="*/ 1969010 w 1971297"/>
              <a:gd name="connsiteY37" fmla="*/ 1087130 h 1970826"/>
              <a:gd name="connsiteX38" fmla="*/ 1940132 w 1971297"/>
              <a:gd name="connsiteY38" fmla="*/ 1244586 h 1970826"/>
              <a:gd name="connsiteX39" fmla="*/ 1738798 w 1971297"/>
              <a:gd name="connsiteY39" fmla="*/ 1241295 h 1970826"/>
              <a:gd name="connsiteX40" fmla="*/ 1725636 w 1971297"/>
              <a:gd name="connsiteY40" fmla="*/ 1280130 h 1970826"/>
              <a:gd name="connsiteX41" fmla="*/ 1880447 w 1971297"/>
              <a:gd name="connsiteY41" fmla="*/ 1410026 h 1970826"/>
              <a:gd name="connsiteX42" fmla="*/ 1799727 w 1971297"/>
              <a:gd name="connsiteY42" fmla="*/ 1549837 h 1970826"/>
              <a:gd name="connsiteX43" fmla="*/ 1609829 w 1971297"/>
              <a:gd name="connsiteY43" fmla="*/ 1480714 h 1970826"/>
              <a:gd name="connsiteX44" fmla="*/ 1579151 w 1971297"/>
              <a:gd name="connsiteY44" fmla="*/ 1512281 h 1970826"/>
              <a:gd name="connsiteX45" fmla="*/ 1677610 w 1971297"/>
              <a:gd name="connsiteY45" fmla="*/ 1689905 h 1970826"/>
              <a:gd name="connsiteX46" fmla="*/ 1554277 w 1971297"/>
              <a:gd name="connsiteY46" fmla="*/ 1791961 h 1970826"/>
              <a:gd name="connsiteX47" fmla="*/ 1402854 w 1971297"/>
              <a:gd name="connsiteY47" fmla="*/ 1660626 h 1970826"/>
              <a:gd name="connsiteX48" fmla="*/ 1363848 w 1971297"/>
              <a:gd name="connsiteY48" fmla="*/ 1687117 h 1970826"/>
              <a:gd name="connsiteX49" fmla="*/ 1398945 w 1971297"/>
              <a:gd name="connsiteY49" fmla="*/ 1886133 h 1970826"/>
              <a:gd name="connsiteX50" fmla="*/ 1247240 w 1971297"/>
              <a:gd name="connsiteY50" fmla="*/ 1941349 h 1970826"/>
              <a:gd name="connsiteX51" fmla="*/ 1146202 w 1971297"/>
              <a:gd name="connsiteY51" fmla="*/ 1766334 h 1970826"/>
              <a:gd name="connsiteX52" fmla="*/ 1100680 w 1971297"/>
              <a:gd name="connsiteY52" fmla="*/ 1773318 h 1970826"/>
              <a:gd name="connsiteX53" fmla="*/ 1062288 w 1971297"/>
              <a:gd name="connsiteY53" fmla="*/ 1970826 h 1970826"/>
              <a:gd name="connsiteX54" fmla="*/ 902210 w 1971297"/>
              <a:gd name="connsiteY54" fmla="*/ 1969728 h 1970826"/>
              <a:gd name="connsiteX55" fmla="*/ 870884 w 1971297"/>
              <a:gd name="connsiteY55" fmla="*/ 1773359 h 1970826"/>
              <a:gd name="connsiteX56" fmla="*/ 825096 w 1971297"/>
              <a:gd name="connsiteY56" fmla="*/ 1766334 h 1970826"/>
              <a:gd name="connsiteX57" fmla="*/ 724057 w 1971297"/>
              <a:gd name="connsiteY57" fmla="*/ 1941349 h 1970826"/>
              <a:gd name="connsiteX58" fmla="*/ 572352 w 1971297"/>
              <a:gd name="connsiteY58" fmla="*/ 1886133 h 1970826"/>
              <a:gd name="connsiteX59" fmla="*/ 607450 w 1971297"/>
              <a:gd name="connsiteY59" fmla="*/ 1687117 h 1970826"/>
              <a:gd name="connsiteX60" fmla="*/ 571181 w 1971297"/>
              <a:gd name="connsiteY60" fmla="*/ 1662485 h 1970826"/>
              <a:gd name="connsiteX61" fmla="*/ 421150 w 1971297"/>
              <a:gd name="connsiteY61" fmla="*/ 1792613 h 1970826"/>
              <a:gd name="connsiteX62" fmla="*/ 297817 w 1971297"/>
              <a:gd name="connsiteY62" fmla="*/ 1690557 h 1970826"/>
              <a:gd name="connsiteX63" fmla="*/ 395006 w 1971297"/>
              <a:gd name="connsiteY63" fmla="*/ 1515223 h 1970826"/>
              <a:gd name="connsiteX64" fmla="*/ 361468 w 1971297"/>
              <a:gd name="connsiteY64" fmla="*/ 1480715 h 1970826"/>
              <a:gd name="connsiteX65" fmla="*/ 171570 w 1971297"/>
              <a:gd name="connsiteY65" fmla="*/ 1549837 h 1970826"/>
              <a:gd name="connsiteX66" fmla="*/ 90850 w 1971297"/>
              <a:gd name="connsiteY66" fmla="*/ 1410026 h 1970826"/>
              <a:gd name="connsiteX67" fmla="*/ 245661 w 1971297"/>
              <a:gd name="connsiteY67" fmla="*/ 1280131 h 1970826"/>
              <a:gd name="connsiteX68" fmla="*/ 233972 w 1971297"/>
              <a:gd name="connsiteY68" fmla="*/ 1245643 h 1970826"/>
              <a:gd name="connsiteX69" fmla="*/ 31451 w 1971297"/>
              <a:gd name="connsiteY69" fmla="*/ 1248953 h 1970826"/>
              <a:gd name="connsiteX70" fmla="*/ 2573 w 1971297"/>
              <a:gd name="connsiteY70" fmla="*/ 1091497 h 1970826"/>
              <a:gd name="connsiteX71" fmla="*/ 191133 w 1971297"/>
              <a:gd name="connsiteY71" fmla="*/ 1019115 h 1970826"/>
              <a:gd name="connsiteX72" fmla="*/ 189902 w 1971297"/>
              <a:gd name="connsiteY72" fmla="*/ 963904 h 1970826"/>
              <a:gd name="connsiteX73" fmla="*/ 0 w 1971297"/>
              <a:gd name="connsiteY73" fmla="*/ 894790 h 1970826"/>
              <a:gd name="connsiteX74" fmla="*/ 28034 w 1971297"/>
              <a:gd name="connsiteY74" fmla="*/ 735802 h 1970826"/>
              <a:gd name="connsiteX75" fmla="*/ 230121 w 1971297"/>
              <a:gd name="connsiteY75" fmla="*/ 735808 h 1970826"/>
              <a:gd name="connsiteX76" fmla="*/ 240919 w 1971297"/>
              <a:gd name="connsiteY76" fmla="*/ 708079 h 1970826"/>
              <a:gd name="connsiteX77" fmla="*/ 84936 w 1971297"/>
              <a:gd name="connsiteY77" fmla="*/ 585933 h 1970826"/>
              <a:gd name="connsiteX78" fmla="*/ 161584 w 1971297"/>
              <a:gd name="connsiteY78" fmla="*/ 445393 h 1970826"/>
              <a:gd name="connsiteX79" fmla="*/ 354366 w 1971297"/>
              <a:gd name="connsiteY79" fmla="*/ 508031 h 1970826"/>
              <a:gd name="connsiteX80" fmla="*/ 390674 w 1971297"/>
              <a:gd name="connsiteY80" fmla="*/ 457722 h 1970826"/>
              <a:gd name="connsiteX81" fmla="*/ 289626 w 1971297"/>
              <a:gd name="connsiteY81" fmla="*/ 282712 h 1970826"/>
              <a:gd name="connsiteX82" fmla="*/ 413297 w 1971297"/>
              <a:gd name="connsiteY82" fmla="*/ 178940 h 1970826"/>
              <a:gd name="connsiteX83" fmla="*/ 568101 w 1971297"/>
              <a:gd name="connsiteY83" fmla="*/ 308843 h 1970826"/>
              <a:gd name="connsiteX84" fmla="*/ 611018 w 1971297"/>
              <a:gd name="connsiteY84" fmla="*/ 285324 h 1970826"/>
              <a:gd name="connsiteX85" fmla="*/ 576674 w 1971297"/>
              <a:gd name="connsiteY85" fmla="*/ 89277 h 1970826"/>
              <a:gd name="connsiteX86" fmla="*/ 727674 w 1971297"/>
              <a:gd name="connsiteY86" fmla="*/ 36123 h 1970826"/>
              <a:gd name="connsiteX87" fmla="*/ 826689 w 1971297"/>
              <a:gd name="connsiteY87" fmla="*/ 207623 h 1970826"/>
              <a:gd name="connsiteX88" fmla="*/ 869841 w 1971297"/>
              <a:gd name="connsiteY88" fmla="*/ 199018 h 1970826"/>
              <a:gd name="connsiteX89" fmla="*/ 904928 w 1971297"/>
              <a:gd name="connsiteY89" fmla="*/ 0 h 1970826"/>
              <a:gd name="connsiteX0" fmla="*/ 1772526 w 1971297"/>
              <a:gd name="connsiteY0" fmla="*/ 1106190 h 1970826"/>
              <a:gd name="connsiteX1" fmla="*/ 1771186 w 1971297"/>
              <a:gd name="connsiteY1" fmla="*/ 1112322 h 1970826"/>
              <a:gd name="connsiteX2" fmla="*/ 1772526 w 1971297"/>
              <a:gd name="connsiteY2" fmla="*/ 1106190 h 1970826"/>
              <a:gd name="connsiteX3" fmla="*/ 198126 w 1971297"/>
              <a:gd name="connsiteY3" fmla="*/ 1096370 h 1970826"/>
              <a:gd name="connsiteX4" fmla="*/ 199057 w 1971297"/>
              <a:gd name="connsiteY4" fmla="*/ 1110557 h 1970826"/>
              <a:gd name="connsiteX5" fmla="*/ 200997 w 1971297"/>
              <a:gd name="connsiteY5" fmla="*/ 1119440 h 1970826"/>
              <a:gd name="connsiteX6" fmla="*/ 198126 w 1971297"/>
              <a:gd name="connsiteY6" fmla="*/ 1096370 h 1970826"/>
              <a:gd name="connsiteX7" fmla="*/ 1658502 w 1971297"/>
              <a:gd name="connsiteY7" fmla="*/ 565633 h 1970826"/>
              <a:gd name="connsiteX8" fmla="*/ 1664864 w 1971297"/>
              <a:gd name="connsiteY8" fmla="*/ 574448 h 1970826"/>
              <a:gd name="connsiteX9" fmla="*/ 1664611 w 1971297"/>
              <a:gd name="connsiteY9" fmla="*/ 573966 h 1970826"/>
              <a:gd name="connsiteX10" fmla="*/ 1658502 w 1971297"/>
              <a:gd name="connsiteY10" fmla="*/ 565633 h 1970826"/>
              <a:gd name="connsiteX11" fmla="*/ 985649 w 1971297"/>
              <a:gd name="connsiteY11" fmla="*/ 323553 h 1970826"/>
              <a:gd name="connsiteX12" fmla="*/ 322581 w 1971297"/>
              <a:gd name="connsiteY12" fmla="*/ 986621 h 1970826"/>
              <a:gd name="connsiteX13" fmla="*/ 985649 w 1971297"/>
              <a:gd name="connsiteY13" fmla="*/ 1649689 h 1970826"/>
              <a:gd name="connsiteX14" fmla="*/ 1648717 w 1971297"/>
              <a:gd name="connsiteY14" fmla="*/ 986621 h 1970826"/>
              <a:gd name="connsiteX15" fmla="*/ 985649 w 1971297"/>
              <a:gd name="connsiteY15" fmla="*/ 323553 h 1970826"/>
              <a:gd name="connsiteX16" fmla="*/ 904928 w 1971297"/>
              <a:gd name="connsiteY16" fmla="*/ 0 h 1970826"/>
              <a:gd name="connsiteX17" fmla="*/ 1066369 w 1971297"/>
              <a:gd name="connsiteY17" fmla="*/ 0 h 1970826"/>
              <a:gd name="connsiteX18" fmla="*/ 1101456 w 1971297"/>
              <a:gd name="connsiteY18" fmla="*/ 199018 h 1970826"/>
              <a:gd name="connsiteX19" fmla="*/ 1149113 w 1971297"/>
              <a:gd name="connsiteY19" fmla="*/ 208521 h 1970826"/>
              <a:gd name="connsiteX20" fmla="*/ 1245734 w 1971297"/>
              <a:gd name="connsiteY20" fmla="*/ 36367 h 1970826"/>
              <a:gd name="connsiteX21" fmla="*/ 1396309 w 1971297"/>
              <a:gd name="connsiteY21" fmla="*/ 90716 h 1970826"/>
              <a:gd name="connsiteX22" fmla="*/ 1364293 w 1971297"/>
              <a:gd name="connsiteY22" fmla="*/ 287523 h 1970826"/>
              <a:gd name="connsiteX23" fmla="*/ 1403197 w 1971297"/>
              <a:gd name="connsiteY23" fmla="*/ 308843 h 1970826"/>
              <a:gd name="connsiteX24" fmla="*/ 1558001 w 1971297"/>
              <a:gd name="connsiteY24" fmla="*/ 178940 h 1970826"/>
              <a:gd name="connsiteX25" fmla="*/ 1681671 w 1971297"/>
              <a:gd name="connsiteY25" fmla="*/ 282712 h 1970826"/>
              <a:gd name="connsiteX26" fmla="*/ 1580623 w 1971297"/>
              <a:gd name="connsiteY26" fmla="*/ 457722 h 1970826"/>
              <a:gd name="connsiteX27" fmla="*/ 1610608 w 1971297"/>
              <a:gd name="connsiteY27" fmla="*/ 499270 h 1970826"/>
              <a:gd name="connsiteX28" fmla="*/ 1802874 w 1971297"/>
              <a:gd name="connsiteY28" fmla="*/ 433067 h 1970826"/>
              <a:gd name="connsiteX29" fmla="*/ 1881963 w 1971297"/>
              <a:gd name="connsiteY29" fmla="*/ 572248 h 1970826"/>
              <a:gd name="connsiteX30" fmla="*/ 1726590 w 1971297"/>
              <a:gd name="connsiteY30" fmla="*/ 698353 h 1970826"/>
              <a:gd name="connsiteX31" fmla="*/ 1741176 w 1971297"/>
              <a:gd name="connsiteY31" fmla="*/ 735808 h 1970826"/>
              <a:gd name="connsiteX32" fmla="*/ 1943264 w 1971297"/>
              <a:gd name="connsiteY32" fmla="*/ 735802 h 1970826"/>
              <a:gd name="connsiteX33" fmla="*/ 1971297 w 1971297"/>
              <a:gd name="connsiteY33" fmla="*/ 894790 h 1970826"/>
              <a:gd name="connsiteX34" fmla="*/ 1781396 w 1971297"/>
              <a:gd name="connsiteY34" fmla="*/ 963903 h 1970826"/>
              <a:gd name="connsiteX35" fmla="*/ 1780264 w 1971297"/>
              <a:gd name="connsiteY35" fmla="*/ 1014677 h 1970826"/>
              <a:gd name="connsiteX36" fmla="*/ 1969010 w 1971297"/>
              <a:gd name="connsiteY36" fmla="*/ 1087130 h 1970826"/>
              <a:gd name="connsiteX37" fmla="*/ 1940132 w 1971297"/>
              <a:gd name="connsiteY37" fmla="*/ 1244586 h 1970826"/>
              <a:gd name="connsiteX38" fmla="*/ 1738798 w 1971297"/>
              <a:gd name="connsiteY38" fmla="*/ 1241295 h 1970826"/>
              <a:gd name="connsiteX39" fmla="*/ 1725636 w 1971297"/>
              <a:gd name="connsiteY39" fmla="*/ 1280130 h 1970826"/>
              <a:gd name="connsiteX40" fmla="*/ 1880447 w 1971297"/>
              <a:gd name="connsiteY40" fmla="*/ 1410026 h 1970826"/>
              <a:gd name="connsiteX41" fmla="*/ 1799727 w 1971297"/>
              <a:gd name="connsiteY41" fmla="*/ 1549837 h 1970826"/>
              <a:gd name="connsiteX42" fmla="*/ 1609829 w 1971297"/>
              <a:gd name="connsiteY42" fmla="*/ 1480714 h 1970826"/>
              <a:gd name="connsiteX43" fmla="*/ 1579151 w 1971297"/>
              <a:gd name="connsiteY43" fmla="*/ 1512281 h 1970826"/>
              <a:gd name="connsiteX44" fmla="*/ 1677610 w 1971297"/>
              <a:gd name="connsiteY44" fmla="*/ 1689905 h 1970826"/>
              <a:gd name="connsiteX45" fmla="*/ 1554277 w 1971297"/>
              <a:gd name="connsiteY45" fmla="*/ 1791961 h 1970826"/>
              <a:gd name="connsiteX46" fmla="*/ 1402854 w 1971297"/>
              <a:gd name="connsiteY46" fmla="*/ 1660626 h 1970826"/>
              <a:gd name="connsiteX47" fmla="*/ 1363848 w 1971297"/>
              <a:gd name="connsiteY47" fmla="*/ 1687117 h 1970826"/>
              <a:gd name="connsiteX48" fmla="*/ 1398945 w 1971297"/>
              <a:gd name="connsiteY48" fmla="*/ 1886133 h 1970826"/>
              <a:gd name="connsiteX49" fmla="*/ 1247240 w 1971297"/>
              <a:gd name="connsiteY49" fmla="*/ 1941349 h 1970826"/>
              <a:gd name="connsiteX50" fmla="*/ 1146202 w 1971297"/>
              <a:gd name="connsiteY50" fmla="*/ 1766334 h 1970826"/>
              <a:gd name="connsiteX51" fmla="*/ 1100680 w 1971297"/>
              <a:gd name="connsiteY51" fmla="*/ 1773318 h 1970826"/>
              <a:gd name="connsiteX52" fmla="*/ 1062288 w 1971297"/>
              <a:gd name="connsiteY52" fmla="*/ 1970826 h 1970826"/>
              <a:gd name="connsiteX53" fmla="*/ 902210 w 1971297"/>
              <a:gd name="connsiteY53" fmla="*/ 1969728 h 1970826"/>
              <a:gd name="connsiteX54" fmla="*/ 870884 w 1971297"/>
              <a:gd name="connsiteY54" fmla="*/ 1773359 h 1970826"/>
              <a:gd name="connsiteX55" fmla="*/ 825096 w 1971297"/>
              <a:gd name="connsiteY55" fmla="*/ 1766334 h 1970826"/>
              <a:gd name="connsiteX56" fmla="*/ 724057 w 1971297"/>
              <a:gd name="connsiteY56" fmla="*/ 1941349 h 1970826"/>
              <a:gd name="connsiteX57" fmla="*/ 572352 w 1971297"/>
              <a:gd name="connsiteY57" fmla="*/ 1886133 h 1970826"/>
              <a:gd name="connsiteX58" fmla="*/ 607450 w 1971297"/>
              <a:gd name="connsiteY58" fmla="*/ 1687117 h 1970826"/>
              <a:gd name="connsiteX59" fmla="*/ 571181 w 1971297"/>
              <a:gd name="connsiteY59" fmla="*/ 1662485 h 1970826"/>
              <a:gd name="connsiteX60" fmla="*/ 421150 w 1971297"/>
              <a:gd name="connsiteY60" fmla="*/ 1792613 h 1970826"/>
              <a:gd name="connsiteX61" fmla="*/ 297817 w 1971297"/>
              <a:gd name="connsiteY61" fmla="*/ 1690557 h 1970826"/>
              <a:gd name="connsiteX62" fmla="*/ 395006 w 1971297"/>
              <a:gd name="connsiteY62" fmla="*/ 1515223 h 1970826"/>
              <a:gd name="connsiteX63" fmla="*/ 361468 w 1971297"/>
              <a:gd name="connsiteY63" fmla="*/ 1480715 h 1970826"/>
              <a:gd name="connsiteX64" fmla="*/ 171570 w 1971297"/>
              <a:gd name="connsiteY64" fmla="*/ 1549837 h 1970826"/>
              <a:gd name="connsiteX65" fmla="*/ 90850 w 1971297"/>
              <a:gd name="connsiteY65" fmla="*/ 1410026 h 1970826"/>
              <a:gd name="connsiteX66" fmla="*/ 245661 w 1971297"/>
              <a:gd name="connsiteY66" fmla="*/ 1280131 h 1970826"/>
              <a:gd name="connsiteX67" fmla="*/ 233972 w 1971297"/>
              <a:gd name="connsiteY67" fmla="*/ 1245643 h 1970826"/>
              <a:gd name="connsiteX68" fmla="*/ 31451 w 1971297"/>
              <a:gd name="connsiteY68" fmla="*/ 1248953 h 1970826"/>
              <a:gd name="connsiteX69" fmla="*/ 2573 w 1971297"/>
              <a:gd name="connsiteY69" fmla="*/ 1091497 h 1970826"/>
              <a:gd name="connsiteX70" fmla="*/ 191133 w 1971297"/>
              <a:gd name="connsiteY70" fmla="*/ 1019115 h 1970826"/>
              <a:gd name="connsiteX71" fmla="*/ 189902 w 1971297"/>
              <a:gd name="connsiteY71" fmla="*/ 963904 h 1970826"/>
              <a:gd name="connsiteX72" fmla="*/ 0 w 1971297"/>
              <a:gd name="connsiteY72" fmla="*/ 894790 h 1970826"/>
              <a:gd name="connsiteX73" fmla="*/ 28034 w 1971297"/>
              <a:gd name="connsiteY73" fmla="*/ 735802 h 1970826"/>
              <a:gd name="connsiteX74" fmla="*/ 230121 w 1971297"/>
              <a:gd name="connsiteY74" fmla="*/ 735808 h 1970826"/>
              <a:gd name="connsiteX75" fmla="*/ 240919 w 1971297"/>
              <a:gd name="connsiteY75" fmla="*/ 708079 h 1970826"/>
              <a:gd name="connsiteX76" fmla="*/ 84936 w 1971297"/>
              <a:gd name="connsiteY76" fmla="*/ 585933 h 1970826"/>
              <a:gd name="connsiteX77" fmla="*/ 161584 w 1971297"/>
              <a:gd name="connsiteY77" fmla="*/ 445393 h 1970826"/>
              <a:gd name="connsiteX78" fmla="*/ 354366 w 1971297"/>
              <a:gd name="connsiteY78" fmla="*/ 508031 h 1970826"/>
              <a:gd name="connsiteX79" fmla="*/ 390674 w 1971297"/>
              <a:gd name="connsiteY79" fmla="*/ 457722 h 1970826"/>
              <a:gd name="connsiteX80" fmla="*/ 289626 w 1971297"/>
              <a:gd name="connsiteY80" fmla="*/ 282712 h 1970826"/>
              <a:gd name="connsiteX81" fmla="*/ 413297 w 1971297"/>
              <a:gd name="connsiteY81" fmla="*/ 178940 h 1970826"/>
              <a:gd name="connsiteX82" fmla="*/ 568101 w 1971297"/>
              <a:gd name="connsiteY82" fmla="*/ 308843 h 1970826"/>
              <a:gd name="connsiteX83" fmla="*/ 611018 w 1971297"/>
              <a:gd name="connsiteY83" fmla="*/ 285324 h 1970826"/>
              <a:gd name="connsiteX84" fmla="*/ 576674 w 1971297"/>
              <a:gd name="connsiteY84" fmla="*/ 89277 h 1970826"/>
              <a:gd name="connsiteX85" fmla="*/ 727674 w 1971297"/>
              <a:gd name="connsiteY85" fmla="*/ 36123 h 1970826"/>
              <a:gd name="connsiteX86" fmla="*/ 826689 w 1971297"/>
              <a:gd name="connsiteY86" fmla="*/ 207623 h 1970826"/>
              <a:gd name="connsiteX87" fmla="*/ 869841 w 1971297"/>
              <a:gd name="connsiteY87" fmla="*/ 199018 h 1970826"/>
              <a:gd name="connsiteX88" fmla="*/ 904928 w 1971297"/>
              <a:gd name="connsiteY88" fmla="*/ 0 h 1970826"/>
              <a:gd name="connsiteX0" fmla="*/ 198126 w 1971297"/>
              <a:gd name="connsiteY0" fmla="*/ 1096370 h 1970826"/>
              <a:gd name="connsiteX1" fmla="*/ 199057 w 1971297"/>
              <a:gd name="connsiteY1" fmla="*/ 1110557 h 1970826"/>
              <a:gd name="connsiteX2" fmla="*/ 200997 w 1971297"/>
              <a:gd name="connsiteY2" fmla="*/ 1119440 h 1970826"/>
              <a:gd name="connsiteX3" fmla="*/ 198126 w 1971297"/>
              <a:gd name="connsiteY3" fmla="*/ 1096370 h 1970826"/>
              <a:gd name="connsiteX4" fmla="*/ 1658502 w 1971297"/>
              <a:gd name="connsiteY4" fmla="*/ 565633 h 1970826"/>
              <a:gd name="connsiteX5" fmla="*/ 1664864 w 1971297"/>
              <a:gd name="connsiteY5" fmla="*/ 574448 h 1970826"/>
              <a:gd name="connsiteX6" fmla="*/ 1664611 w 1971297"/>
              <a:gd name="connsiteY6" fmla="*/ 573966 h 1970826"/>
              <a:gd name="connsiteX7" fmla="*/ 1658502 w 1971297"/>
              <a:gd name="connsiteY7" fmla="*/ 565633 h 1970826"/>
              <a:gd name="connsiteX8" fmla="*/ 985649 w 1971297"/>
              <a:gd name="connsiteY8" fmla="*/ 323553 h 1970826"/>
              <a:gd name="connsiteX9" fmla="*/ 322581 w 1971297"/>
              <a:gd name="connsiteY9" fmla="*/ 986621 h 1970826"/>
              <a:gd name="connsiteX10" fmla="*/ 985649 w 1971297"/>
              <a:gd name="connsiteY10" fmla="*/ 1649689 h 1970826"/>
              <a:gd name="connsiteX11" fmla="*/ 1648717 w 1971297"/>
              <a:gd name="connsiteY11" fmla="*/ 986621 h 1970826"/>
              <a:gd name="connsiteX12" fmla="*/ 985649 w 1971297"/>
              <a:gd name="connsiteY12" fmla="*/ 323553 h 1970826"/>
              <a:gd name="connsiteX13" fmla="*/ 904928 w 1971297"/>
              <a:gd name="connsiteY13" fmla="*/ 0 h 1970826"/>
              <a:gd name="connsiteX14" fmla="*/ 1066369 w 1971297"/>
              <a:gd name="connsiteY14" fmla="*/ 0 h 1970826"/>
              <a:gd name="connsiteX15" fmla="*/ 1101456 w 1971297"/>
              <a:gd name="connsiteY15" fmla="*/ 199018 h 1970826"/>
              <a:gd name="connsiteX16" fmla="*/ 1149113 w 1971297"/>
              <a:gd name="connsiteY16" fmla="*/ 208521 h 1970826"/>
              <a:gd name="connsiteX17" fmla="*/ 1245734 w 1971297"/>
              <a:gd name="connsiteY17" fmla="*/ 36367 h 1970826"/>
              <a:gd name="connsiteX18" fmla="*/ 1396309 w 1971297"/>
              <a:gd name="connsiteY18" fmla="*/ 90716 h 1970826"/>
              <a:gd name="connsiteX19" fmla="*/ 1364293 w 1971297"/>
              <a:gd name="connsiteY19" fmla="*/ 287523 h 1970826"/>
              <a:gd name="connsiteX20" fmla="*/ 1403197 w 1971297"/>
              <a:gd name="connsiteY20" fmla="*/ 308843 h 1970826"/>
              <a:gd name="connsiteX21" fmla="*/ 1558001 w 1971297"/>
              <a:gd name="connsiteY21" fmla="*/ 178940 h 1970826"/>
              <a:gd name="connsiteX22" fmla="*/ 1681671 w 1971297"/>
              <a:gd name="connsiteY22" fmla="*/ 282712 h 1970826"/>
              <a:gd name="connsiteX23" fmla="*/ 1580623 w 1971297"/>
              <a:gd name="connsiteY23" fmla="*/ 457722 h 1970826"/>
              <a:gd name="connsiteX24" fmla="*/ 1610608 w 1971297"/>
              <a:gd name="connsiteY24" fmla="*/ 499270 h 1970826"/>
              <a:gd name="connsiteX25" fmla="*/ 1802874 w 1971297"/>
              <a:gd name="connsiteY25" fmla="*/ 433067 h 1970826"/>
              <a:gd name="connsiteX26" fmla="*/ 1881963 w 1971297"/>
              <a:gd name="connsiteY26" fmla="*/ 572248 h 1970826"/>
              <a:gd name="connsiteX27" fmla="*/ 1726590 w 1971297"/>
              <a:gd name="connsiteY27" fmla="*/ 698353 h 1970826"/>
              <a:gd name="connsiteX28" fmla="*/ 1741176 w 1971297"/>
              <a:gd name="connsiteY28" fmla="*/ 735808 h 1970826"/>
              <a:gd name="connsiteX29" fmla="*/ 1943264 w 1971297"/>
              <a:gd name="connsiteY29" fmla="*/ 735802 h 1970826"/>
              <a:gd name="connsiteX30" fmla="*/ 1971297 w 1971297"/>
              <a:gd name="connsiteY30" fmla="*/ 894790 h 1970826"/>
              <a:gd name="connsiteX31" fmla="*/ 1781396 w 1971297"/>
              <a:gd name="connsiteY31" fmla="*/ 963903 h 1970826"/>
              <a:gd name="connsiteX32" fmla="*/ 1780264 w 1971297"/>
              <a:gd name="connsiteY32" fmla="*/ 1014677 h 1970826"/>
              <a:gd name="connsiteX33" fmla="*/ 1969010 w 1971297"/>
              <a:gd name="connsiteY33" fmla="*/ 1087130 h 1970826"/>
              <a:gd name="connsiteX34" fmla="*/ 1940132 w 1971297"/>
              <a:gd name="connsiteY34" fmla="*/ 1244586 h 1970826"/>
              <a:gd name="connsiteX35" fmla="*/ 1738798 w 1971297"/>
              <a:gd name="connsiteY35" fmla="*/ 1241295 h 1970826"/>
              <a:gd name="connsiteX36" fmla="*/ 1725636 w 1971297"/>
              <a:gd name="connsiteY36" fmla="*/ 1280130 h 1970826"/>
              <a:gd name="connsiteX37" fmla="*/ 1880447 w 1971297"/>
              <a:gd name="connsiteY37" fmla="*/ 1410026 h 1970826"/>
              <a:gd name="connsiteX38" fmla="*/ 1799727 w 1971297"/>
              <a:gd name="connsiteY38" fmla="*/ 1549837 h 1970826"/>
              <a:gd name="connsiteX39" fmla="*/ 1609829 w 1971297"/>
              <a:gd name="connsiteY39" fmla="*/ 1480714 h 1970826"/>
              <a:gd name="connsiteX40" fmla="*/ 1579151 w 1971297"/>
              <a:gd name="connsiteY40" fmla="*/ 1512281 h 1970826"/>
              <a:gd name="connsiteX41" fmla="*/ 1677610 w 1971297"/>
              <a:gd name="connsiteY41" fmla="*/ 1689905 h 1970826"/>
              <a:gd name="connsiteX42" fmla="*/ 1554277 w 1971297"/>
              <a:gd name="connsiteY42" fmla="*/ 1791961 h 1970826"/>
              <a:gd name="connsiteX43" fmla="*/ 1402854 w 1971297"/>
              <a:gd name="connsiteY43" fmla="*/ 1660626 h 1970826"/>
              <a:gd name="connsiteX44" fmla="*/ 1363848 w 1971297"/>
              <a:gd name="connsiteY44" fmla="*/ 1687117 h 1970826"/>
              <a:gd name="connsiteX45" fmla="*/ 1398945 w 1971297"/>
              <a:gd name="connsiteY45" fmla="*/ 1886133 h 1970826"/>
              <a:gd name="connsiteX46" fmla="*/ 1247240 w 1971297"/>
              <a:gd name="connsiteY46" fmla="*/ 1941349 h 1970826"/>
              <a:gd name="connsiteX47" fmla="*/ 1146202 w 1971297"/>
              <a:gd name="connsiteY47" fmla="*/ 1766334 h 1970826"/>
              <a:gd name="connsiteX48" fmla="*/ 1100680 w 1971297"/>
              <a:gd name="connsiteY48" fmla="*/ 1773318 h 1970826"/>
              <a:gd name="connsiteX49" fmla="*/ 1062288 w 1971297"/>
              <a:gd name="connsiteY49" fmla="*/ 1970826 h 1970826"/>
              <a:gd name="connsiteX50" fmla="*/ 902210 w 1971297"/>
              <a:gd name="connsiteY50" fmla="*/ 1969728 h 1970826"/>
              <a:gd name="connsiteX51" fmla="*/ 870884 w 1971297"/>
              <a:gd name="connsiteY51" fmla="*/ 1773359 h 1970826"/>
              <a:gd name="connsiteX52" fmla="*/ 825096 w 1971297"/>
              <a:gd name="connsiteY52" fmla="*/ 1766334 h 1970826"/>
              <a:gd name="connsiteX53" fmla="*/ 724057 w 1971297"/>
              <a:gd name="connsiteY53" fmla="*/ 1941349 h 1970826"/>
              <a:gd name="connsiteX54" fmla="*/ 572352 w 1971297"/>
              <a:gd name="connsiteY54" fmla="*/ 1886133 h 1970826"/>
              <a:gd name="connsiteX55" fmla="*/ 607450 w 1971297"/>
              <a:gd name="connsiteY55" fmla="*/ 1687117 h 1970826"/>
              <a:gd name="connsiteX56" fmla="*/ 571181 w 1971297"/>
              <a:gd name="connsiteY56" fmla="*/ 1662485 h 1970826"/>
              <a:gd name="connsiteX57" fmla="*/ 421150 w 1971297"/>
              <a:gd name="connsiteY57" fmla="*/ 1792613 h 1970826"/>
              <a:gd name="connsiteX58" fmla="*/ 297817 w 1971297"/>
              <a:gd name="connsiteY58" fmla="*/ 1690557 h 1970826"/>
              <a:gd name="connsiteX59" fmla="*/ 395006 w 1971297"/>
              <a:gd name="connsiteY59" fmla="*/ 1515223 h 1970826"/>
              <a:gd name="connsiteX60" fmla="*/ 361468 w 1971297"/>
              <a:gd name="connsiteY60" fmla="*/ 1480715 h 1970826"/>
              <a:gd name="connsiteX61" fmla="*/ 171570 w 1971297"/>
              <a:gd name="connsiteY61" fmla="*/ 1549837 h 1970826"/>
              <a:gd name="connsiteX62" fmla="*/ 90850 w 1971297"/>
              <a:gd name="connsiteY62" fmla="*/ 1410026 h 1970826"/>
              <a:gd name="connsiteX63" fmla="*/ 245661 w 1971297"/>
              <a:gd name="connsiteY63" fmla="*/ 1280131 h 1970826"/>
              <a:gd name="connsiteX64" fmla="*/ 233972 w 1971297"/>
              <a:gd name="connsiteY64" fmla="*/ 1245643 h 1970826"/>
              <a:gd name="connsiteX65" fmla="*/ 31451 w 1971297"/>
              <a:gd name="connsiteY65" fmla="*/ 1248953 h 1970826"/>
              <a:gd name="connsiteX66" fmla="*/ 2573 w 1971297"/>
              <a:gd name="connsiteY66" fmla="*/ 1091497 h 1970826"/>
              <a:gd name="connsiteX67" fmla="*/ 191133 w 1971297"/>
              <a:gd name="connsiteY67" fmla="*/ 1019115 h 1970826"/>
              <a:gd name="connsiteX68" fmla="*/ 189902 w 1971297"/>
              <a:gd name="connsiteY68" fmla="*/ 963904 h 1970826"/>
              <a:gd name="connsiteX69" fmla="*/ 0 w 1971297"/>
              <a:gd name="connsiteY69" fmla="*/ 894790 h 1970826"/>
              <a:gd name="connsiteX70" fmla="*/ 28034 w 1971297"/>
              <a:gd name="connsiteY70" fmla="*/ 735802 h 1970826"/>
              <a:gd name="connsiteX71" fmla="*/ 230121 w 1971297"/>
              <a:gd name="connsiteY71" fmla="*/ 735808 h 1970826"/>
              <a:gd name="connsiteX72" fmla="*/ 240919 w 1971297"/>
              <a:gd name="connsiteY72" fmla="*/ 708079 h 1970826"/>
              <a:gd name="connsiteX73" fmla="*/ 84936 w 1971297"/>
              <a:gd name="connsiteY73" fmla="*/ 585933 h 1970826"/>
              <a:gd name="connsiteX74" fmla="*/ 161584 w 1971297"/>
              <a:gd name="connsiteY74" fmla="*/ 445393 h 1970826"/>
              <a:gd name="connsiteX75" fmla="*/ 354366 w 1971297"/>
              <a:gd name="connsiteY75" fmla="*/ 508031 h 1970826"/>
              <a:gd name="connsiteX76" fmla="*/ 390674 w 1971297"/>
              <a:gd name="connsiteY76" fmla="*/ 457722 h 1970826"/>
              <a:gd name="connsiteX77" fmla="*/ 289626 w 1971297"/>
              <a:gd name="connsiteY77" fmla="*/ 282712 h 1970826"/>
              <a:gd name="connsiteX78" fmla="*/ 413297 w 1971297"/>
              <a:gd name="connsiteY78" fmla="*/ 178940 h 1970826"/>
              <a:gd name="connsiteX79" fmla="*/ 568101 w 1971297"/>
              <a:gd name="connsiteY79" fmla="*/ 308843 h 1970826"/>
              <a:gd name="connsiteX80" fmla="*/ 611018 w 1971297"/>
              <a:gd name="connsiteY80" fmla="*/ 285324 h 1970826"/>
              <a:gd name="connsiteX81" fmla="*/ 576674 w 1971297"/>
              <a:gd name="connsiteY81" fmla="*/ 89277 h 1970826"/>
              <a:gd name="connsiteX82" fmla="*/ 727674 w 1971297"/>
              <a:gd name="connsiteY82" fmla="*/ 36123 h 1970826"/>
              <a:gd name="connsiteX83" fmla="*/ 826689 w 1971297"/>
              <a:gd name="connsiteY83" fmla="*/ 207623 h 1970826"/>
              <a:gd name="connsiteX84" fmla="*/ 869841 w 1971297"/>
              <a:gd name="connsiteY84" fmla="*/ 199018 h 1970826"/>
              <a:gd name="connsiteX85" fmla="*/ 904928 w 1971297"/>
              <a:gd name="connsiteY85" fmla="*/ 0 h 1970826"/>
              <a:gd name="connsiteX0" fmla="*/ 198126 w 1971297"/>
              <a:gd name="connsiteY0" fmla="*/ 1096370 h 1970826"/>
              <a:gd name="connsiteX1" fmla="*/ 199057 w 1971297"/>
              <a:gd name="connsiteY1" fmla="*/ 1110557 h 1970826"/>
              <a:gd name="connsiteX2" fmla="*/ 198126 w 1971297"/>
              <a:gd name="connsiteY2" fmla="*/ 1096370 h 1970826"/>
              <a:gd name="connsiteX3" fmla="*/ 1658502 w 1971297"/>
              <a:gd name="connsiteY3" fmla="*/ 565633 h 1970826"/>
              <a:gd name="connsiteX4" fmla="*/ 1664864 w 1971297"/>
              <a:gd name="connsiteY4" fmla="*/ 574448 h 1970826"/>
              <a:gd name="connsiteX5" fmla="*/ 1664611 w 1971297"/>
              <a:gd name="connsiteY5" fmla="*/ 573966 h 1970826"/>
              <a:gd name="connsiteX6" fmla="*/ 1658502 w 1971297"/>
              <a:gd name="connsiteY6" fmla="*/ 565633 h 1970826"/>
              <a:gd name="connsiteX7" fmla="*/ 985649 w 1971297"/>
              <a:gd name="connsiteY7" fmla="*/ 323553 h 1970826"/>
              <a:gd name="connsiteX8" fmla="*/ 322581 w 1971297"/>
              <a:gd name="connsiteY8" fmla="*/ 986621 h 1970826"/>
              <a:gd name="connsiteX9" fmla="*/ 985649 w 1971297"/>
              <a:gd name="connsiteY9" fmla="*/ 1649689 h 1970826"/>
              <a:gd name="connsiteX10" fmla="*/ 1648717 w 1971297"/>
              <a:gd name="connsiteY10" fmla="*/ 986621 h 1970826"/>
              <a:gd name="connsiteX11" fmla="*/ 985649 w 1971297"/>
              <a:gd name="connsiteY11" fmla="*/ 323553 h 1970826"/>
              <a:gd name="connsiteX12" fmla="*/ 904928 w 1971297"/>
              <a:gd name="connsiteY12" fmla="*/ 0 h 1970826"/>
              <a:gd name="connsiteX13" fmla="*/ 1066369 w 1971297"/>
              <a:gd name="connsiteY13" fmla="*/ 0 h 1970826"/>
              <a:gd name="connsiteX14" fmla="*/ 1101456 w 1971297"/>
              <a:gd name="connsiteY14" fmla="*/ 199018 h 1970826"/>
              <a:gd name="connsiteX15" fmla="*/ 1149113 w 1971297"/>
              <a:gd name="connsiteY15" fmla="*/ 208521 h 1970826"/>
              <a:gd name="connsiteX16" fmla="*/ 1245734 w 1971297"/>
              <a:gd name="connsiteY16" fmla="*/ 36367 h 1970826"/>
              <a:gd name="connsiteX17" fmla="*/ 1396309 w 1971297"/>
              <a:gd name="connsiteY17" fmla="*/ 90716 h 1970826"/>
              <a:gd name="connsiteX18" fmla="*/ 1364293 w 1971297"/>
              <a:gd name="connsiteY18" fmla="*/ 287523 h 1970826"/>
              <a:gd name="connsiteX19" fmla="*/ 1403197 w 1971297"/>
              <a:gd name="connsiteY19" fmla="*/ 308843 h 1970826"/>
              <a:gd name="connsiteX20" fmla="*/ 1558001 w 1971297"/>
              <a:gd name="connsiteY20" fmla="*/ 178940 h 1970826"/>
              <a:gd name="connsiteX21" fmla="*/ 1681671 w 1971297"/>
              <a:gd name="connsiteY21" fmla="*/ 282712 h 1970826"/>
              <a:gd name="connsiteX22" fmla="*/ 1580623 w 1971297"/>
              <a:gd name="connsiteY22" fmla="*/ 457722 h 1970826"/>
              <a:gd name="connsiteX23" fmla="*/ 1610608 w 1971297"/>
              <a:gd name="connsiteY23" fmla="*/ 499270 h 1970826"/>
              <a:gd name="connsiteX24" fmla="*/ 1802874 w 1971297"/>
              <a:gd name="connsiteY24" fmla="*/ 433067 h 1970826"/>
              <a:gd name="connsiteX25" fmla="*/ 1881963 w 1971297"/>
              <a:gd name="connsiteY25" fmla="*/ 572248 h 1970826"/>
              <a:gd name="connsiteX26" fmla="*/ 1726590 w 1971297"/>
              <a:gd name="connsiteY26" fmla="*/ 698353 h 1970826"/>
              <a:gd name="connsiteX27" fmla="*/ 1741176 w 1971297"/>
              <a:gd name="connsiteY27" fmla="*/ 735808 h 1970826"/>
              <a:gd name="connsiteX28" fmla="*/ 1943264 w 1971297"/>
              <a:gd name="connsiteY28" fmla="*/ 735802 h 1970826"/>
              <a:gd name="connsiteX29" fmla="*/ 1971297 w 1971297"/>
              <a:gd name="connsiteY29" fmla="*/ 894790 h 1970826"/>
              <a:gd name="connsiteX30" fmla="*/ 1781396 w 1971297"/>
              <a:gd name="connsiteY30" fmla="*/ 963903 h 1970826"/>
              <a:gd name="connsiteX31" fmla="*/ 1780264 w 1971297"/>
              <a:gd name="connsiteY31" fmla="*/ 1014677 h 1970826"/>
              <a:gd name="connsiteX32" fmla="*/ 1969010 w 1971297"/>
              <a:gd name="connsiteY32" fmla="*/ 1087130 h 1970826"/>
              <a:gd name="connsiteX33" fmla="*/ 1940132 w 1971297"/>
              <a:gd name="connsiteY33" fmla="*/ 1244586 h 1970826"/>
              <a:gd name="connsiteX34" fmla="*/ 1738798 w 1971297"/>
              <a:gd name="connsiteY34" fmla="*/ 1241295 h 1970826"/>
              <a:gd name="connsiteX35" fmla="*/ 1725636 w 1971297"/>
              <a:gd name="connsiteY35" fmla="*/ 1280130 h 1970826"/>
              <a:gd name="connsiteX36" fmla="*/ 1880447 w 1971297"/>
              <a:gd name="connsiteY36" fmla="*/ 1410026 h 1970826"/>
              <a:gd name="connsiteX37" fmla="*/ 1799727 w 1971297"/>
              <a:gd name="connsiteY37" fmla="*/ 1549837 h 1970826"/>
              <a:gd name="connsiteX38" fmla="*/ 1609829 w 1971297"/>
              <a:gd name="connsiteY38" fmla="*/ 1480714 h 1970826"/>
              <a:gd name="connsiteX39" fmla="*/ 1579151 w 1971297"/>
              <a:gd name="connsiteY39" fmla="*/ 1512281 h 1970826"/>
              <a:gd name="connsiteX40" fmla="*/ 1677610 w 1971297"/>
              <a:gd name="connsiteY40" fmla="*/ 1689905 h 1970826"/>
              <a:gd name="connsiteX41" fmla="*/ 1554277 w 1971297"/>
              <a:gd name="connsiteY41" fmla="*/ 1791961 h 1970826"/>
              <a:gd name="connsiteX42" fmla="*/ 1402854 w 1971297"/>
              <a:gd name="connsiteY42" fmla="*/ 1660626 h 1970826"/>
              <a:gd name="connsiteX43" fmla="*/ 1363848 w 1971297"/>
              <a:gd name="connsiteY43" fmla="*/ 1687117 h 1970826"/>
              <a:gd name="connsiteX44" fmla="*/ 1398945 w 1971297"/>
              <a:gd name="connsiteY44" fmla="*/ 1886133 h 1970826"/>
              <a:gd name="connsiteX45" fmla="*/ 1247240 w 1971297"/>
              <a:gd name="connsiteY45" fmla="*/ 1941349 h 1970826"/>
              <a:gd name="connsiteX46" fmla="*/ 1146202 w 1971297"/>
              <a:gd name="connsiteY46" fmla="*/ 1766334 h 1970826"/>
              <a:gd name="connsiteX47" fmla="*/ 1100680 w 1971297"/>
              <a:gd name="connsiteY47" fmla="*/ 1773318 h 1970826"/>
              <a:gd name="connsiteX48" fmla="*/ 1062288 w 1971297"/>
              <a:gd name="connsiteY48" fmla="*/ 1970826 h 1970826"/>
              <a:gd name="connsiteX49" fmla="*/ 902210 w 1971297"/>
              <a:gd name="connsiteY49" fmla="*/ 1969728 h 1970826"/>
              <a:gd name="connsiteX50" fmla="*/ 870884 w 1971297"/>
              <a:gd name="connsiteY50" fmla="*/ 1773359 h 1970826"/>
              <a:gd name="connsiteX51" fmla="*/ 825096 w 1971297"/>
              <a:gd name="connsiteY51" fmla="*/ 1766334 h 1970826"/>
              <a:gd name="connsiteX52" fmla="*/ 724057 w 1971297"/>
              <a:gd name="connsiteY52" fmla="*/ 1941349 h 1970826"/>
              <a:gd name="connsiteX53" fmla="*/ 572352 w 1971297"/>
              <a:gd name="connsiteY53" fmla="*/ 1886133 h 1970826"/>
              <a:gd name="connsiteX54" fmla="*/ 607450 w 1971297"/>
              <a:gd name="connsiteY54" fmla="*/ 1687117 h 1970826"/>
              <a:gd name="connsiteX55" fmla="*/ 571181 w 1971297"/>
              <a:gd name="connsiteY55" fmla="*/ 1662485 h 1970826"/>
              <a:gd name="connsiteX56" fmla="*/ 421150 w 1971297"/>
              <a:gd name="connsiteY56" fmla="*/ 1792613 h 1970826"/>
              <a:gd name="connsiteX57" fmla="*/ 297817 w 1971297"/>
              <a:gd name="connsiteY57" fmla="*/ 1690557 h 1970826"/>
              <a:gd name="connsiteX58" fmla="*/ 395006 w 1971297"/>
              <a:gd name="connsiteY58" fmla="*/ 1515223 h 1970826"/>
              <a:gd name="connsiteX59" fmla="*/ 361468 w 1971297"/>
              <a:gd name="connsiteY59" fmla="*/ 1480715 h 1970826"/>
              <a:gd name="connsiteX60" fmla="*/ 171570 w 1971297"/>
              <a:gd name="connsiteY60" fmla="*/ 1549837 h 1970826"/>
              <a:gd name="connsiteX61" fmla="*/ 90850 w 1971297"/>
              <a:gd name="connsiteY61" fmla="*/ 1410026 h 1970826"/>
              <a:gd name="connsiteX62" fmla="*/ 245661 w 1971297"/>
              <a:gd name="connsiteY62" fmla="*/ 1280131 h 1970826"/>
              <a:gd name="connsiteX63" fmla="*/ 233972 w 1971297"/>
              <a:gd name="connsiteY63" fmla="*/ 1245643 h 1970826"/>
              <a:gd name="connsiteX64" fmla="*/ 31451 w 1971297"/>
              <a:gd name="connsiteY64" fmla="*/ 1248953 h 1970826"/>
              <a:gd name="connsiteX65" fmla="*/ 2573 w 1971297"/>
              <a:gd name="connsiteY65" fmla="*/ 1091497 h 1970826"/>
              <a:gd name="connsiteX66" fmla="*/ 191133 w 1971297"/>
              <a:gd name="connsiteY66" fmla="*/ 1019115 h 1970826"/>
              <a:gd name="connsiteX67" fmla="*/ 189902 w 1971297"/>
              <a:gd name="connsiteY67" fmla="*/ 963904 h 1970826"/>
              <a:gd name="connsiteX68" fmla="*/ 0 w 1971297"/>
              <a:gd name="connsiteY68" fmla="*/ 894790 h 1970826"/>
              <a:gd name="connsiteX69" fmla="*/ 28034 w 1971297"/>
              <a:gd name="connsiteY69" fmla="*/ 735802 h 1970826"/>
              <a:gd name="connsiteX70" fmla="*/ 230121 w 1971297"/>
              <a:gd name="connsiteY70" fmla="*/ 735808 h 1970826"/>
              <a:gd name="connsiteX71" fmla="*/ 240919 w 1971297"/>
              <a:gd name="connsiteY71" fmla="*/ 708079 h 1970826"/>
              <a:gd name="connsiteX72" fmla="*/ 84936 w 1971297"/>
              <a:gd name="connsiteY72" fmla="*/ 585933 h 1970826"/>
              <a:gd name="connsiteX73" fmla="*/ 161584 w 1971297"/>
              <a:gd name="connsiteY73" fmla="*/ 445393 h 1970826"/>
              <a:gd name="connsiteX74" fmla="*/ 354366 w 1971297"/>
              <a:gd name="connsiteY74" fmla="*/ 508031 h 1970826"/>
              <a:gd name="connsiteX75" fmla="*/ 390674 w 1971297"/>
              <a:gd name="connsiteY75" fmla="*/ 457722 h 1970826"/>
              <a:gd name="connsiteX76" fmla="*/ 289626 w 1971297"/>
              <a:gd name="connsiteY76" fmla="*/ 282712 h 1970826"/>
              <a:gd name="connsiteX77" fmla="*/ 413297 w 1971297"/>
              <a:gd name="connsiteY77" fmla="*/ 178940 h 1970826"/>
              <a:gd name="connsiteX78" fmla="*/ 568101 w 1971297"/>
              <a:gd name="connsiteY78" fmla="*/ 308843 h 1970826"/>
              <a:gd name="connsiteX79" fmla="*/ 611018 w 1971297"/>
              <a:gd name="connsiteY79" fmla="*/ 285324 h 1970826"/>
              <a:gd name="connsiteX80" fmla="*/ 576674 w 1971297"/>
              <a:gd name="connsiteY80" fmla="*/ 89277 h 1970826"/>
              <a:gd name="connsiteX81" fmla="*/ 727674 w 1971297"/>
              <a:gd name="connsiteY81" fmla="*/ 36123 h 1970826"/>
              <a:gd name="connsiteX82" fmla="*/ 826689 w 1971297"/>
              <a:gd name="connsiteY82" fmla="*/ 207623 h 1970826"/>
              <a:gd name="connsiteX83" fmla="*/ 869841 w 1971297"/>
              <a:gd name="connsiteY83" fmla="*/ 199018 h 1970826"/>
              <a:gd name="connsiteX84" fmla="*/ 904928 w 1971297"/>
              <a:gd name="connsiteY84" fmla="*/ 0 h 1970826"/>
              <a:gd name="connsiteX0" fmla="*/ 1658502 w 1971297"/>
              <a:gd name="connsiteY0" fmla="*/ 565633 h 1970826"/>
              <a:gd name="connsiteX1" fmla="*/ 1664864 w 1971297"/>
              <a:gd name="connsiteY1" fmla="*/ 574448 h 1970826"/>
              <a:gd name="connsiteX2" fmla="*/ 1664611 w 1971297"/>
              <a:gd name="connsiteY2" fmla="*/ 573966 h 1970826"/>
              <a:gd name="connsiteX3" fmla="*/ 1658502 w 1971297"/>
              <a:gd name="connsiteY3" fmla="*/ 565633 h 1970826"/>
              <a:gd name="connsiteX4" fmla="*/ 985649 w 1971297"/>
              <a:gd name="connsiteY4" fmla="*/ 323553 h 1970826"/>
              <a:gd name="connsiteX5" fmla="*/ 322581 w 1971297"/>
              <a:gd name="connsiteY5" fmla="*/ 986621 h 1970826"/>
              <a:gd name="connsiteX6" fmla="*/ 985649 w 1971297"/>
              <a:gd name="connsiteY6" fmla="*/ 1649689 h 1970826"/>
              <a:gd name="connsiteX7" fmla="*/ 1648717 w 1971297"/>
              <a:gd name="connsiteY7" fmla="*/ 986621 h 1970826"/>
              <a:gd name="connsiteX8" fmla="*/ 985649 w 1971297"/>
              <a:gd name="connsiteY8" fmla="*/ 323553 h 1970826"/>
              <a:gd name="connsiteX9" fmla="*/ 904928 w 1971297"/>
              <a:gd name="connsiteY9" fmla="*/ 0 h 1970826"/>
              <a:gd name="connsiteX10" fmla="*/ 1066369 w 1971297"/>
              <a:gd name="connsiteY10" fmla="*/ 0 h 1970826"/>
              <a:gd name="connsiteX11" fmla="*/ 1101456 w 1971297"/>
              <a:gd name="connsiteY11" fmla="*/ 199018 h 1970826"/>
              <a:gd name="connsiteX12" fmla="*/ 1149113 w 1971297"/>
              <a:gd name="connsiteY12" fmla="*/ 208521 h 1970826"/>
              <a:gd name="connsiteX13" fmla="*/ 1245734 w 1971297"/>
              <a:gd name="connsiteY13" fmla="*/ 36367 h 1970826"/>
              <a:gd name="connsiteX14" fmla="*/ 1396309 w 1971297"/>
              <a:gd name="connsiteY14" fmla="*/ 90716 h 1970826"/>
              <a:gd name="connsiteX15" fmla="*/ 1364293 w 1971297"/>
              <a:gd name="connsiteY15" fmla="*/ 287523 h 1970826"/>
              <a:gd name="connsiteX16" fmla="*/ 1403197 w 1971297"/>
              <a:gd name="connsiteY16" fmla="*/ 308843 h 1970826"/>
              <a:gd name="connsiteX17" fmla="*/ 1558001 w 1971297"/>
              <a:gd name="connsiteY17" fmla="*/ 178940 h 1970826"/>
              <a:gd name="connsiteX18" fmla="*/ 1681671 w 1971297"/>
              <a:gd name="connsiteY18" fmla="*/ 282712 h 1970826"/>
              <a:gd name="connsiteX19" fmla="*/ 1580623 w 1971297"/>
              <a:gd name="connsiteY19" fmla="*/ 457722 h 1970826"/>
              <a:gd name="connsiteX20" fmla="*/ 1610608 w 1971297"/>
              <a:gd name="connsiteY20" fmla="*/ 499270 h 1970826"/>
              <a:gd name="connsiteX21" fmla="*/ 1802874 w 1971297"/>
              <a:gd name="connsiteY21" fmla="*/ 433067 h 1970826"/>
              <a:gd name="connsiteX22" fmla="*/ 1881963 w 1971297"/>
              <a:gd name="connsiteY22" fmla="*/ 572248 h 1970826"/>
              <a:gd name="connsiteX23" fmla="*/ 1726590 w 1971297"/>
              <a:gd name="connsiteY23" fmla="*/ 698353 h 1970826"/>
              <a:gd name="connsiteX24" fmla="*/ 1741176 w 1971297"/>
              <a:gd name="connsiteY24" fmla="*/ 735808 h 1970826"/>
              <a:gd name="connsiteX25" fmla="*/ 1943264 w 1971297"/>
              <a:gd name="connsiteY25" fmla="*/ 735802 h 1970826"/>
              <a:gd name="connsiteX26" fmla="*/ 1971297 w 1971297"/>
              <a:gd name="connsiteY26" fmla="*/ 894790 h 1970826"/>
              <a:gd name="connsiteX27" fmla="*/ 1781396 w 1971297"/>
              <a:gd name="connsiteY27" fmla="*/ 963903 h 1970826"/>
              <a:gd name="connsiteX28" fmla="*/ 1780264 w 1971297"/>
              <a:gd name="connsiteY28" fmla="*/ 1014677 h 1970826"/>
              <a:gd name="connsiteX29" fmla="*/ 1969010 w 1971297"/>
              <a:gd name="connsiteY29" fmla="*/ 1087130 h 1970826"/>
              <a:gd name="connsiteX30" fmla="*/ 1940132 w 1971297"/>
              <a:gd name="connsiteY30" fmla="*/ 1244586 h 1970826"/>
              <a:gd name="connsiteX31" fmla="*/ 1738798 w 1971297"/>
              <a:gd name="connsiteY31" fmla="*/ 1241295 h 1970826"/>
              <a:gd name="connsiteX32" fmla="*/ 1725636 w 1971297"/>
              <a:gd name="connsiteY32" fmla="*/ 1280130 h 1970826"/>
              <a:gd name="connsiteX33" fmla="*/ 1880447 w 1971297"/>
              <a:gd name="connsiteY33" fmla="*/ 1410026 h 1970826"/>
              <a:gd name="connsiteX34" fmla="*/ 1799727 w 1971297"/>
              <a:gd name="connsiteY34" fmla="*/ 1549837 h 1970826"/>
              <a:gd name="connsiteX35" fmla="*/ 1609829 w 1971297"/>
              <a:gd name="connsiteY35" fmla="*/ 1480714 h 1970826"/>
              <a:gd name="connsiteX36" fmla="*/ 1579151 w 1971297"/>
              <a:gd name="connsiteY36" fmla="*/ 1512281 h 1970826"/>
              <a:gd name="connsiteX37" fmla="*/ 1677610 w 1971297"/>
              <a:gd name="connsiteY37" fmla="*/ 1689905 h 1970826"/>
              <a:gd name="connsiteX38" fmla="*/ 1554277 w 1971297"/>
              <a:gd name="connsiteY38" fmla="*/ 1791961 h 1970826"/>
              <a:gd name="connsiteX39" fmla="*/ 1402854 w 1971297"/>
              <a:gd name="connsiteY39" fmla="*/ 1660626 h 1970826"/>
              <a:gd name="connsiteX40" fmla="*/ 1363848 w 1971297"/>
              <a:gd name="connsiteY40" fmla="*/ 1687117 h 1970826"/>
              <a:gd name="connsiteX41" fmla="*/ 1398945 w 1971297"/>
              <a:gd name="connsiteY41" fmla="*/ 1886133 h 1970826"/>
              <a:gd name="connsiteX42" fmla="*/ 1247240 w 1971297"/>
              <a:gd name="connsiteY42" fmla="*/ 1941349 h 1970826"/>
              <a:gd name="connsiteX43" fmla="*/ 1146202 w 1971297"/>
              <a:gd name="connsiteY43" fmla="*/ 1766334 h 1970826"/>
              <a:gd name="connsiteX44" fmla="*/ 1100680 w 1971297"/>
              <a:gd name="connsiteY44" fmla="*/ 1773318 h 1970826"/>
              <a:gd name="connsiteX45" fmla="*/ 1062288 w 1971297"/>
              <a:gd name="connsiteY45" fmla="*/ 1970826 h 1970826"/>
              <a:gd name="connsiteX46" fmla="*/ 902210 w 1971297"/>
              <a:gd name="connsiteY46" fmla="*/ 1969728 h 1970826"/>
              <a:gd name="connsiteX47" fmla="*/ 870884 w 1971297"/>
              <a:gd name="connsiteY47" fmla="*/ 1773359 h 1970826"/>
              <a:gd name="connsiteX48" fmla="*/ 825096 w 1971297"/>
              <a:gd name="connsiteY48" fmla="*/ 1766334 h 1970826"/>
              <a:gd name="connsiteX49" fmla="*/ 724057 w 1971297"/>
              <a:gd name="connsiteY49" fmla="*/ 1941349 h 1970826"/>
              <a:gd name="connsiteX50" fmla="*/ 572352 w 1971297"/>
              <a:gd name="connsiteY50" fmla="*/ 1886133 h 1970826"/>
              <a:gd name="connsiteX51" fmla="*/ 607450 w 1971297"/>
              <a:gd name="connsiteY51" fmla="*/ 1687117 h 1970826"/>
              <a:gd name="connsiteX52" fmla="*/ 571181 w 1971297"/>
              <a:gd name="connsiteY52" fmla="*/ 1662485 h 1970826"/>
              <a:gd name="connsiteX53" fmla="*/ 421150 w 1971297"/>
              <a:gd name="connsiteY53" fmla="*/ 1792613 h 1970826"/>
              <a:gd name="connsiteX54" fmla="*/ 297817 w 1971297"/>
              <a:gd name="connsiteY54" fmla="*/ 1690557 h 1970826"/>
              <a:gd name="connsiteX55" fmla="*/ 395006 w 1971297"/>
              <a:gd name="connsiteY55" fmla="*/ 1515223 h 1970826"/>
              <a:gd name="connsiteX56" fmla="*/ 361468 w 1971297"/>
              <a:gd name="connsiteY56" fmla="*/ 1480715 h 1970826"/>
              <a:gd name="connsiteX57" fmla="*/ 171570 w 1971297"/>
              <a:gd name="connsiteY57" fmla="*/ 1549837 h 1970826"/>
              <a:gd name="connsiteX58" fmla="*/ 90850 w 1971297"/>
              <a:gd name="connsiteY58" fmla="*/ 1410026 h 1970826"/>
              <a:gd name="connsiteX59" fmla="*/ 245661 w 1971297"/>
              <a:gd name="connsiteY59" fmla="*/ 1280131 h 1970826"/>
              <a:gd name="connsiteX60" fmla="*/ 233972 w 1971297"/>
              <a:gd name="connsiteY60" fmla="*/ 1245643 h 1970826"/>
              <a:gd name="connsiteX61" fmla="*/ 31451 w 1971297"/>
              <a:gd name="connsiteY61" fmla="*/ 1248953 h 1970826"/>
              <a:gd name="connsiteX62" fmla="*/ 2573 w 1971297"/>
              <a:gd name="connsiteY62" fmla="*/ 1091497 h 1970826"/>
              <a:gd name="connsiteX63" fmla="*/ 191133 w 1971297"/>
              <a:gd name="connsiteY63" fmla="*/ 1019115 h 1970826"/>
              <a:gd name="connsiteX64" fmla="*/ 189902 w 1971297"/>
              <a:gd name="connsiteY64" fmla="*/ 963904 h 1970826"/>
              <a:gd name="connsiteX65" fmla="*/ 0 w 1971297"/>
              <a:gd name="connsiteY65" fmla="*/ 894790 h 1970826"/>
              <a:gd name="connsiteX66" fmla="*/ 28034 w 1971297"/>
              <a:gd name="connsiteY66" fmla="*/ 735802 h 1970826"/>
              <a:gd name="connsiteX67" fmla="*/ 230121 w 1971297"/>
              <a:gd name="connsiteY67" fmla="*/ 735808 h 1970826"/>
              <a:gd name="connsiteX68" fmla="*/ 240919 w 1971297"/>
              <a:gd name="connsiteY68" fmla="*/ 708079 h 1970826"/>
              <a:gd name="connsiteX69" fmla="*/ 84936 w 1971297"/>
              <a:gd name="connsiteY69" fmla="*/ 585933 h 1970826"/>
              <a:gd name="connsiteX70" fmla="*/ 161584 w 1971297"/>
              <a:gd name="connsiteY70" fmla="*/ 445393 h 1970826"/>
              <a:gd name="connsiteX71" fmla="*/ 354366 w 1971297"/>
              <a:gd name="connsiteY71" fmla="*/ 508031 h 1970826"/>
              <a:gd name="connsiteX72" fmla="*/ 390674 w 1971297"/>
              <a:gd name="connsiteY72" fmla="*/ 457722 h 1970826"/>
              <a:gd name="connsiteX73" fmla="*/ 289626 w 1971297"/>
              <a:gd name="connsiteY73" fmla="*/ 282712 h 1970826"/>
              <a:gd name="connsiteX74" fmla="*/ 413297 w 1971297"/>
              <a:gd name="connsiteY74" fmla="*/ 178940 h 1970826"/>
              <a:gd name="connsiteX75" fmla="*/ 568101 w 1971297"/>
              <a:gd name="connsiteY75" fmla="*/ 308843 h 1970826"/>
              <a:gd name="connsiteX76" fmla="*/ 611018 w 1971297"/>
              <a:gd name="connsiteY76" fmla="*/ 285324 h 1970826"/>
              <a:gd name="connsiteX77" fmla="*/ 576674 w 1971297"/>
              <a:gd name="connsiteY77" fmla="*/ 89277 h 1970826"/>
              <a:gd name="connsiteX78" fmla="*/ 727674 w 1971297"/>
              <a:gd name="connsiteY78" fmla="*/ 36123 h 1970826"/>
              <a:gd name="connsiteX79" fmla="*/ 826689 w 1971297"/>
              <a:gd name="connsiteY79" fmla="*/ 207623 h 1970826"/>
              <a:gd name="connsiteX80" fmla="*/ 869841 w 1971297"/>
              <a:gd name="connsiteY80" fmla="*/ 199018 h 1970826"/>
              <a:gd name="connsiteX81" fmla="*/ 904928 w 1971297"/>
              <a:gd name="connsiteY81" fmla="*/ 0 h 1970826"/>
              <a:gd name="connsiteX0" fmla="*/ 1664611 w 1971297"/>
              <a:gd name="connsiteY0" fmla="*/ 573966 h 1970826"/>
              <a:gd name="connsiteX1" fmla="*/ 1664864 w 1971297"/>
              <a:gd name="connsiteY1" fmla="*/ 574448 h 1970826"/>
              <a:gd name="connsiteX2" fmla="*/ 1664611 w 1971297"/>
              <a:gd name="connsiteY2" fmla="*/ 573966 h 1970826"/>
              <a:gd name="connsiteX3" fmla="*/ 985649 w 1971297"/>
              <a:gd name="connsiteY3" fmla="*/ 323553 h 1970826"/>
              <a:gd name="connsiteX4" fmla="*/ 322581 w 1971297"/>
              <a:gd name="connsiteY4" fmla="*/ 986621 h 1970826"/>
              <a:gd name="connsiteX5" fmla="*/ 985649 w 1971297"/>
              <a:gd name="connsiteY5" fmla="*/ 1649689 h 1970826"/>
              <a:gd name="connsiteX6" fmla="*/ 1648717 w 1971297"/>
              <a:gd name="connsiteY6" fmla="*/ 986621 h 1970826"/>
              <a:gd name="connsiteX7" fmla="*/ 985649 w 1971297"/>
              <a:gd name="connsiteY7" fmla="*/ 323553 h 1970826"/>
              <a:gd name="connsiteX8" fmla="*/ 904928 w 1971297"/>
              <a:gd name="connsiteY8" fmla="*/ 0 h 1970826"/>
              <a:gd name="connsiteX9" fmla="*/ 1066369 w 1971297"/>
              <a:gd name="connsiteY9" fmla="*/ 0 h 1970826"/>
              <a:gd name="connsiteX10" fmla="*/ 1101456 w 1971297"/>
              <a:gd name="connsiteY10" fmla="*/ 199018 h 1970826"/>
              <a:gd name="connsiteX11" fmla="*/ 1149113 w 1971297"/>
              <a:gd name="connsiteY11" fmla="*/ 208521 h 1970826"/>
              <a:gd name="connsiteX12" fmla="*/ 1245734 w 1971297"/>
              <a:gd name="connsiteY12" fmla="*/ 36367 h 1970826"/>
              <a:gd name="connsiteX13" fmla="*/ 1396309 w 1971297"/>
              <a:gd name="connsiteY13" fmla="*/ 90716 h 1970826"/>
              <a:gd name="connsiteX14" fmla="*/ 1364293 w 1971297"/>
              <a:gd name="connsiteY14" fmla="*/ 287523 h 1970826"/>
              <a:gd name="connsiteX15" fmla="*/ 1403197 w 1971297"/>
              <a:gd name="connsiteY15" fmla="*/ 308843 h 1970826"/>
              <a:gd name="connsiteX16" fmla="*/ 1558001 w 1971297"/>
              <a:gd name="connsiteY16" fmla="*/ 178940 h 1970826"/>
              <a:gd name="connsiteX17" fmla="*/ 1681671 w 1971297"/>
              <a:gd name="connsiteY17" fmla="*/ 282712 h 1970826"/>
              <a:gd name="connsiteX18" fmla="*/ 1580623 w 1971297"/>
              <a:gd name="connsiteY18" fmla="*/ 457722 h 1970826"/>
              <a:gd name="connsiteX19" fmla="*/ 1610608 w 1971297"/>
              <a:gd name="connsiteY19" fmla="*/ 499270 h 1970826"/>
              <a:gd name="connsiteX20" fmla="*/ 1802874 w 1971297"/>
              <a:gd name="connsiteY20" fmla="*/ 433067 h 1970826"/>
              <a:gd name="connsiteX21" fmla="*/ 1881963 w 1971297"/>
              <a:gd name="connsiteY21" fmla="*/ 572248 h 1970826"/>
              <a:gd name="connsiteX22" fmla="*/ 1726590 w 1971297"/>
              <a:gd name="connsiteY22" fmla="*/ 698353 h 1970826"/>
              <a:gd name="connsiteX23" fmla="*/ 1741176 w 1971297"/>
              <a:gd name="connsiteY23" fmla="*/ 735808 h 1970826"/>
              <a:gd name="connsiteX24" fmla="*/ 1943264 w 1971297"/>
              <a:gd name="connsiteY24" fmla="*/ 735802 h 1970826"/>
              <a:gd name="connsiteX25" fmla="*/ 1971297 w 1971297"/>
              <a:gd name="connsiteY25" fmla="*/ 894790 h 1970826"/>
              <a:gd name="connsiteX26" fmla="*/ 1781396 w 1971297"/>
              <a:gd name="connsiteY26" fmla="*/ 963903 h 1970826"/>
              <a:gd name="connsiteX27" fmla="*/ 1780264 w 1971297"/>
              <a:gd name="connsiteY27" fmla="*/ 1014677 h 1970826"/>
              <a:gd name="connsiteX28" fmla="*/ 1969010 w 1971297"/>
              <a:gd name="connsiteY28" fmla="*/ 1087130 h 1970826"/>
              <a:gd name="connsiteX29" fmla="*/ 1940132 w 1971297"/>
              <a:gd name="connsiteY29" fmla="*/ 1244586 h 1970826"/>
              <a:gd name="connsiteX30" fmla="*/ 1738798 w 1971297"/>
              <a:gd name="connsiteY30" fmla="*/ 1241295 h 1970826"/>
              <a:gd name="connsiteX31" fmla="*/ 1725636 w 1971297"/>
              <a:gd name="connsiteY31" fmla="*/ 1280130 h 1970826"/>
              <a:gd name="connsiteX32" fmla="*/ 1880447 w 1971297"/>
              <a:gd name="connsiteY32" fmla="*/ 1410026 h 1970826"/>
              <a:gd name="connsiteX33" fmla="*/ 1799727 w 1971297"/>
              <a:gd name="connsiteY33" fmla="*/ 1549837 h 1970826"/>
              <a:gd name="connsiteX34" fmla="*/ 1609829 w 1971297"/>
              <a:gd name="connsiteY34" fmla="*/ 1480714 h 1970826"/>
              <a:gd name="connsiteX35" fmla="*/ 1579151 w 1971297"/>
              <a:gd name="connsiteY35" fmla="*/ 1512281 h 1970826"/>
              <a:gd name="connsiteX36" fmla="*/ 1677610 w 1971297"/>
              <a:gd name="connsiteY36" fmla="*/ 1689905 h 1970826"/>
              <a:gd name="connsiteX37" fmla="*/ 1554277 w 1971297"/>
              <a:gd name="connsiteY37" fmla="*/ 1791961 h 1970826"/>
              <a:gd name="connsiteX38" fmla="*/ 1402854 w 1971297"/>
              <a:gd name="connsiteY38" fmla="*/ 1660626 h 1970826"/>
              <a:gd name="connsiteX39" fmla="*/ 1363848 w 1971297"/>
              <a:gd name="connsiteY39" fmla="*/ 1687117 h 1970826"/>
              <a:gd name="connsiteX40" fmla="*/ 1398945 w 1971297"/>
              <a:gd name="connsiteY40" fmla="*/ 1886133 h 1970826"/>
              <a:gd name="connsiteX41" fmla="*/ 1247240 w 1971297"/>
              <a:gd name="connsiteY41" fmla="*/ 1941349 h 1970826"/>
              <a:gd name="connsiteX42" fmla="*/ 1146202 w 1971297"/>
              <a:gd name="connsiteY42" fmla="*/ 1766334 h 1970826"/>
              <a:gd name="connsiteX43" fmla="*/ 1100680 w 1971297"/>
              <a:gd name="connsiteY43" fmla="*/ 1773318 h 1970826"/>
              <a:gd name="connsiteX44" fmla="*/ 1062288 w 1971297"/>
              <a:gd name="connsiteY44" fmla="*/ 1970826 h 1970826"/>
              <a:gd name="connsiteX45" fmla="*/ 902210 w 1971297"/>
              <a:gd name="connsiteY45" fmla="*/ 1969728 h 1970826"/>
              <a:gd name="connsiteX46" fmla="*/ 870884 w 1971297"/>
              <a:gd name="connsiteY46" fmla="*/ 1773359 h 1970826"/>
              <a:gd name="connsiteX47" fmla="*/ 825096 w 1971297"/>
              <a:gd name="connsiteY47" fmla="*/ 1766334 h 1970826"/>
              <a:gd name="connsiteX48" fmla="*/ 724057 w 1971297"/>
              <a:gd name="connsiteY48" fmla="*/ 1941349 h 1970826"/>
              <a:gd name="connsiteX49" fmla="*/ 572352 w 1971297"/>
              <a:gd name="connsiteY49" fmla="*/ 1886133 h 1970826"/>
              <a:gd name="connsiteX50" fmla="*/ 607450 w 1971297"/>
              <a:gd name="connsiteY50" fmla="*/ 1687117 h 1970826"/>
              <a:gd name="connsiteX51" fmla="*/ 571181 w 1971297"/>
              <a:gd name="connsiteY51" fmla="*/ 1662485 h 1970826"/>
              <a:gd name="connsiteX52" fmla="*/ 421150 w 1971297"/>
              <a:gd name="connsiteY52" fmla="*/ 1792613 h 1970826"/>
              <a:gd name="connsiteX53" fmla="*/ 297817 w 1971297"/>
              <a:gd name="connsiteY53" fmla="*/ 1690557 h 1970826"/>
              <a:gd name="connsiteX54" fmla="*/ 395006 w 1971297"/>
              <a:gd name="connsiteY54" fmla="*/ 1515223 h 1970826"/>
              <a:gd name="connsiteX55" fmla="*/ 361468 w 1971297"/>
              <a:gd name="connsiteY55" fmla="*/ 1480715 h 1970826"/>
              <a:gd name="connsiteX56" fmla="*/ 171570 w 1971297"/>
              <a:gd name="connsiteY56" fmla="*/ 1549837 h 1970826"/>
              <a:gd name="connsiteX57" fmla="*/ 90850 w 1971297"/>
              <a:gd name="connsiteY57" fmla="*/ 1410026 h 1970826"/>
              <a:gd name="connsiteX58" fmla="*/ 245661 w 1971297"/>
              <a:gd name="connsiteY58" fmla="*/ 1280131 h 1970826"/>
              <a:gd name="connsiteX59" fmla="*/ 233972 w 1971297"/>
              <a:gd name="connsiteY59" fmla="*/ 1245643 h 1970826"/>
              <a:gd name="connsiteX60" fmla="*/ 31451 w 1971297"/>
              <a:gd name="connsiteY60" fmla="*/ 1248953 h 1970826"/>
              <a:gd name="connsiteX61" fmla="*/ 2573 w 1971297"/>
              <a:gd name="connsiteY61" fmla="*/ 1091497 h 1970826"/>
              <a:gd name="connsiteX62" fmla="*/ 191133 w 1971297"/>
              <a:gd name="connsiteY62" fmla="*/ 1019115 h 1970826"/>
              <a:gd name="connsiteX63" fmla="*/ 189902 w 1971297"/>
              <a:gd name="connsiteY63" fmla="*/ 963904 h 1970826"/>
              <a:gd name="connsiteX64" fmla="*/ 0 w 1971297"/>
              <a:gd name="connsiteY64" fmla="*/ 894790 h 1970826"/>
              <a:gd name="connsiteX65" fmla="*/ 28034 w 1971297"/>
              <a:gd name="connsiteY65" fmla="*/ 735802 h 1970826"/>
              <a:gd name="connsiteX66" fmla="*/ 230121 w 1971297"/>
              <a:gd name="connsiteY66" fmla="*/ 735808 h 1970826"/>
              <a:gd name="connsiteX67" fmla="*/ 240919 w 1971297"/>
              <a:gd name="connsiteY67" fmla="*/ 708079 h 1970826"/>
              <a:gd name="connsiteX68" fmla="*/ 84936 w 1971297"/>
              <a:gd name="connsiteY68" fmla="*/ 585933 h 1970826"/>
              <a:gd name="connsiteX69" fmla="*/ 161584 w 1971297"/>
              <a:gd name="connsiteY69" fmla="*/ 445393 h 1970826"/>
              <a:gd name="connsiteX70" fmla="*/ 354366 w 1971297"/>
              <a:gd name="connsiteY70" fmla="*/ 508031 h 1970826"/>
              <a:gd name="connsiteX71" fmla="*/ 390674 w 1971297"/>
              <a:gd name="connsiteY71" fmla="*/ 457722 h 1970826"/>
              <a:gd name="connsiteX72" fmla="*/ 289626 w 1971297"/>
              <a:gd name="connsiteY72" fmla="*/ 282712 h 1970826"/>
              <a:gd name="connsiteX73" fmla="*/ 413297 w 1971297"/>
              <a:gd name="connsiteY73" fmla="*/ 178940 h 1970826"/>
              <a:gd name="connsiteX74" fmla="*/ 568101 w 1971297"/>
              <a:gd name="connsiteY74" fmla="*/ 308843 h 1970826"/>
              <a:gd name="connsiteX75" fmla="*/ 611018 w 1971297"/>
              <a:gd name="connsiteY75" fmla="*/ 285324 h 1970826"/>
              <a:gd name="connsiteX76" fmla="*/ 576674 w 1971297"/>
              <a:gd name="connsiteY76" fmla="*/ 89277 h 1970826"/>
              <a:gd name="connsiteX77" fmla="*/ 727674 w 1971297"/>
              <a:gd name="connsiteY77" fmla="*/ 36123 h 1970826"/>
              <a:gd name="connsiteX78" fmla="*/ 826689 w 1971297"/>
              <a:gd name="connsiteY78" fmla="*/ 207623 h 1970826"/>
              <a:gd name="connsiteX79" fmla="*/ 869841 w 1971297"/>
              <a:gd name="connsiteY79" fmla="*/ 199018 h 1970826"/>
              <a:gd name="connsiteX80" fmla="*/ 904928 w 1971297"/>
              <a:gd name="connsiteY80"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1648717 w 1971297"/>
              <a:gd name="connsiteY3" fmla="*/ 986621 h 1970826"/>
              <a:gd name="connsiteX4" fmla="*/ 985649 w 1971297"/>
              <a:gd name="connsiteY4" fmla="*/ 323553 h 1970826"/>
              <a:gd name="connsiteX5" fmla="*/ 904928 w 1971297"/>
              <a:gd name="connsiteY5" fmla="*/ 0 h 1970826"/>
              <a:gd name="connsiteX6" fmla="*/ 1066369 w 1971297"/>
              <a:gd name="connsiteY6" fmla="*/ 0 h 1970826"/>
              <a:gd name="connsiteX7" fmla="*/ 1101456 w 1971297"/>
              <a:gd name="connsiteY7" fmla="*/ 199018 h 1970826"/>
              <a:gd name="connsiteX8" fmla="*/ 1149113 w 1971297"/>
              <a:gd name="connsiteY8" fmla="*/ 208521 h 1970826"/>
              <a:gd name="connsiteX9" fmla="*/ 1245734 w 1971297"/>
              <a:gd name="connsiteY9" fmla="*/ 36367 h 1970826"/>
              <a:gd name="connsiteX10" fmla="*/ 1396309 w 1971297"/>
              <a:gd name="connsiteY10" fmla="*/ 90716 h 1970826"/>
              <a:gd name="connsiteX11" fmla="*/ 1364293 w 1971297"/>
              <a:gd name="connsiteY11" fmla="*/ 287523 h 1970826"/>
              <a:gd name="connsiteX12" fmla="*/ 1403197 w 1971297"/>
              <a:gd name="connsiteY12" fmla="*/ 308843 h 1970826"/>
              <a:gd name="connsiteX13" fmla="*/ 1558001 w 1971297"/>
              <a:gd name="connsiteY13" fmla="*/ 178940 h 1970826"/>
              <a:gd name="connsiteX14" fmla="*/ 1681671 w 1971297"/>
              <a:gd name="connsiteY14" fmla="*/ 282712 h 1970826"/>
              <a:gd name="connsiteX15" fmla="*/ 1580623 w 1971297"/>
              <a:gd name="connsiteY15" fmla="*/ 457722 h 1970826"/>
              <a:gd name="connsiteX16" fmla="*/ 1610608 w 1971297"/>
              <a:gd name="connsiteY16" fmla="*/ 499270 h 1970826"/>
              <a:gd name="connsiteX17" fmla="*/ 1802874 w 1971297"/>
              <a:gd name="connsiteY17" fmla="*/ 433067 h 1970826"/>
              <a:gd name="connsiteX18" fmla="*/ 1881963 w 1971297"/>
              <a:gd name="connsiteY18" fmla="*/ 572248 h 1970826"/>
              <a:gd name="connsiteX19" fmla="*/ 1726590 w 1971297"/>
              <a:gd name="connsiteY19" fmla="*/ 698353 h 1970826"/>
              <a:gd name="connsiteX20" fmla="*/ 1741176 w 1971297"/>
              <a:gd name="connsiteY20" fmla="*/ 735808 h 1970826"/>
              <a:gd name="connsiteX21" fmla="*/ 1943264 w 1971297"/>
              <a:gd name="connsiteY21" fmla="*/ 735802 h 1970826"/>
              <a:gd name="connsiteX22" fmla="*/ 1971297 w 1971297"/>
              <a:gd name="connsiteY22" fmla="*/ 894790 h 1970826"/>
              <a:gd name="connsiteX23" fmla="*/ 1781396 w 1971297"/>
              <a:gd name="connsiteY23" fmla="*/ 963903 h 1970826"/>
              <a:gd name="connsiteX24" fmla="*/ 1780264 w 1971297"/>
              <a:gd name="connsiteY24" fmla="*/ 1014677 h 1970826"/>
              <a:gd name="connsiteX25" fmla="*/ 1969010 w 1971297"/>
              <a:gd name="connsiteY25" fmla="*/ 1087130 h 1970826"/>
              <a:gd name="connsiteX26" fmla="*/ 1940132 w 1971297"/>
              <a:gd name="connsiteY26" fmla="*/ 1244586 h 1970826"/>
              <a:gd name="connsiteX27" fmla="*/ 1738798 w 1971297"/>
              <a:gd name="connsiteY27" fmla="*/ 1241295 h 1970826"/>
              <a:gd name="connsiteX28" fmla="*/ 1725636 w 1971297"/>
              <a:gd name="connsiteY28" fmla="*/ 1280130 h 1970826"/>
              <a:gd name="connsiteX29" fmla="*/ 1880447 w 1971297"/>
              <a:gd name="connsiteY29" fmla="*/ 1410026 h 1970826"/>
              <a:gd name="connsiteX30" fmla="*/ 1799727 w 1971297"/>
              <a:gd name="connsiteY30" fmla="*/ 1549837 h 1970826"/>
              <a:gd name="connsiteX31" fmla="*/ 1609829 w 1971297"/>
              <a:gd name="connsiteY31" fmla="*/ 1480714 h 1970826"/>
              <a:gd name="connsiteX32" fmla="*/ 1579151 w 1971297"/>
              <a:gd name="connsiteY32" fmla="*/ 1512281 h 1970826"/>
              <a:gd name="connsiteX33" fmla="*/ 1677610 w 1971297"/>
              <a:gd name="connsiteY33" fmla="*/ 1689905 h 1970826"/>
              <a:gd name="connsiteX34" fmla="*/ 1554277 w 1971297"/>
              <a:gd name="connsiteY34" fmla="*/ 1791961 h 1970826"/>
              <a:gd name="connsiteX35" fmla="*/ 1402854 w 1971297"/>
              <a:gd name="connsiteY35" fmla="*/ 1660626 h 1970826"/>
              <a:gd name="connsiteX36" fmla="*/ 1363848 w 1971297"/>
              <a:gd name="connsiteY36" fmla="*/ 1687117 h 1970826"/>
              <a:gd name="connsiteX37" fmla="*/ 1398945 w 1971297"/>
              <a:gd name="connsiteY37" fmla="*/ 1886133 h 1970826"/>
              <a:gd name="connsiteX38" fmla="*/ 1247240 w 1971297"/>
              <a:gd name="connsiteY38" fmla="*/ 1941349 h 1970826"/>
              <a:gd name="connsiteX39" fmla="*/ 1146202 w 1971297"/>
              <a:gd name="connsiteY39" fmla="*/ 1766334 h 1970826"/>
              <a:gd name="connsiteX40" fmla="*/ 1100680 w 1971297"/>
              <a:gd name="connsiteY40" fmla="*/ 1773318 h 1970826"/>
              <a:gd name="connsiteX41" fmla="*/ 1062288 w 1971297"/>
              <a:gd name="connsiteY41" fmla="*/ 1970826 h 1970826"/>
              <a:gd name="connsiteX42" fmla="*/ 902210 w 1971297"/>
              <a:gd name="connsiteY42" fmla="*/ 1969728 h 1970826"/>
              <a:gd name="connsiteX43" fmla="*/ 870884 w 1971297"/>
              <a:gd name="connsiteY43" fmla="*/ 1773359 h 1970826"/>
              <a:gd name="connsiteX44" fmla="*/ 825096 w 1971297"/>
              <a:gd name="connsiteY44" fmla="*/ 1766334 h 1970826"/>
              <a:gd name="connsiteX45" fmla="*/ 724057 w 1971297"/>
              <a:gd name="connsiteY45" fmla="*/ 1941349 h 1970826"/>
              <a:gd name="connsiteX46" fmla="*/ 572352 w 1971297"/>
              <a:gd name="connsiteY46" fmla="*/ 1886133 h 1970826"/>
              <a:gd name="connsiteX47" fmla="*/ 607450 w 1971297"/>
              <a:gd name="connsiteY47" fmla="*/ 1687117 h 1970826"/>
              <a:gd name="connsiteX48" fmla="*/ 571181 w 1971297"/>
              <a:gd name="connsiteY48" fmla="*/ 1662485 h 1970826"/>
              <a:gd name="connsiteX49" fmla="*/ 421150 w 1971297"/>
              <a:gd name="connsiteY49" fmla="*/ 1792613 h 1970826"/>
              <a:gd name="connsiteX50" fmla="*/ 297817 w 1971297"/>
              <a:gd name="connsiteY50" fmla="*/ 1690557 h 1970826"/>
              <a:gd name="connsiteX51" fmla="*/ 395006 w 1971297"/>
              <a:gd name="connsiteY51" fmla="*/ 1515223 h 1970826"/>
              <a:gd name="connsiteX52" fmla="*/ 361468 w 1971297"/>
              <a:gd name="connsiteY52" fmla="*/ 1480715 h 1970826"/>
              <a:gd name="connsiteX53" fmla="*/ 171570 w 1971297"/>
              <a:gd name="connsiteY53" fmla="*/ 1549837 h 1970826"/>
              <a:gd name="connsiteX54" fmla="*/ 90850 w 1971297"/>
              <a:gd name="connsiteY54" fmla="*/ 1410026 h 1970826"/>
              <a:gd name="connsiteX55" fmla="*/ 245661 w 1971297"/>
              <a:gd name="connsiteY55" fmla="*/ 1280131 h 1970826"/>
              <a:gd name="connsiteX56" fmla="*/ 233972 w 1971297"/>
              <a:gd name="connsiteY56" fmla="*/ 1245643 h 1970826"/>
              <a:gd name="connsiteX57" fmla="*/ 31451 w 1971297"/>
              <a:gd name="connsiteY57" fmla="*/ 1248953 h 1970826"/>
              <a:gd name="connsiteX58" fmla="*/ 2573 w 1971297"/>
              <a:gd name="connsiteY58" fmla="*/ 1091497 h 1970826"/>
              <a:gd name="connsiteX59" fmla="*/ 191133 w 1971297"/>
              <a:gd name="connsiteY59" fmla="*/ 1019115 h 1970826"/>
              <a:gd name="connsiteX60" fmla="*/ 189902 w 1971297"/>
              <a:gd name="connsiteY60" fmla="*/ 963904 h 1970826"/>
              <a:gd name="connsiteX61" fmla="*/ 0 w 1971297"/>
              <a:gd name="connsiteY61" fmla="*/ 894790 h 1970826"/>
              <a:gd name="connsiteX62" fmla="*/ 28034 w 1971297"/>
              <a:gd name="connsiteY62" fmla="*/ 735802 h 1970826"/>
              <a:gd name="connsiteX63" fmla="*/ 230121 w 1971297"/>
              <a:gd name="connsiteY63" fmla="*/ 735808 h 1970826"/>
              <a:gd name="connsiteX64" fmla="*/ 240919 w 1971297"/>
              <a:gd name="connsiteY64" fmla="*/ 708079 h 1970826"/>
              <a:gd name="connsiteX65" fmla="*/ 84936 w 1971297"/>
              <a:gd name="connsiteY65" fmla="*/ 585933 h 1970826"/>
              <a:gd name="connsiteX66" fmla="*/ 161584 w 1971297"/>
              <a:gd name="connsiteY66" fmla="*/ 445393 h 1970826"/>
              <a:gd name="connsiteX67" fmla="*/ 354366 w 1971297"/>
              <a:gd name="connsiteY67" fmla="*/ 508031 h 1970826"/>
              <a:gd name="connsiteX68" fmla="*/ 390674 w 1971297"/>
              <a:gd name="connsiteY68" fmla="*/ 457722 h 1970826"/>
              <a:gd name="connsiteX69" fmla="*/ 289626 w 1971297"/>
              <a:gd name="connsiteY69" fmla="*/ 282712 h 1970826"/>
              <a:gd name="connsiteX70" fmla="*/ 413297 w 1971297"/>
              <a:gd name="connsiteY70" fmla="*/ 178940 h 1970826"/>
              <a:gd name="connsiteX71" fmla="*/ 568101 w 1971297"/>
              <a:gd name="connsiteY71" fmla="*/ 308843 h 1970826"/>
              <a:gd name="connsiteX72" fmla="*/ 611018 w 1971297"/>
              <a:gd name="connsiteY72" fmla="*/ 285324 h 1970826"/>
              <a:gd name="connsiteX73" fmla="*/ 576674 w 1971297"/>
              <a:gd name="connsiteY73" fmla="*/ 89277 h 1970826"/>
              <a:gd name="connsiteX74" fmla="*/ 727674 w 1971297"/>
              <a:gd name="connsiteY74" fmla="*/ 36123 h 1970826"/>
              <a:gd name="connsiteX75" fmla="*/ 826689 w 1971297"/>
              <a:gd name="connsiteY75" fmla="*/ 207623 h 1970826"/>
              <a:gd name="connsiteX76" fmla="*/ 869841 w 1971297"/>
              <a:gd name="connsiteY76" fmla="*/ 199018 h 1970826"/>
              <a:gd name="connsiteX77" fmla="*/ 904928 w 1971297"/>
              <a:gd name="connsiteY77" fmla="*/ 0 h 1970826"/>
              <a:gd name="connsiteX0" fmla="*/ 985649 w 1971297"/>
              <a:gd name="connsiteY0" fmla="*/ 323553 h 1970826"/>
              <a:gd name="connsiteX1" fmla="*/ 322581 w 1971297"/>
              <a:gd name="connsiteY1" fmla="*/ 986621 h 1970826"/>
              <a:gd name="connsiteX2" fmla="*/ 985649 w 1971297"/>
              <a:gd name="connsiteY2" fmla="*/ 1649689 h 1970826"/>
              <a:gd name="connsiteX3" fmla="*/ 985649 w 1971297"/>
              <a:gd name="connsiteY3" fmla="*/ 323553 h 1970826"/>
              <a:gd name="connsiteX4" fmla="*/ 904928 w 1971297"/>
              <a:gd name="connsiteY4" fmla="*/ 0 h 1970826"/>
              <a:gd name="connsiteX5" fmla="*/ 1066369 w 1971297"/>
              <a:gd name="connsiteY5" fmla="*/ 0 h 1970826"/>
              <a:gd name="connsiteX6" fmla="*/ 1101456 w 1971297"/>
              <a:gd name="connsiteY6" fmla="*/ 199018 h 1970826"/>
              <a:gd name="connsiteX7" fmla="*/ 1149113 w 1971297"/>
              <a:gd name="connsiteY7" fmla="*/ 208521 h 1970826"/>
              <a:gd name="connsiteX8" fmla="*/ 1245734 w 1971297"/>
              <a:gd name="connsiteY8" fmla="*/ 36367 h 1970826"/>
              <a:gd name="connsiteX9" fmla="*/ 1396309 w 1971297"/>
              <a:gd name="connsiteY9" fmla="*/ 90716 h 1970826"/>
              <a:gd name="connsiteX10" fmla="*/ 1364293 w 1971297"/>
              <a:gd name="connsiteY10" fmla="*/ 287523 h 1970826"/>
              <a:gd name="connsiteX11" fmla="*/ 1403197 w 1971297"/>
              <a:gd name="connsiteY11" fmla="*/ 308843 h 1970826"/>
              <a:gd name="connsiteX12" fmla="*/ 1558001 w 1971297"/>
              <a:gd name="connsiteY12" fmla="*/ 178940 h 1970826"/>
              <a:gd name="connsiteX13" fmla="*/ 1681671 w 1971297"/>
              <a:gd name="connsiteY13" fmla="*/ 282712 h 1970826"/>
              <a:gd name="connsiteX14" fmla="*/ 1580623 w 1971297"/>
              <a:gd name="connsiteY14" fmla="*/ 457722 h 1970826"/>
              <a:gd name="connsiteX15" fmla="*/ 1610608 w 1971297"/>
              <a:gd name="connsiteY15" fmla="*/ 499270 h 1970826"/>
              <a:gd name="connsiteX16" fmla="*/ 1802874 w 1971297"/>
              <a:gd name="connsiteY16" fmla="*/ 433067 h 1970826"/>
              <a:gd name="connsiteX17" fmla="*/ 1881963 w 1971297"/>
              <a:gd name="connsiteY17" fmla="*/ 572248 h 1970826"/>
              <a:gd name="connsiteX18" fmla="*/ 1726590 w 1971297"/>
              <a:gd name="connsiteY18" fmla="*/ 698353 h 1970826"/>
              <a:gd name="connsiteX19" fmla="*/ 1741176 w 1971297"/>
              <a:gd name="connsiteY19" fmla="*/ 735808 h 1970826"/>
              <a:gd name="connsiteX20" fmla="*/ 1943264 w 1971297"/>
              <a:gd name="connsiteY20" fmla="*/ 735802 h 1970826"/>
              <a:gd name="connsiteX21" fmla="*/ 1971297 w 1971297"/>
              <a:gd name="connsiteY21" fmla="*/ 894790 h 1970826"/>
              <a:gd name="connsiteX22" fmla="*/ 1781396 w 1971297"/>
              <a:gd name="connsiteY22" fmla="*/ 963903 h 1970826"/>
              <a:gd name="connsiteX23" fmla="*/ 1780264 w 1971297"/>
              <a:gd name="connsiteY23" fmla="*/ 1014677 h 1970826"/>
              <a:gd name="connsiteX24" fmla="*/ 1969010 w 1971297"/>
              <a:gd name="connsiteY24" fmla="*/ 1087130 h 1970826"/>
              <a:gd name="connsiteX25" fmla="*/ 1940132 w 1971297"/>
              <a:gd name="connsiteY25" fmla="*/ 1244586 h 1970826"/>
              <a:gd name="connsiteX26" fmla="*/ 1738798 w 1971297"/>
              <a:gd name="connsiteY26" fmla="*/ 1241295 h 1970826"/>
              <a:gd name="connsiteX27" fmla="*/ 1725636 w 1971297"/>
              <a:gd name="connsiteY27" fmla="*/ 1280130 h 1970826"/>
              <a:gd name="connsiteX28" fmla="*/ 1880447 w 1971297"/>
              <a:gd name="connsiteY28" fmla="*/ 1410026 h 1970826"/>
              <a:gd name="connsiteX29" fmla="*/ 1799727 w 1971297"/>
              <a:gd name="connsiteY29" fmla="*/ 1549837 h 1970826"/>
              <a:gd name="connsiteX30" fmla="*/ 1609829 w 1971297"/>
              <a:gd name="connsiteY30" fmla="*/ 1480714 h 1970826"/>
              <a:gd name="connsiteX31" fmla="*/ 1579151 w 1971297"/>
              <a:gd name="connsiteY31" fmla="*/ 1512281 h 1970826"/>
              <a:gd name="connsiteX32" fmla="*/ 1677610 w 1971297"/>
              <a:gd name="connsiteY32" fmla="*/ 1689905 h 1970826"/>
              <a:gd name="connsiteX33" fmla="*/ 1554277 w 1971297"/>
              <a:gd name="connsiteY33" fmla="*/ 1791961 h 1970826"/>
              <a:gd name="connsiteX34" fmla="*/ 1402854 w 1971297"/>
              <a:gd name="connsiteY34" fmla="*/ 1660626 h 1970826"/>
              <a:gd name="connsiteX35" fmla="*/ 1363848 w 1971297"/>
              <a:gd name="connsiteY35" fmla="*/ 1687117 h 1970826"/>
              <a:gd name="connsiteX36" fmla="*/ 1398945 w 1971297"/>
              <a:gd name="connsiteY36" fmla="*/ 1886133 h 1970826"/>
              <a:gd name="connsiteX37" fmla="*/ 1247240 w 1971297"/>
              <a:gd name="connsiteY37" fmla="*/ 1941349 h 1970826"/>
              <a:gd name="connsiteX38" fmla="*/ 1146202 w 1971297"/>
              <a:gd name="connsiteY38" fmla="*/ 1766334 h 1970826"/>
              <a:gd name="connsiteX39" fmla="*/ 1100680 w 1971297"/>
              <a:gd name="connsiteY39" fmla="*/ 1773318 h 1970826"/>
              <a:gd name="connsiteX40" fmla="*/ 1062288 w 1971297"/>
              <a:gd name="connsiteY40" fmla="*/ 1970826 h 1970826"/>
              <a:gd name="connsiteX41" fmla="*/ 902210 w 1971297"/>
              <a:gd name="connsiteY41" fmla="*/ 1969728 h 1970826"/>
              <a:gd name="connsiteX42" fmla="*/ 870884 w 1971297"/>
              <a:gd name="connsiteY42" fmla="*/ 1773359 h 1970826"/>
              <a:gd name="connsiteX43" fmla="*/ 825096 w 1971297"/>
              <a:gd name="connsiteY43" fmla="*/ 1766334 h 1970826"/>
              <a:gd name="connsiteX44" fmla="*/ 724057 w 1971297"/>
              <a:gd name="connsiteY44" fmla="*/ 1941349 h 1970826"/>
              <a:gd name="connsiteX45" fmla="*/ 572352 w 1971297"/>
              <a:gd name="connsiteY45" fmla="*/ 1886133 h 1970826"/>
              <a:gd name="connsiteX46" fmla="*/ 607450 w 1971297"/>
              <a:gd name="connsiteY46" fmla="*/ 1687117 h 1970826"/>
              <a:gd name="connsiteX47" fmla="*/ 571181 w 1971297"/>
              <a:gd name="connsiteY47" fmla="*/ 1662485 h 1970826"/>
              <a:gd name="connsiteX48" fmla="*/ 421150 w 1971297"/>
              <a:gd name="connsiteY48" fmla="*/ 1792613 h 1970826"/>
              <a:gd name="connsiteX49" fmla="*/ 297817 w 1971297"/>
              <a:gd name="connsiteY49" fmla="*/ 1690557 h 1970826"/>
              <a:gd name="connsiteX50" fmla="*/ 395006 w 1971297"/>
              <a:gd name="connsiteY50" fmla="*/ 1515223 h 1970826"/>
              <a:gd name="connsiteX51" fmla="*/ 361468 w 1971297"/>
              <a:gd name="connsiteY51" fmla="*/ 1480715 h 1970826"/>
              <a:gd name="connsiteX52" fmla="*/ 171570 w 1971297"/>
              <a:gd name="connsiteY52" fmla="*/ 1549837 h 1970826"/>
              <a:gd name="connsiteX53" fmla="*/ 90850 w 1971297"/>
              <a:gd name="connsiteY53" fmla="*/ 1410026 h 1970826"/>
              <a:gd name="connsiteX54" fmla="*/ 245661 w 1971297"/>
              <a:gd name="connsiteY54" fmla="*/ 1280131 h 1970826"/>
              <a:gd name="connsiteX55" fmla="*/ 233972 w 1971297"/>
              <a:gd name="connsiteY55" fmla="*/ 1245643 h 1970826"/>
              <a:gd name="connsiteX56" fmla="*/ 31451 w 1971297"/>
              <a:gd name="connsiteY56" fmla="*/ 1248953 h 1970826"/>
              <a:gd name="connsiteX57" fmla="*/ 2573 w 1971297"/>
              <a:gd name="connsiteY57" fmla="*/ 1091497 h 1970826"/>
              <a:gd name="connsiteX58" fmla="*/ 191133 w 1971297"/>
              <a:gd name="connsiteY58" fmla="*/ 1019115 h 1970826"/>
              <a:gd name="connsiteX59" fmla="*/ 189902 w 1971297"/>
              <a:gd name="connsiteY59" fmla="*/ 963904 h 1970826"/>
              <a:gd name="connsiteX60" fmla="*/ 0 w 1971297"/>
              <a:gd name="connsiteY60" fmla="*/ 894790 h 1970826"/>
              <a:gd name="connsiteX61" fmla="*/ 28034 w 1971297"/>
              <a:gd name="connsiteY61" fmla="*/ 735802 h 1970826"/>
              <a:gd name="connsiteX62" fmla="*/ 230121 w 1971297"/>
              <a:gd name="connsiteY62" fmla="*/ 735808 h 1970826"/>
              <a:gd name="connsiteX63" fmla="*/ 240919 w 1971297"/>
              <a:gd name="connsiteY63" fmla="*/ 708079 h 1970826"/>
              <a:gd name="connsiteX64" fmla="*/ 84936 w 1971297"/>
              <a:gd name="connsiteY64" fmla="*/ 585933 h 1970826"/>
              <a:gd name="connsiteX65" fmla="*/ 161584 w 1971297"/>
              <a:gd name="connsiteY65" fmla="*/ 445393 h 1970826"/>
              <a:gd name="connsiteX66" fmla="*/ 354366 w 1971297"/>
              <a:gd name="connsiteY66" fmla="*/ 508031 h 1970826"/>
              <a:gd name="connsiteX67" fmla="*/ 390674 w 1971297"/>
              <a:gd name="connsiteY67" fmla="*/ 457722 h 1970826"/>
              <a:gd name="connsiteX68" fmla="*/ 289626 w 1971297"/>
              <a:gd name="connsiteY68" fmla="*/ 282712 h 1970826"/>
              <a:gd name="connsiteX69" fmla="*/ 413297 w 1971297"/>
              <a:gd name="connsiteY69" fmla="*/ 178940 h 1970826"/>
              <a:gd name="connsiteX70" fmla="*/ 568101 w 1971297"/>
              <a:gd name="connsiteY70" fmla="*/ 308843 h 1970826"/>
              <a:gd name="connsiteX71" fmla="*/ 611018 w 1971297"/>
              <a:gd name="connsiteY71" fmla="*/ 285324 h 1970826"/>
              <a:gd name="connsiteX72" fmla="*/ 576674 w 1971297"/>
              <a:gd name="connsiteY72" fmla="*/ 89277 h 1970826"/>
              <a:gd name="connsiteX73" fmla="*/ 727674 w 1971297"/>
              <a:gd name="connsiteY73" fmla="*/ 36123 h 1970826"/>
              <a:gd name="connsiteX74" fmla="*/ 826689 w 1971297"/>
              <a:gd name="connsiteY74" fmla="*/ 207623 h 1970826"/>
              <a:gd name="connsiteX75" fmla="*/ 869841 w 1971297"/>
              <a:gd name="connsiteY75" fmla="*/ 199018 h 1970826"/>
              <a:gd name="connsiteX76" fmla="*/ 904928 w 1971297"/>
              <a:gd name="connsiteY76" fmla="*/ 0 h 1970826"/>
              <a:gd name="connsiteX0" fmla="*/ 985649 w 1971297"/>
              <a:gd name="connsiteY0" fmla="*/ 323553 h 1970826"/>
              <a:gd name="connsiteX1" fmla="*/ 322581 w 1971297"/>
              <a:gd name="connsiteY1" fmla="*/ 986621 h 1970826"/>
              <a:gd name="connsiteX2" fmla="*/ 985649 w 1971297"/>
              <a:gd name="connsiteY2" fmla="*/ 323553 h 1970826"/>
              <a:gd name="connsiteX3" fmla="*/ 904928 w 1971297"/>
              <a:gd name="connsiteY3" fmla="*/ 0 h 1970826"/>
              <a:gd name="connsiteX4" fmla="*/ 1066369 w 1971297"/>
              <a:gd name="connsiteY4" fmla="*/ 0 h 1970826"/>
              <a:gd name="connsiteX5" fmla="*/ 1101456 w 1971297"/>
              <a:gd name="connsiteY5" fmla="*/ 199018 h 1970826"/>
              <a:gd name="connsiteX6" fmla="*/ 1149113 w 1971297"/>
              <a:gd name="connsiteY6" fmla="*/ 208521 h 1970826"/>
              <a:gd name="connsiteX7" fmla="*/ 1245734 w 1971297"/>
              <a:gd name="connsiteY7" fmla="*/ 36367 h 1970826"/>
              <a:gd name="connsiteX8" fmla="*/ 1396309 w 1971297"/>
              <a:gd name="connsiteY8" fmla="*/ 90716 h 1970826"/>
              <a:gd name="connsiteX9" fmla="*/ 1364293 w 1971297"/>
              <a:gd name="connsiteY9" fmla="*/ 287523 h 1970826"/>
              <a:gd name="connsiteX10" fmla="*/ 1403197 w 1971297"/>
              <a:gd name="connsiteY10" fmla="*/ 308843 h 1970826"/>
              <a:gd name="connsiteX11" fmla="*/ 1558001 w 1971297"/>
              <a:gd name="connsiteY11" fmla="*/ 178940 h 1970826"/>
              <a:gd name="connsiteX12" fmla="*/ 1681671 w 1971297"/>
              <a:gd name="connsiteY12" fmla="*/ 282712 h 1970826"/>
              <a:gd name="connsiteX13" fmla="*/ 1580623 w 1971297"/>
              <a:gd name="connsiteY13" fmla="*/ 457722 h 1970826"/>
              <a:gd name="connsiteX14" fmla="*/ 1610608 w 1971297"/>
              <a:gd name="connsiteY14" fmla="*/ 499270 h 1970826"/>
              <a:gd name="connsiteX15" fmla="*/ 1802874 w 1971297"/>
              <a:gd name="connsiteY15" fmla="*/ 433067 h 1970826"/>
              <a:gd name="connsiteX16" fmla="*/ 1881963 w 1971297"/>
              <a:gd name="connsiteY16" fmla="*/ 572248 h 1970826"/>
              <a:gd name="connsiteX17" fmla="*/ 1726590 w 1971297"/>
              <a:gd name="connsiteY17" fmla="*/ 698353 h 1970826"/>
              <a:gd name="connsiteX18" fmla="*/ 1741176 w 1971297"/>
              <a:gd name="connsiteY18" fmla="*/ 735808 h 1970826"/>
              <a:gd name="connsiteX19" fmla="*/ 1943264 w 1971297"/>
              <a:gd name="connsiteY19" fmla="*/ 735802 h 1970826"/>
              <a:gd name="connsiteX20" fmla="*/ 1971297 w 1971297"/>
              <a:gd name="connsiteY20" fmla="*/ 894790 h 1970826"/>
              <a:gd name="connsiteX21" fmla="*/ 1781396 w 1971297"/>
              <a:gd name="connsiteY21" fmla="*/ 963903 h 1970826"/>
              <a:gd name="connsiteX22" fmla="*/ 1780264 w 1971297"/>
              <a:gd name="connsiteY22" fmla="*/ 1014677 h 1970826"/>
              <a:gd name="connsiteX23" fmla="*/ 1969010 w 1971297"/>
              <a:gd name="connsiteY23" fmla="*/ 1087130 h 1970826"/>
              <a:gd name="connsiteX24" fmla="*/ 1940132 w 1971297"/>
              <a:gd name="connsiteY24" fmla="*/ 1244586 h 1970826"/>
              <a:gd name="connsiteX25" fmla="*/ 1738798 w 1971297"/>
              <a:gd name="connsiteY25" fmla="*/ 1241295 h 1970826"/>
              <a:gd name="connsiteX26" fmla="*/ 1725636 w 1971297"/>
              <a:gd name="connsiteY26" fmla="*/ 1280130 h 1970826"/>
              <a:gd name="connsiteX27" fmla="*/ 1880447 w 1971297"/>
              <a:gd name="connsiteY27" fmla="*/ 1410026 h 1970826"/>
              <a:gd name="connsiteX28" fmla="*/ 1799727 w 1971297"/>
              <a:gd name="connsiteY28" fmla="*/ 1549837 h 1970826"/>
              <a:gd name="connsiteX29" fmla="*/ 1609829 w 1971297"/>
              <a:gd name="connsiteY29" fmla="*/ 1480714 h 1970826"/>
              <a:gd name="connsiteX30" fmla="*/ 1579151 w 1971297"/>
              <a:gd name="connsiteY30" fmla="*/ 1512281 h 1970826"/>
              <a:gd name="connsiteX31" fmla="*/ 1677610 w 1971297"/>
              <a:gd name="connsiteY31" fmla="*/ 1689905 h 1970826"/>
              <a:gd name="connsiteX32" fmla="*/ 1554277 w 1971297"/>
              <a:gd name="connsiteY32" fmla="*/ 1791961 h 1970826"/>
              <a:gd name="connsiteX33" fmla="*/ 1402854 w 1971297"/>
              <a:gd name="connsiteY33" fmla="*/ 1660626 h 1970826"/>
              <a:gd name="connsiteX34" fmla="*/ 1363848 w 1971297"/>
              <a:gd name="connsiteY34" fmla="*/ 1687117 h 1970826"/>
              <a:gd name="connsiteX35" fmla="*/ 1398945 w 1971297"/>
              <a:gd name="connsiteY35" fmla="*/ 1886133 h 1970826"/>
              <a:gd name="connsiteX36" fmla="*/ 1247240 w 1971297"/>
              <a:gd name="connsiteY36" fmla="*/ 1941349 h 1970826"/>
              <a:gd name="connsiteX37" fmla="*/ 1146202 w 1971297"/>
              <a:gd name="connsiteY37" fmla="*/ 1766334 h 1970826"/>
              <a:gd name="connsiteX38" fmla="*/ 1100680 w 1971297"/>
              <a:gd name="connsiteY38" fmla="*/ 1773318 h 1970826"/>
              <a:gd name="connsiteX39" fmla="*/ 1062288 w 1971297"/>
              <a:gd name="connsiteY39" fmla="*/ 1970826 h 1970826"/>
              <a:gd name="connsiteX40" fmla="*/ 902210 w 1971297"/>
              <a:gd name="connsiteY40" fmla="*/ 1969728 h 1970826"/>
              <a:gd name="connsiteX41" fmla="*/ 870884 w 1971297"/>
              <a:gd name="connsiteY41" fmla="*/ 1773359 h 1970826"/>
              <a:gd name="connsiteX42" fmla="*/ 825096 w 1971297"/>
              <a:gd name="connsiteY42" fmla="*/ 1766334 h 1970826"/>
              <a:gd name="connsiteX43" fmla="*/ 724057 w 1971297"/>
              <a:gd name="connsiteY43" fmla="*/ 1941349 h 1970826"/>
              <a:gd name="connsiteX44" fmla="*/ 572352 w 1971297"/>
              <a:gd name="connsiteY44" fmla="*/ 1886133 h 1970826"/>
              <a:gd name="connsiteX45" fmla="*/ 607450 w 1971297"/>
              <a:gd name="connsiteY45" fmla="*/ 1687117 h 1970826"/>
              <a:gd name="connsiteX46" fmla="*/ 571181 w 1971297"/>
              <a:gd name="connsiteY46" fmla="*/ 1662485 h 1970826"/>
              <a:gd name="connsiteX47" fmla="*/ 421150 w 1971297"/>
              <a:gd name="connsiteY47" fmla="*/ 1792613 h 1970826"/>
              <a:gd name="connsiteX48" fmla="*/ 297817 w 1971297"/>
              <a:gd name="connsiteY48" fmla="*/ 1690557 h 1970826"/>
              <a:gd name="connsiteX49" fmla="*/ 395006 w 1971297"/>
              <a:gd name="connsiteY49" fmla="*/ 1515223 h 1970826"/>
              <a:gd name="connsiteX50" fmla="*/ 361468 w 1971297"/>
              <a:gd name="connsiteY50" fmla="*/ 1480715 h 1970826"/>
              <a:gd name="connsiteX51" fmla="*/ 171570 w 1971297"/>
              <a:gd name="connsiteY51" fmla="*/ 1549837 h 1970826"/>
              <a:gd name="connsiteX52" fmla="*/ 90850 w 1971297"/>
              <a:gd name="connsiteY52" fmla="*/ 1410026 h 1970826"/>
              <a:gd name="connsiteX53" fmla="*/ 245661 w 1971297"/>
              <a:gd name="connsiteY53" fmla="*/ 1280131 h 1970826"/>
              <a:gd name="connsiteX54" fmla="*/ 233972 w 1971297"/>
              <a:gd name="connsiteY54" fmla="*/ 1245643 h 1970826"/>
              <a:gd name="connsiteX55" fmla="*/ 31451 w 1971297"/>
              <a:gd name="connsiteY55" fmla="*/ 1248953 h 1970826"/>
              <a:gd name="connsiteX56" fmla="*/ 2573 w 1971297"/>
              <a:gd name="connsiteY56" fmla="*/ 1091497 h 1970826"/>
              <a:gd name="connsiteX57" fmla="*/ 191133 w 1971297"/>
              <a:gd name="connsiteY57" fmla="*/ 1019115 h 1970826"/>
              <a:gd name="connsiteX58" fmla="*/ 189902 w 1971297"/>
              <a:gd name="connsiteY58" fmla="*/ 963904 h 1970826"/>
              <a:gd name="connsiteX59" fmla="*/ 0 w 1971297"/>
              <a:gd name="connsiteY59" fmla="*/ 894790 h 1970826"/>
              <a:gd name="connsiteX60" fmla="*/ 28034 w 1971297"/>
              <a:gd name="connsiteY60" fmla="*/ 735802 h 1970826"/>
              <a:gd name="connsiteX61" fmla="*/ 230121 w 1971297"/>
              <a:gd name="connsiteY61" fmla="*/ 735808 h 1970826"/>
              <a:gd name="connsiteX62" fmla="*/ 240919 w 1971297"/>
              <a:gd name="connsiteY62" fmla="*/ 708079 h 1970826"/>
              <a:gd name="connsiteX63" fmla="*/ 84936 w 1971297"/>
              <a:gd name="connsiteY63" fmla="*/ 585933 h 1970826"/>
              <a:gd name="connsiteX64" fmla="*/ 161584 w 1971297"/>
              <a:gd name="connsiteY64" fmla="*/ 445393 h 1970826"/>
              <a:gd name="connsiteX65" fmla="*/ 354366 w 1971297"/>
              <a:gd name="connsiteY65" fmla="*/ 508031 h 1970826"/>
              <a:gd name="connsiteX66" fmla="*/ 390674 w 1971297"/>
              <a:gd name="connsiteY66" fmla="*/ 457722 h 1970826"/>
              <a:gd name="connsiteX67" fmla="*/ 289626 w 1971297"/>
              <a:gd name="connsiteY67" fmla="*/ 282712 h 1970826"/>
              <a:gd name="connsiteX68" fmla="*/ 413297 w 1971297"/>
              <a:gd name="connsiteY68" fmla="*/ 178940 h 1970826"/>
              <a:gd name="connsiteX69" fmla="*/ 568101 w 1971297"/>
              <a:gd name="connsiteY69" fmla="*/ 308843 h 1970826"/>
              <a:gd name="connsiteX70" fmla="*/ 611018 w 1971297"/>
              <a:gd name="connsiteY70" fmla="*/ 285324 h 1970826"/>
              <a:gd name="connsiteX71" fmla="*/ 576674 w 1971297"/>
              <a:gd name="connsiteY71" fmla="*/ 89277 h 1970826"/>
              <a:gd name="connsiteX72" fmla="*/ 727674 w 1971297"/>
              <a:gd name="connsiteY72" fmla="*/ 36123 h 1970826"/>
              <a:gd name="connsiteX73" fmla="*/ 826689 w 1971297"/>
              <a:gd name="connsiteY73" fmla="*/ 207623 h 1970826"/>
              <a:gd name="connsiteX74" fmla="*/ 869841 w 1971297"/>
              <a:gd name="connsiteY74" fmla="*/ 199018 h 1970826"/>
              <a:gd name="connsiteX75" fmla="*/ 904928 w 1971297"/>
              <a:gd name="connsiteY75" fmla="*/ 0 h 1970826"/>
              <a:gd name="connsiteX0" fmla="*/ 904928 w 1971297"/>
              <a:gd name="connsiteY0" fmla="*/ 0 h 1970826"/>
              <a:gd name="connsiteX1" fmla="*/ 1066369 w 1971297"/>
              <a:gd name="connsiteY1" fmla="*/ 0 h 1970826"/>
              <a:gd name="connsiteX2" fmla="*/ 1101456 w 1971297"/>
              <a:gd name="connsiteY2" fmla="*/ 199018 h 1970826"/>
              <a:gd name="connsiteX3" fmla="*/ 1149113 w 1971297"/>
              <a:gd name="connsiteY3" fmla="*/ 208521 h 1970826"/>
              <a:gd name="connsiteX4" fmla="*/ 1245734 w 1971297"/>
              <a:gd name="connsiteY4" fmla="*/ 36367 h 1970826"/>
              <a:gd name="connsiteX5" fmla="*/ 1396309 w 1971297"/>
              <a:gd name="connsiteY5" fmla="*/ 90716 h 1970826"/>
              <a:gd name="connsiteX6" fmla="*/ 1364293 w 1971297"/>
              <a:gd name="connsiteY6" fmla="*/ 287523 h 1970826"/>
              <a:gd name="connsiteX7" fmla="*/ 1403197 w 1971297"/>
              <a:gd name="connsiteY7" fmla="*/ 308843 h 1970826"/>
              <a:gd name="connsiteX8" fmla="*/ 1558001 w 1971297"/>
              <a:gd name="connsiteY8" fmla="*/ 178940 h 1970826"/>
              <a:gd name="connsiteX9" fmla="*/ 1681671 w 1971297"/>
              <a:gd name="connsiteY9" fmla="*/ 282712 h 1970826"/>
              <a:gd name="connsiteX10" fmla="*/ 1580623 w 1971297"/>
              <a:gd name="connsiteY10" fmla="*/ 457722 h 1970826"/>
              <a:gd name="connsiteX11" fmla="*/ 1610608 w 1971297"/>
              <a:gd name="connsiteY11" fmla="*/ 499270 h 1970826"/>
              <a:gd name="connsiteX12" fmla="*/ 1802874 w 1971297"/>
              <a:gd name="connsiteY12" fmla="*/ 433067 h 1970826"/>
              <a:gd name="connsiteX13" fmla="*/ 1881963 w 1971297"/>
              <a:gd name="connsiteY13" fmla="*/ 572248 h 1970826"/>
              <a:gd name="connsiteX14" fmla="*/ 1726590 w 1971297"/>
              <a:gd name="connsiteY14" fmla="*/ 698353 h 1970826"/>
              <a:gd name="connsiteX15" fmla="*/ 1741176 w 1971297"/>
              <a:gd name="connsiteY15" fmla="*/ 735808 h 1970826"/>
              <a:gd name="connsiteX16" fmla="*/ 1943264 w 1971297"/>
              <a:gd name="connsiteY16" fmla="*/ 735802 h 1970826"/>
              <a:gd name="connsiteX17" fmla="*/ 1971297 w 1971297"/>
              <a:gd name="connsiteY17" fmla="*/ 894790 h 1970826"/>
              <a:gd name="connsiteX18" fmla="*/ 1781396 w 1971297"/>
              <a:gd name="connsiteY18" fmla="*/ 963903 h 1970826"/>
              <a:gd name="connsiteX19" fmla="*/ 1780264 w 1971297"/>
              <a:gd name="connsiteY19" fmla="*/ 1014677 h 1970826"/>
              <a:gd name="connsiteX20" fmla="*/ 1969010 w 1971297"/>
              <a:gd name="connsiteY20" fmla="*/ 1087130 h 1970826"/>
              <a:gd name="connsiteX21" fmla="*/ 1940132 w 1971297"/>
              <a:gd name="connsiteY21" fmla="*/ 1244586 h 1970826"/>
              <a:gd name="connsiteX22" fmla="*/ 1738798 w 1971297"/>
              <a:gd name="connsiteY22" fmla="*/ 1241295 h 1970826"/>
              <a:gd name="connsiteX23" fmla="*/ 1725636 w 1971297"/>
              <a:gd name="connsiteY23" fmla="*/ 1280130 h 1970826"/>
              <a:gd name="connsiteX24" fmla="*/ 1880447 w 1971297"/>
              <a:gd name="connsiteY24" fmla="*/ 1410026 h 1970826"/>
              <a:gd name="connsiteX25" fmla="*/ 1799727 w 1971297"/>
              <a:gd name="connsiteY25" fmla="*/ 1549837 h 1970826"/>
              <a:gd name="connsiteX26" fmla="*/ 1609829 w 1971297"/>
              <a:gd name="connsiteY26" fmla="*/ 1480714 h 1970826"/>
              <a:gd name="connsiteX27" fmla="*/ 1579151 w 1971297"/>
              <a:gd name="connsiteY27" fmla="*/ 1512281 h 1970826"/>
              <a:gd name="connsiteX28" fmla="*/ 1677610 w 1971297"/>
              <a:gd name="connsiteY28" fmla="*/ 1689905 h 1970826"/>
              <a:gd name="connsiteX29" fmla="*/ 1554277 w 1971297"/>
              <a:gd name="connsiteY29" fmla="*/ 1791961 h 1970826"/>
              <a:gd name="connsiteX30" fmla="*/ 1402854 w 1971297"/>
              <a:gd name="connsiteY30" fmla="*/ 1660626 h 1970826"/>
              <a:gd name="connsiteX31" fmla="*/ 1363848 w 1971297"/>
              <a:gd name="connsiteY31" fmla="*/ 1687117 h 1970826"/>
              <a:gd name="connsiteX32" fmla="*/ 1398945 w 1971297"/>
              <a:gd name="connsiteY32" fmla="*/ 1886133 h 1970826"/>
              <a:gd name="connsiteX33" fmla="*/ 1247240 w 1971297"/>
              <a:gd name="connsiteY33" fmla="*/ 1941349 h 1970826"/>
              <a:gd name="connsiteX34" fmla="*/ 1146202 w 1971297"/>
              <a:gd name="connsiteY34" fmla="*/ 1766334 h 1970826"/>
              <a:gd name="connsiteX35" fmla="*/ 1100680 w 1971297"/>
              <a:gd name="connsiteY35" fmla="*/ 1773318 h 1970826"/>
              <a:gd name="connsiteX36" fmla="*/ 1062288 w 1971297"/>
              <a:gd name="connsiteY36" fmla="*/ 1970826 h 1970826"/>
              <a:gd name="connsiteX37" fmla="*/ 902210 w 1971297"/>
              <a:gd name="connsiteY37" fmla="*/ 1969728 h 1970826"/>
              <a:gd name="connsiteX38" fmla="*/ 870884 w 1971297"/>
              <a:gd name="connsiteY38" fmla="*/ 1773359 h 1970826"/>
              <a:gd name="connsiteX39" fmla="*/ 825096 w 1971297"/>
              <a:gd name="connsiteY39" fmla="*/ 1766334 h 1970826"/>
              <a:gd name="connsiteX40" fmla="*/ 724057 w 1971297"/>
              <a:gd name="connsiteY40" fmla="*/ 1941349 h 1970826"/>
              <a:gd name="connsiteX41" fmla="*/ 572352 w 1971297"/>
              <a:gd name="connsiteY41" fmla="*/ 1886133 h 1970826"/>
              <a:gd name="connsiteX42" fmla="*/ 607450 w 1971297"/>
              <a:gd name="connsiteY42" fmla="*/ 1687117 h 1970826"/>
              <a:gd name="connsiteX43" fmla="*/ 571181 w 1971297"/>
              <a:gd name="connsiteY43" fmla="*/ 1662485 h 1970826"/>
              <a:gd name="connsiteX44" fmla="*/ 421150 w 1971297"/>
              <a:gd name="connsiteY44" fmla="*/ 1792613 h 1970826"/>
              <a:gd name="connsiteX45" fmla="*/ 297817 w 1971297"/>
              <a:gd name="connsiteY45" fmla="*/ 1690557 h 1970826"/>
              <a:gd name="connsiteX46" fmla="*/ 395006 w 1971297"/>
              <a:gd name="connsiteY46" fmla="*/ 1515223 h 1970826"/>
              <a:gd name="connsiteX47" fmla="*/ 361468 w 1971297"/>
              <a:gd name="connsiteY47" fmla="*/ 1480715 h 1970826"/>
              <a:gd name="connsiteX48" fmla="*/ 171570 w 1971297"/>
              <a:gd name="connsiteY48" fmla="*/ 1549837 h 1970826"/>
              <a:gd name="connsiteX49" fmla="*/ 90850 w 1971297"/>
              <a:gd name="connsiteY49" fmla="*/ 1410026 h 1970826"/>
              <a:gd name="connsiteX50" fmla="*/ 245661 w 1971297"/>
              <a:gd name="connsiteY50" fmla="*/ 1280131 h 1970826"/>
              <a:gd name="connsiteX51" fmla="*/ 233972 w 1971297"/>
              <a:gd name="connsiteY51" fmla="*/ 1245643 h 1970826"/>
              <a:gd name="connsiteX52" fmla="*/ 31451 w 1971297"/>
              <a:gd name="connsiteY52" fmla="*/ 1248953 h 1970826"/>
              <a:gd name="connsiteX53" fmla="*/ 2573 w 1971297"/>
              <a:gd name="connsiteY53" fmla="*/ 1091497 h 1970826"/>
              <a:gd name="connsiteX54" fmla="*/ 191133 w 1971297"/>
              <a:gd name="connsiteY54" fmla="*/ 1019115 h 1970826"/>
              <a:gd name="connsiteX55" fmla="*/ 189902 w 1971297"/>
              <a:gd name="connsiteY55" fmla="*/ 963904 h 1970826"/>
              <a:gd name="connsiteX56" fmla="*/ 0 w 1971297"/>
              <a:gd name="connsiteY56" fmla="*/ 894790 h 1970826"/>
              <a:gd name="connsiteX57" fmla="*/ 28034 w 1971297"/>
              <a:gd name="connsiteY57" fmla="*/ 735802 h 1970826"/>
              <a:gd name="connsiteX58" fmla="*/ 230121 w 1971297"/>
              <a:gd name="connsiteY58" fmla="*/ 735808 h 1970826"/>
              <a:gd name="connsiteX59" fmla="*/ 240919 w 1971297"/>
              <a:gd name="connsiteY59" fmla="*/ 708079 h 1970826"/>
              <a:gd name="connsiteX60" fmla="*/ 84936 w 1971297"/>
              <a:gd name="connsiteY60" fmla="*/ 585933 h 1970826"/>
              <a:gd name="connsiteX61" fmla="*/ 161584 w 1971297"/>
              <a:gd name="connsiteY61" fmla="*/ 445393 h 1970826"/>
              <a:gd name="connsiteX62" fmla="*/ 354366 w 1971297"/>
              <a:gd name="connsiteY62" fmla="*/ 508031 h 1970826"/>
              <a:gd name="connsiteX63" fmla="*/ 390674 w 1971297"/>
              <a:gd name="connsiteY63" fmla="*/ 457722 h 1970826"/>
              <a:gd name="connsiteX64" fmla="*/ 289626 w 1971297"/>
              <a:gd name="connsiteY64" fmla="*/ 282712 h 1970826"/>
              <a:gd name="connsiteX65" fmla="*/ 413297 w 1971297"/>
              <a:gd name="connsiteY65" fmla="*/ 178940 h 1970826"/>
              <a:gd name="connsiteX66" fmla="*/ 568101 w 1971297"/>
              <a:gd name="connsiteY66" fmla="*/ 308843 h 1970826"/>
              <a:gd name="connsiteX67" fmla="*/ 611018 w 1971297"/>
              <a:gd name="connsiteY67" fmla="*/ 285324 h 1970826"/>
              <a:gd name="connsiteX68" fmla="*/ 576674 w 1971297"/>
              <a:gd name="connsiteY68" fmla="*/ 89277 h 1970826"/>
              <a:gd name="connsiteX69" fmla="*/ 727674 w 1971297"/>
              <a:gd name="connsiteY69" fmla="*/ 36123 h 1970826"/>
              <a:gd name="connsiteX70" fmla="*/ 826689 w 1971297"/>
              <a:gd name="connsiteY70" fmla="*/ 207623 h 1970826"/>
              <a:gd name="connsiteX71" fmla="*/ 869841 w 1971297"/>
              <a:gd name="connsiteY71" fmla="*/ 199018 h 1970826"/>
              <a:gd name="connsiteX72" fmla="*/ 904928 w 1971297"/>
              <a:gd name="connsiteY72" fmla="*/ 0 h 197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971297" h="1970826">
                <a:moveTo>
                  <a:pt x="904928" y="0"/>
                </a:moveTo>
                <a:lnTo>
                  <a:pt x="1066369" y="0"/>
                </a:lnTo>
                <a:lnTo>
                  <a:pt x="1101456" y="199018"/>
                </a:lnTo>
                <a:lnTo>
                  <a:pt x="1149113" y="208521"/>
                </a:lnTo>
                <a:lnTo>
                  <a:pt x="1245734" y="36367"/>
                </a:lnTo>
                <a:lnTo>
                  <a:pt x="1396309" y="90716"/>
                </a:lnTo>
                <a:lnTo>
                  <a:pt x="1364293" y="287523"/>
                </a:lnTo>
                <a:lnTo>
                  <a:pt x="1403197" y="308843"/>
                </a:lnTo>
                <a:lnTo>
                  <a:pt x="1558001" y="178940"/>
                </a:lnTo>
                <a:lnTo>
                  <a:pt x="1681671" y="282712"/>
                </a:lnTo>
                <a:lnTo>
                  <a:pt x="1580623" y="457722"/>
                </a:lnTo>
                <a:lnTo>
                  <a:pt x="1610608" y="499270"/>
                </a:lnTo>
                <a:lnTo>
                  <a:pt x="1802874" y="433067"/>
                </a:lnTo>
                <a:lnTo>
                  <a:pt x="1881963" y="572248"/>
                </a:lnTo>
                <a:lnTo>
                  <a:pt x="1726590" y="698353"/>
                </a:lnTo>
                <a:lnTo>
                  <a:pt x="1741176" y="735808"/>
                </a:lnTo>
                <a:lnTo>
                  <a:pt x="1943264" y="735802"/>
                </a:lnTo>
                <a:lnTo>
                  <a:pt x="1971297" y="894790"/>
                </a:lnTo>
                <a:lnTo>
                  <a:pt x="1781396" y="963903"/>
                </a:lnTo>
                <a:cubicBezTo>
                  <a:pt x="1781019" y="980828"/>
                  <a:pt x="1780641" y="997752"/>
                  <a:pt x="1780264" y="1014677"/>
                </a:cubicBezTo>
                <a:lnTo>
                  <a:pt x="1969010" y="1087130"/>
                </a:lnTo>
                <a:lnTo>
                  <a:pt x="1940132" y="1244586"/>
                </a:lnTo>
                <a:lnTo>
                  <a:pt x="1738798" y="1241295"/>
                </a:lnTo>
                <a:lnTo>
                  <a:pt x="1725636" y="1280130"/>
                </a:lnTo>
                <a:lnTo>
                  <a:pt x="1880447" y="1410026"/>
                </a:lnTo>
                <a:lnTo>
                  <a:pt x="1799727" y="1549837"/>
                </a:lnTo>
                <a:lnTo>
                  <a:pt x="1609829" y="1480714"/>
                </a:lnTo>
                <a:lnTo>
                  <a:pt x="1579151" y="1512281"/>
                </a:lnTo>
                <a:lnTo>
                  <a:pt x="1677610" y="1689905"/>
                </a:lnTo>
                <a:lnTo>
                  <a:pt x="1554277" y="1791961"/>
                </a:lnTo>
                <a:lnTo>
                  <a:pt x="1402854" y="1660626"/>
                </a:lnTo>
                <a:lnTo>
                  <a:pt x="1363848" y="1687117"/>
                </a:lnTo>
                <a:lnTo>
                  <a:pt x="1398945" y="1886133"/>
                </a:lnTo>
                <a:lnTo>
                  <a:pt x="1247240" y="1941349"/>
                </a:lnTo>
                <a:lnTo>
                  <a:pt x="1146202" y="1766334"/>
                </a:lnTo>
                <a:lnTo>
                  <a:pt x="1100680" y="1773318"/>
                </a:lnTo>
                <a:lnTo>
                  <a:pt x="1062288" y="1970826"/>
                </a:lnTo>
                <a:lnTo>
                  <a:pt x="902210" y="1969728"/>
                </a:lnTo>
                <a:lnTo>
                  <a:pt x="870884" y="1773359"/>
                </a:lnTo>
                <a:lnTo>
                  <a:pt x="825096" y="1766334"/>
                </a:lnTo>
                <a:lnTo>
                  <a:pt x="724057" y="1941349"/>
                </a:lnTo>
                <a:lnTo>
                  <a:pt x="572352" y="1886133"/>
                </a:lnTo>
                <a:lnTo>
                  <a:pt x="607450" y="1687117"/>
                </a:lnTo>
                <a:lnTo>
                  <a:pt x="571181" y="1662485"/>
                </a:lnTo>
                <a:lnTo>
                  <a:pt x="421150" y="1792613"/>
                </a:lnTo>
                <a:lnTo>
                  <a:pt x="297817" y="1690557"/>
                </a:lnTo>
                <a:lnTo>
                  <a:pt x="395006" y="1515223"/>
                </a:lnTo>
                <a:lnTo>
                  <a:pt x="361468" y="1480715"/>
                </a:lnTo>
                <a:lnTo>
                  <a:pt x="171570" y="1549837"/>
                </a:lnTo>
                <a:lnTo>
                  <a:pt x="90850" y="1410026"/>
                </a:lnTo>
                <a:lnTo>
                  <a:pt x="245661" y="1280131"/>
                </a:lnTo>
                <a:lnTo>
                  <a:pt x="233972" y="1245643"/>
                </a:lnTo>
                <a:lnTo>
                  <a:pt x="31451" y="1248953"/>
                </a:lnTo>
                <a:lnTo>
                  <a:pt x="2573" y="1091497"/>
                </a:lnTo>
                <a:lnTo>
                  <a:pt x="191133" y="1019115"/>
                </a:lnTo>
                <a:cubicBezTo>
                  <a:pt x="190723" y="1000711"/>
                  <a:pt x="190312" y="982308"/>
                  <a:pt x="189902" y="963904"/>
                </a:cubicBezTo>
                <a:lnTo>
                  <a:pt x="0" y="894790"/>
                </a:lnTo>
                <a:lnTo>
                  <a:pt x="28034" y="735802"/>
                </a:lnTo>
                <a:lnTo>
                  <a:pt x="230121" y="735808"/>
                </a:lnTo>
                <a:lnTo>
                  <a:pt x="240919" y="708079"/>
                </a:lnTo>
                <a:lnTo>
                  <a:pt x="84936" y="585933"/>
                </a:lnTo>
                <a:lnTo>
                  <a:pt x="161584" y="445393"/>
                </a:lnTo>
                <a:lnTo>
                  <a:pt x="354366" y="508031"/>
                </a:lnTo>
                <a:lnTo>
                  <a:pt x="390674" y="457722"/>
                </a:lnTo>
                <a:lnTo>
                  <a:pt x="289626" y="282712"/>
                </a:lnTo>
                <a:lnTo>
                  <a:pt x="413297" y="178940"/>
                </a:lnTo>
                <a:lnTo>
                  <a:pt x="568101" y="308843"/>
                </a:lnTo>
                <a:lnTo>
                  <a:pt x="611018" y="285324"/>
                </a:lnTo>
                <a:lnTo>
                  <a:pt x="576674" y="89277"/>
                </a:lnTo>
                <a:lnTo>
                  <a:pt x="727674" y="36123"/>
                </a:lnTo>
                <a:lnTo>
                  <a:pt x="826689" y="207623"/>
                </a:lnTo>
                <a:lnTo>
                  <a:pt x="869841" y="199018"/>
                </a:lnTo>
                <a:lnTo>
                  <a:pt x="904928" y="0"/>
                </a:lnTo>
                <a:close/>
              </a:path>
            </a:pathLst>
          </a:custGeom>
          <a:solidFill>
            <a:schemeClr val="accent1">
              <a:lumMod val="20000"/>
              <a:lumOff val="80000"/>
            </a:scheme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70287" tIns="769233" rIns="670287" bIns="821356" numCol="1" spcCol="1270" anchor="ctr" anchorCtr="0">
            <a:noAutofit/>
          </a:bodyPr>
          <a:lstStyle/>
          <a:p>
            <a:pPr algn="ctr" defTabSz="2489138">
              <a:lnSpc>
                <a:spcPct val="90000"/>
              </a:lnSpc>
              <a:spcBef>
                <a:spcPct val="0"/>
              </a:spcBef>
              <a:spcAft>
                <a:spcPct val="35000"/>
              </a:spcAft>
            </a:pPr>
            <a:endParaRPr lang="en-US" sz="5600" dirty="0">
              <a:solidFill>
                <a:prstClr val="white"/>
              </a:solidFill>
              <a:latin typeface="Arial" panose="020B0604020202020204"/>
            </a:endParaRPr>
          </a:p>
        </p:txBody>
      </p:sp>
      <p:pic>
        <p:nvPicPr>
          <p:cNvPr id="32" name="Graphic 31">
            <a:extLst>
              <a:ext uri="{FF2B5EF4-FFF2-40B4-BE49-F238E27FC236}">
                <a16:creationId xmlns:a16="http://schemas.microsoft.com/office/drawing/2014/main" id="{A0921F40-3C58-C934-0A1B-B4BB92A6B1E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931208" y="3541109"/>
            <a:ext cx="561600" cy="561600"/>
          </a:xfrm>
          <a:prstGeom prst="rect">
            <a:avLst/>
          </a:prstGeom>
        </p:spPr>
      </p:pic>
      <p:pic>
        <p:nvPicPr>
          <p:cNvPr id="33" name="Graphic 32">
            <a:extLst>
              <a:ext uri="{FF2B5EF4-FFF2-40B4-BE49-F238E27FC236}">
                <a16:creationId xmlns:a16="http://schemas.microsoft.com/office/drawing/2014/main" id="{31363FC2-6F9C-AC7C-ECB3-9DA20EF3727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743073" y="1480192"/>
            <a:ext cx="491400" cy="561600"/>
          </a:xfrm>
          <a:prstGeom prst="rect">
            <a:avLst/>
          </a:prstGeom>
        </p:spPr>
      </p:pic>
      <p:pic>
        <p:nvPicPr>
          <p:cNvPr id="34" name="Graphic 33">
            <a:extLst>
              <a:ext uri="{FF2B5EF4-FFF2-40B4-BE49-F238E27FC236}">
                <a16:creationId xmlns:a16="http://schemas.microsoft.com/office/drawing/2014/main" id="{FB5AA867-FEB0-4855-419F-D2DB133089B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228128" y="2217125"/>
            <a:ext cx="514800" cy="561600"/>
          </a:xfrm>
          <a:prstGeom prst="rect">
            <a:avLst/>
          </a:prstGeom>
        </p:spPr>
      </p:pic>
      <p:pic>
        <p:nvPicPr>
          <p:cNvPr id="35" name="Graphic 34">
            <a:extLst>
              <a:ext uri="{FF2B5EF4-FFF2-40B4-BE49-F238E27FC236}">
                <a16:creationId xmlns:a16="http://schemas.microsoft.com/office/drawing/2014/main" id="{AC8D70E9-E209-5CE9-CB52-1C7309B18D5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187004" y="3972549"/>
            <a:ext cx="468000" cy="561600"/>
          </a:xfrm>
          <a:prstGeom prst="rect">
            <a:avLst/>
          </a:prstGeom>
        </p:spPr>
      </p:pic>
      <p:pic>
        <p:nvPicPr>
          <p:cNvPr id="36" name="Graphic 35">
            <a:extLst>
              <a:ext uri="{FF2B5EF4-FFF2-40B4-BE49-F238E27FC236}">
                <a16:creationId xmlns:a16="http://schemas.microsoft.com/office/drawing/2014/main" id="{87EC7349-2180-9E32-7BD7-39BF9FA1CCF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298223" y="2461121"/>
            <a:ext cx="561600" cy="561600"/>
          </a:xfrm>
          <a:prstGeom prst="rect">
            <a:avLst/>
          </a:prstGeom>
        </p:spPr>
      </p:pic>
      <p:pic>
        <p:nvPicPr>
          <p:cNvPr id="37" name="Graphic 36">
            <a:extLst>
              <a:ext uri="{FF2B5EF4-FFF2-40B4-BE49-F238E27FC236}">
                <a16:creationId xmlns:a16="http://schemas.microsoft.com/office/drawing/2014/main" id="{004D5878-0B7E-BC28-9DB5-2C33D9BD7076}"/>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312323" y="1213204"/>
            <a:ext cx="266700" cy="304800"/>
          </a:xfrm>
          <a:prstGeom prst="rect">
            <a:avLst/>
          </a:prstGeom>
        </p:spPr>
      </p:pic>
    </p:spTree>
    <p:extLst>
      <p:ext uri="{BB962C8B-B14F-4D97-AF65-F5344CB8AC3E}">
        <p14:creationId xmlns:p14="http://schemas.microsoft.com/office/powerpoint/2010/main" val="1584018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5">
            <a:extLst>
              <a:ext uri="{FF2B5EF4-FFF2-40B4-BE49-F238E27FC236}">
                <a16:creationId xmlns:a16="http://schemas.microsoft.com/office/drawing/2014/main" id="{690A1E5D-5486-6994-38BE-2C261CB33121}"/>
              </a:ext>
            </a:extLst>
          </p:cNvPr>
          <p:cNvSpPr>
            <a:spLocks noGrp="1"/>
          </p:cNvSpPr>
          <p:nvPr>
            <p:ph idx="1"/>
          </p:nvPr>
        </p:nvSpPr>
        <p:spPr>
          <a:xfrm>
            <a:off x="490979" y="2411152"/>
            <a:ext cx="10443745" cy="4212061"/>
          </a:xfrm>
        </p:spPr>
        <p:txBody>
          <a:bodyPr>
            <a:noAutofit/>
          </a:bodyPr>
          <a:lstStyle/>
          <a:p>
            <a:pPr marL="380990" indent="-380990">
              <a:buClr>
                <a:schemeClr val="tx2"/>
              </a:buClr>
              <a:buSzPct val="130000"/>
              <a:buFont typeface="Wingdings" panose="05000000000000000000" pitchFamily="2" charset="2"/>
              <a:buChar char="§"/>
            </a:pPr>
            <a:r>
              <a:rPr lang="en-GB" sz="1600" b="1" dirty="0">
                <a:latin typeface="+mj-lt"/>
                <a:ea typeface="Calibri" panose="020F0502020204030204" pitchFamily="34" charset="0"/>
                <a:cs typeface="Calibri" panose="020F0502020204030204" pitchFamily="34" charset="0"/>
              </a:rPr>
              <a:t>Write direct, short, and factual sentences</a:t>
            </a:r>
          </a:p>
          <a:p>
            <a:pPr marL="1004974" lvl="1" indent="-380990">
              <a:buClr>
                <a:schemeClr val="tx2"/>
              </a:buClr>
              <a:buSzPct val="130000"/>
              <a:buFont typeface="Wingdings" panose="05000000000000000000" pitchFamily="2" charset="2"/>
              <a:buChar char="§"/>
            </a:pPr>
            <a:r>
              <a:rPr lang="en-GB" sz="1600" dirty="0">
                <a:latin typeface="+mj-lt"/>
                <a:ea typeface="Calibri" panose="020F0502020204030204" pitchFamily="34" charset="0"/>
                <a:cs typeface="Calibri" panose="020F0502020204030204" pitchFamily="34" charset="0"/>
              </a:rPr>
              <a:t>Convey one piece of information per sentence / avoid multiple statements in one sentence</a:t>
            </a:r>
          </a:p>
          <a:p>
            <a:pPr marL="1004974" lvl="1" indent="-380990">
              <a:buClr>
                <a:schemeClr val="tx2"/>
              </a:buClr>
              <a:buSzPct val="130000"/>
              <a:buFont typeface="Wingdings" panose="05000000000000000000" pitchFamily="2" charset="2"/>
              <a:buChar char="§"/>
            </a:pPr>
            <a:r>
              <a:rPr lang="en-GB" sz="1600" dirty="0">
                <a:latin typeface="+mj-lt"/>
                <a:ea typeface="Calibri" panose="020F0502020204030204" pitchFamily="34" charset="0"/>
                <a:cs typeface="Calibri" panose="020F0502020204030204" pitchFamily="34" charset="0"/>
              </a:rPr>
              <a:t>Use active voice to shorten sentences</a:t>
            </a:r>
          </a:p>
          <a:p>
            <a:pPr marL="1004974" lvl="1" indent="-380990">
              <a:buClr>
                <a:schemeClr val="tx2"/>
              </a:buClr>
              <a:buSzPct val="130000"/>
              <a:buFont typeface="Wingdings" panose="05000000000000000000" pitchFamily="2" charset="2"/>
              <a:buChar char="§"/>
            </a:pPr>
            <a:r>
              <a:rPr lang="en-GB" sz="1600" dirty="0">
                <a:latin typeface="+mj-lt"/>
                <a:ea typeface="Calibri" panose="020F0502020204030204" pitchFamily="34" charset="0"/>
                <a:cs typeface="Calibri" panose="020F0502020204030204" pitchFamily="34" charset="0"/>
              </a:rPr>
              <a:t>Avoid contractions and abbreviations where possible </a:t>
            </a:r>
          </a:p>
          <a:p>
            <a:pPr lvl="1" indent="0">
              <a:buClr>
                <a:schemeClr val="tx2"/>
              </a:buClr>
              <a:buSzPct val="130000"/>
              <a:buNone/>
            </a:pPr>
            <a:endParaRPr lang="en-GB" sz="1600" dirty="0">
              <a:latin typeface="+mj-lt"/>
              <a:ea typeface="Calibri" panose="020F0502020204030204" pitchFamily="34" charset="0"/>
              <a:cs typeface="Calibri" panose="020F0502020204030204" pitchFamily="34" charset="0"/>
            </a:endParaRPr>
          </a:p>
          <a:p>
            <a:pPr marL="380990" indent="-380990">
              <a:spcAft>
                <a:spcPts val="0"/>
              </a:spcAft>
              <a:buClr>
                <a:schemeClr val="tx2"/>
              </a:buClr>
              <a:buSzPct val="130000"/>
              <a:buFont typeface="Wingdings" panose="05000000000000000000" pitchFamily="2" charset="2"/>
              <a:buChar char="§"/>
            </a:pPr>
            <a:r>
              <a:rPr lang="en-GB" sz="1600" b="1" dirty="0">
                <a:latin typeface="+mj-lt"/>
                <a:ea typeface="Calibri" panose="020F0502020204030204" pitchFamily="34" charset="0"/>
                <a:cs typeface="Calibri" panose="020F0502020204030204" pitchFamily="34" charset="0"/>
              </a:rPr>
              <a:t>Write in full paragraphs:</a:t>
            </a:r>
          </a:p>
          <a:p>
            <a:pPr marL="1004975" lvl="1" indent="-380990">
              <a:spcAft>
                <a:spcPts val="0"/>
              </a:spcAft>
              <a:buClr>
                <a:schemeClr val="tx2"/>
              </a:buClr>
              <a:buSzPct val="130000"/>
              <a:buFont typeface="Wingdings" panose="05000000000000000000" pitchFamily="2" charset="2"/>
              <a:buChar char="§"/>
            </a:pPr>
            <a:r>
              <a:rPr lang="en-GB" sz="1600" dirty="0">
                <a:latin typeface="+mj-lt"/>
              </a:rPr>
              <a:t>An ideal paragraph consists of an introductory sentence, 2–3 supporting sentences, and a concluding sentence.</a:t>
            </a:r>
          </a:p>
          <a:p>
            <a:pPr marL="1004975" lvl="1" indent="-380990">
              <a:spcAft>
                <a:spcPts val="0"/>
              </a:spcAft>
              <a:buClr>
                <a:schemeClr val="tx2"/>
              </a:buClr>
              <a:buSzPct val="130000"/>
              <a:buFont typeface="Wingdings" panose="05000000000000000000" pitchFamily="2" charset="2"/>
              <a:buChar char="§"/>
            </a:pPr>
            <a:r>
              <a:rPr lang="en-GB" sz="1600" dirty="0">
                <a:latin typeface="+mj-lt"/>
              </a:rPr>
              <a:t>The ideal length of a paragraph is 200 words and five sentences. This allows </a:t>
            </a:r>
          </a:p>
          <a:p>
            <a:pPr marL="623985" lvl="1" indent="0">
              <a:spcAft>
                <a:spcPts val="0"/>
              </a:spcAft>
              <a:buClr>
                <a:schemeClr val="tx2"/>
              </a:buClr>
              <a:buSzPct val="130000"/>
              <a:buNone/>
            </a:pPr>
            <a:r>
              <a:rPr lang="en-GB" sz="1600" dirty="0">
                <a:latin typeface="+mj-lt"/>
              </a:rPr>
              <a:t>      the readers to get a good grasp of what the topic is about. </a:t>
            </a:r>
          </a:p>
          <a:p>
            <a:pPr>
              <a:buClr>
                <a:schemeClr val="tx2"/>
              </a:buClr>
              <a:buSzPct val="130000"/>
            </a:pPr>
            <a:endParaRPr lang="en-GB" sz="1600" dirty="0">
              <a:latin typeface="+mj-lt"/>
            </a:endParaRPr>
          </a:p>
          <a:p>
            <a:pPr marL="380990" indent="-380990">
              <a:buClr>
                <a:schemeClr val="tx2"/>
              </a:buClr>
              <a:buSzPct val="130000"/>
              <a:buFont typeface="Wingdings" panose="05000000000000000000" pitchFamily="2" charset="2"/>
              <a:buChar char="§"/>
            </a:pPr>
            <a:endParaRPr lang="en-GB" sz="1600" dirty="0">
              <a:latin typeface="+mj-lt"/>
            </a:endParaRPr>
          </a:p>
          <a:p>
            <a:pPr marL="457189" indent="-457189">
              <a:buClr>
                <a:schemeClr val="tx2"/>
              </a:buClr>
              <a:buSzPct val="130000"/>
              <a:buFont typeface="Wingdings" panose="05000000000000000000" pitchFamily="2" charset="2"/>
              <a:buChar char="§"/>
            </a:pPr>
            <a:endParaRPr lang="en-GB" sz="1600" dirty="0">
              <a:latin typeface="+mj-lt"/>
            </a:endParaRPr>
          </a:p>
        </p:txBody>
      </p:sp>
      <p:sp>
        <p:nvSpPr>
          <p:cNvPr id="5" name="Titel 7">
            <a:extLst>
              <a:ext uri="{FF2B5EF4-FFF2-40B4-BE49-F238E27FC236}">
                <a16:creationId xmlns:a16="http://schemas.microsoft.com/office/drawing/2014/main" id="{3F700130-0E85-070A-2373-D62A5BE1BD45}"/>
              </a:ext>
            </a:extLst>
          </p:cNvPr>
          <p:cNvSpPr>
            <a:spLocks noGrp="1"/>
          </p:cNvSpPr>
          <p:nvPr>
            <p:ph type="title"/>
          </p:nvPr>
        </p:nvSpPr>
        <p:spPr>
          <a:xfrm>
            <a:off x="490979" y="465572"/>
            <a:ext cx="5694721" cy="673100"/>
          </a:xfrm>
        </p:spPr>
        <p:txBody>
          <a:bodyPr/>
          <a:lstStyle/>
          <a:p>
            <a:r>
              <a:rPr lang="en-US" dirty="0">
                <a:latin typeface="Georgia" panose="02040502050405020303" pitchFamily="18" charset="0"/>
              </a:rPr>
              <a:t>Importance of language </a:t>
            </a:r>
          </a:p>
        </p:txBody>
      </p:sp>
      <p:sp>
        <p:nvSpPr>
          <p:cNvPr id="7" name="TextBox 6">
            <a:extLst>
              <a:ext uri="{FF2B5EF4-FFF2-40B4-BE49-F238E27FC236}">
                <a16:creationId xmlns:a16="http://schemas.microsoft.com/office/drawing/2014/main" id="{1F2FD671-8CC1-15F5-F08C-5310A593471B}"/>
              </a:ext>
            </a:extLst>
          </p:cNvPr>
          <p:cNvSpPr txBox="1"/>
          <p:nvPr/>
        </p:nvSpPr>
        <p:spPr>
          <a:xfrm>
            <a:off x="490979" y="1359413"/>
            <a:ext cx="11736107" cy="830997"/>
          </a:xfrm>
          <a:prstGeom prst="rect">
            <a:avLst/>
          </a:prstGeom>
          <a:noFill/>
        </p:spPr>
        <p:txBody>
          <a:bodyPr wrap="square">
            <a:spAutoFit/>
          </a:bodyPr>
          <a:lstStyle/>
          <a:p>
            <a:pPr defTabSz="1219170"/>
            <a:r>
              <a:rPr lang="en-US" sz="2400" dirty="0">
                <a:solidFill>
                  <a:srgbClr val="0070C0"/>
                </a:solidFill>
                <a:latin typeface="Georgia" panose="02040502050405020303" pitchFamily="18" charset="0"/>
                <a:ea typeface="Calibri" panose="020F0502020204030204" pitchFamily="34" charset="0"/>
                <a:cs typeface="Calibri" panose="020F0502020204030204" pitchFamily="34" charset="0"/>
              </a:rPr>
              <a:t>It is not only important to have a message but also to be able to successfully communicate the message</a:t>
            </a:r>
          </a:p>
        </p:txBody>
      </p:sp>
      <p:pic>
        <p:nvPicPr>
          <p:cNvPr id="2" name="Picture Placeholder 8" descr="A picture containing text&#10;&#10;Description automatically generated">
            <a:extLst>
              <a:ext uri="{FF2B5EF4-FFF2-40B4-BE49-F238E27FC236}">
                <a16:creationId xmlns:a16="http://schemas.microsoft.com/office/drawing/2014/main" id="{9263FD17-6D4E-4770-2763-96E8CED447DD}"/>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8593393" y="5013145"/>
            <a:ext cx="3444927" cy="1680035"/>
          </a:xfrm>
          <a:prstGeom prst="rect">
            <a:avLst/>
          </a:prstGeom>
        </p:spPr>
      </p:pic>
    </p:spTree>
    <p:extLst>
      <p:ext uri="{BB962C8B-B14F-4D97-AF65-F5344CB8AC3E}">
        <p14:creationId xmlns:p14="http://schemas.microsoft.com/office/powerpoint/2010/main" val="357839607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Sp="0">
  <p:cSld>
    <p:bg>
      <p:bgPr>
        <a:solidFill>
          <a:schemeClr val="tx2"/>
        </a:solidFill>
        <a:effectLst/>
      </p:bgPr>
    </p:bg>
    <p:spTree>
      <p:nvGrpSpPr>
        <p:cNvPr id="1" name="">
          <a:extLst>
            <a:ext uri="{FF2B5EF4-FFF2-40B4-BE49-F238E27FC236}">
              <a16:creationId xmlns:a16="http://schemas.microsoft.com/office/drawing/2014/main" id="{D2E24E66-318B-06CA-CDAA-A448C4E74320}"/>
            </a:ext>
          </a:extLst>
        </p:cNvPr>
        <p:cNvGrpSpPr/>
        <p:nvPr/>
      </p:nvGrpSpPr>
      <p:grpSpPr>
        <a:xfrm>
          <a:off x="0" y="0"/>
          <a:ext cx="0" cy="0"/>
          <a:chOff x="0" y="0"/>
          <a:chExt cx="0" cy="0"/>
        </a:xfrm>
      </p:grpSpPr>
      <p:grpSp>
        <p:nvGrpSpPr>
          <p:cNvPr id="54" name="Group 53">
            <a:extLst>
              <a:ext uri="{FF2B5EF4-FFF2-40B4-BE49-F238E27FC236}">
                <a16:creationId xmlns:a16="http://schemas.microsoft.com/office/drawing/2014/main" id="{7067548A-1A90-3BED-213B-754EDFEA42E1}"/>
              </a:ext>
            </a:extLst>
          </p:cNvPr>
          <p:cNvGrpSpPr>
            <a:grpSpLocks noChangeAspect="1"/>
          </p:cNvGrpSpPr>
          <p:nvPr/>
        </p:nvGrpSpPr>
        <p:grpSpPr>
          <a:xfrm>
            <a:off x="1379624" y="142677"/>
            <a:ext cx="9252000" cy="6442983"/>
            <a:chOff x="0" y="0"/>
            <a:chExt cx="11118403" cy="7742724"/>
          </a:xfrm>
        </p:grpSpPr>
        <p:grpSp>
          <p:nvGrpSpPr>
            <p:cNvPr id="50" name="Group 49">
              <a:extLst>
                <a:ext uri="{FF2B5EF4-FFF2-40B4-BE49-F238E27FC236}">
                  <a16:creationId xmlns:a16="http://schemas.microsoft.com/office/drawing/2014/main" id="{F2805456-EF24-3A85-50F1-521CAD10C336}"/>
                </a:ext>
              </a:extLst>
            </p:cNvPr>
            <p:cNvGrpSpPr/>
            <p:nvPr/>
          </p:nvGrpSpPr>
          <p:grpSpPr>
            <a:xfrm>
              <a:off x="0" y="0"/>
              <a:ext cx="11118403" cy="5114260"/>
              <a:chOff x="0" y="627320"/>
              <a:chExt cx="11118403" cy="5114260"/>
            </a:xfrm>
          </p:grpSpPr>
          <p:pic>
            <p:nvPicPr>
              <p:cNvPr id="48" name="Picture 47" descr="A person smiling at the camera&#10;&#10;AI-generated content may be incorrect.">
                <a:extLst>
                  <a:ext uri="{FF2B5EF4-FFF2-40B4-BE49-F238E27FC236}">
                    <a16:creationId xmlns:a16="http://schemas.microsoft.com/office/drawing/2014/main" id="{9E7D3623-FAAA-6532-EE3F-FC5EDDB5D78E}"/>
                  </a:ext>
                </a:extLst>
              </p:cNvPr>
              <p:cNvPicPr>
                <a:picLocks noChangeAspect="1"/>
              </p:cNvPicPr>
              <p:nvPr/>
            </p:nvPicPr>
            <p:blipFill>
              <a:blip r:embed="rId3">
                <a:extLst>
                  <a:ext uri="{28A0092B-C50C-407E-A947-70E740481C1C}">
                    <a14:useLocalDpi xmlns:a14="http://schemas.microsoft.com/office/drawing/2010/main" val="0"/>
                  </a:ext>
                </a:extLst>
              </a:blip>
              <a:srcRect l="1" t="13643" r="1081" b="41551"/>
              <a:stretch>
                <a:fillRect/>
              </a:stretch>
            </p:blipFill>
            <p:spPr>
              <a:xfrm>
                <a:off x="0" y="627320"/>
                <a:ext cx="11118403" cy="3072812"/>
              </a:xfrm>
              <a:prstGeom prst="rect">
                <a:avLst/>
              </a:prstGeom>
            </p:spPr>
          </p:pic>
          <p:pic>
            <p:nvPicPr>
              <p:cNvPr id="49" name="Picture 48" descr="A screenshot of a computer&#10;&#10;AI-generated content may be incorrect.">
                <a:extLst>
                  <a:ext uri="{FF2B5EF4-FFF2-40B4-BE49-F238E27FC236}">
                    <a16:creationId xmlns:a16="http://schemas.microsoft.com/office/drawing/2014/main" id="{F9B425DF-C0E6-7621-F4BB-7082EF4F6B63}"/>
                  </a:ext>
                </a:extLst>
              </p:cNvPr>
              <p:cNvPicPr>
                <a:picLocks noChangeAspect="1"/>
              </p:cNvPicPr>
              <p:nvPr/>
            </p:nvPicPr>
            <p:blipFill>
              <a:blip r:embed="rId4">
                <a:extLst>
                  <a:ext uri="{28A0092B-C50C-407E-A947-70E740481C1C}">
                    <a14:useLocalDpi xmlns:a14="http://schemas.microsoft.com/office/drawing/2010/main" val="0"/>
                  </a:ext>
                </a:extLst>
              </a:blip>
              <a:srcRect l="1" t="15349" r="1081" b="54806"/>
              <a:stretch>
                <a:fillRect/>
              </a:stretch>
            </p:blipFill>
            <p:spPr>
              <a:xfrm>
                <a:off x="0" y="3694814"/>
                <a:ext cx="11118403" cy="2046766"/>
              </a:xfrm>
              <a:prstGeom prst="rect">
                <a:avLst/>
              </a:prstGeom>
            </p:spPr>
          </p:pic>
        </p:grpSp>
        <p:pic>
          <p:nvPicPr>
            <p:cNvPr id="52" name="Picture 51" descr="A screenshot of a computer&#10;&#10;AI-generated content may be incorrect.">
              <a:extLst>
                <a:ext uri="{FF2B5EF4-FFF2-40B4-BE49-F238E27FC236}">
                  <a16:creationId xmlns:a16="http://schemas.microsoft.com/office/drawing/2014/main" id="{851A5AB3-7C7C-BF1C-5906-BB80DEEED7C1}"/>
                </a:ext>
              </a:extLst>
            </p:cNvPr>
            <p:cNvPicPr>
              <a:picLocks noChangeAspect="1"/>
            </p:cNvPicPr>
            <p:nvPr/>
          </p:nvPicPr>
          <p:blipFill>
            <a:blip r:embed="rId4">
              <a:extLst>
                <a:ext uri="{28A0092B-C50C-407E-A947-70E740481C1C}">
                  <a14:useLocalDpi xmlns:a14="http://schemas.microsoft.com/office/drawing/2010/main" val="0"/>
                </a:ext>
              </a:extLst>
            </a:blip>
            <a:srcRect l="1" t="48049" r="1081" b="8994"/>
            <a:stretch>
              <a:fillRect/>
            </a:stretch>
          </p:blipFill>
          <p:spPr>
            <a:xfrm>
              <a:off x="0" y="4796620"/>
              <a:ext cx="11118403" cy="2946104"/>
            </a:xfrm>
            <a:prstGeom prst="rect">
              <a:avLst/>
            </a:prstGeom>
          </p:spPr>
        </p:pic>
        <p:pic>
          <p:nvPicPr>
            <p:cNvPr id="53" name="Picture 52" descr="A screenshot of a computer&#10;&#10;AI-generated content may be incorrect.">
              <a:extLst>
                <a:ext uri="{FF2B5EF4-FFF2-40B4-BE49-F238E27FC236}">
                  <a16:creationId xmlns:a16="http://schemas.microsoft.com/office/drawing/2014/main" id="{F7B11A51-1559-5F01-D9EC-B4EB575F8CC3}"/>
                </a:ext>
              </a:extLst>
            </p:cNvPr>
            <p:cNvPicPr>
              <a:picLocks noChangeAspect="1"/>
            </p:cNvPicPr>
            <p:nvPr/>
          </p:nvPicPr>
          <p:blipFill>
            <a:blip r:embed="rId4">
              <a:extLst>
                <a:ext uri="{28A0092B-C50C-407E-A947-70E740481C1C}">
                  <a14:useLocalDpi xmlns:a14="http://schemas.microsoft.com/office/drawing/2010/main" val="0"/>
                </a:ext>
              </a:extLst>
            </a:blip>
            <a:srcRect l="1" t="39819" r="1081" b="56040"/>
            <a:stretch>
              <a:fillRect/>
            </a:stretch>
          </p:blipFill>
          <p:spPr>
            <a:xfrm>
              <a:off x="0" y="4512640"/>
              <a:ext cx="11118403" cy="283980"/>
            </a:xfrm>
            <a:prstGeom prst="rect">
              <a:avLst/>
            </a:prstGeom>
          </p:spPr>
        </p:pic>
      </p:grpSp>
    </p:spTree>
    <p:extLst>
      <p:ext uri="{BB962C8B-B14F-4D97-AF65-F5344CB8AC3E}">
        <p14:creationId xmlns:p14="http://schemas.microsoft.com/office/powerpoint/2010/main" val="2453957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55376" y="357324"/>
            <a:ext cx="9187395" cy="673100"/>
          </a:xfrm>
        </p:spPr>
        <p:txBody>
          <a:bodyPr/>
          <a:lstStyle/>
          <a:p>
            <a:r>
              <a:rPr lang="en-GB" sz="4400" dirty="0">
                <a:latin typeface="Georgia" panose="02040502050405020303" pitchFamily="18" charset="0"/>
              </a:rPr>
              <a:t>Presenter</a:t>
            </a:r>
            <a:endParaRPr lang="en-US" sz="4400" dirty="0">
              <a:latin typeface="Georgia" panose="02040502050405020303" pitchFamily="18" charset="0"/>
            </a:endParaRPr>
          </a:p>
        </p:txBody>
      </p:sp>
      <p:cxnSp>
        <p:nvCxnSpPr>
          <p:cNvPr id="3" name="Straight Connector 2">
            <a:extLst>
              <a:ext uri="{FF2B5EF4-FFF2-40B4-BE49-F238E27FC236}">
                <a16:creationId xmlns:a16="http://schemas.microsoft.com/office/drawing/2014/main" id="{CA626B59-1165-FE03-DC5A-A1A84EDE022B}"/>
              </a:ext>
            </a:extLst>
          </p:cNvPr>
          <p:cNvCxnSpPr>
            <a:cxnSpLocks/>
          </p:cNvCxnSpPr>
          <p:nvPr/>
        </p:nvCxnSpPr>
        <p:spPr>
          <a:xfrm>
            <a:off x="6471391" y="1237837"/>
            <a:ext cx="0" cy="5146688"/>
          </a:xfrm>
          <a:prstGeom prst="line">
            <a:avLst/>
          </a:prstGeom>
        </p:spPr>
        <p:style>
          <a:lnRef idx="1">
            <a:schemeClr val="accent2"/>
          </a:lnRef>
          <a:fillRef idx="0">
            <a:schemeClr val="accent2"/>
          </a:fillRef>
          <a:effectRef idx="0">
            <a:schemeClr val="accent2"/>
          </a:effectRef>
          <a:fontRef idx="minor">
            <a:schemeClr val="tx1"/>
          </a:fontRef>
        </p:style>
      </p:cxnSp>
      <p:sp>
        <p:nvSpPr>
          <p:cNvPr id="6" name="Text Placeholder 5">
            <a:extLst>
              <a:ext uri="{FF2B5EF4-FFF2-40B4-BE49-F238E27FC236}">
                <a16:creationId xmlns:a16="http://schemas.microsoft.com/office/drawing/2014/main" id="{C35F7FE0-A0CA-8CB2-7747-EFFCFED016C8}"/>
              </a:ext>
            </a:extLst>
          </p:cNvPr>
          <p:cNvSpPr>
            <a:spLocks noGrp="1"/>
          </p:cNvSpPr>
          <p:nvPr>
            <p:ph type="body" sz="quarter" idx="17"/>
          </p:nvPr>
        </p:nvSpPr>
        <p:spPr>
          <a:xfrm>
            <a:off x="305341" y="1069048"/>
            <a:ext cx="6116081" cy="5620163"/>
          </a:xfrm>
        </p:spPr>
        <p:txBody>
          <a:bodyPr/>
          <a:lstStyle/>
          <a:p>
            <a:endParaRPr lang="en-NL" dirty="0">
              <a:latin typeface="+mj-lt"/>
            </a:endParaRPr>
          </a:p>
          <a:p>
            <a:pPr marL="0" indent="0">
              <a:buNone/>
            </a:pPr>
            <a:r>
              <a:rPr lang="en-GB" sz="1600" dirty="0">
                <a:latin typeface="+mj-lt"/>
              </a:rPr>
              <a:t>Dr. </a:t>
            </a:r>
            <a:r>
              <a:rPr lang="en-NL" sz="1600" dirty="0">
                <a:latin typeface="+mj-lt"/>
              </a:rPr>
              <a:t>Lucy Bennison-Chapman, PhD</a:t>
            </a:r>
            <a:r>
              <a:rPr lang="en-GB" sz="1600" dirty="0">
                <a:latin typeface="+mj-lt"/>
              </a:rPr>
              <a:t> archaeology </a:t>
            </a:r>
            <a:endParaRPr lang="en-NL" sz="1600" dirty="0">
              <a:latin typeface="+mj-lt"/>
            </a:endParaRPr>
          </a:p>
          <a:p>
            <a:pPr marL="0" indent="0">
              <a:buNone/>
            </a:pPr>
            <a:endParaRPr lang="en-GB" sz="1600" dirty="0">
              <a:latin typeface="+mj-lt"/>
            </a:endParaRPr>
          </a:p>
          <a:p>
            <a:pPr marL="0" indent="0">
              <a:buNone/>
            </a:pPr>
            <a:r>
              <a:rPr lang="en-GB" sz="1400" dirty="0">
                <a:latin typeface="+mj-lt"/>
              </a:rPr>
              <a:t>Scientific </a:t>
            </a:r>
            <a:r>
              <a:rPr lang="en-NL" sz="1400" dirty="0">
                <a:latin typeface="+mj-lt"/>
              </a:rPr>
              <a:t>Editor</a:t>
            </a:r>
          </a:p>
          <a:p>
            <a:pPr marL="0" indent="0">
              <a:buNone/>
            </a:pPr>
            <a:r>
              <a:rPr lang="en-NL" sz="1400" dirty="0">
                <a:latin typeface="+mj-lt"/>
              </a:rPr>
              <a:t>Social Sciences &amp; Humanities Open</a:t>
            </a:r>
            <a:r>
              <a:rPr lang="en-GB" sz="1400" dirty="0">
                <a:latin typeface="+mj-lt"/>
              </a:rPr>
              <a:t>, Elsevier</a:t>
            </a:r>
          </a:p>
          <a:p>
            <a:pPr marL="0" indent="0">
              <a:buNone/>
            </a:pPr>
            <a:r>
              <a:rPr lang="en-GB" sz="1200" dirty="0">
                <a:latin typeface="+mj-lt"/>
              </a:rPr>
              <a:t> Amsterdam, the Netherlands </a:t>
            </a:r>
            <a:endParaRPr lang="en-NL" sz="1200" dirty="0">
              <a:latin typeface="+mj-lt"/>
            </a:endParaRPr>
          </a:p>
          <a:p>
            <a:pPr marL="0" indent="0">
              <a:buNone/>
            </a:pPr>
            <a:endParaRPr lang="en-NL" sz="1400" dirty="0">
              <a:latin typeface="+mj-lt"/>
            </a:endParaRPr>
          </a:p>
          <a:p>
            <a:pPr marL="0" indent="0">
              <a:buNone/>
            </a:pPr>
            <a:r>
              <a:rPr lang="en-NL" sz="1400" b="0" i="0" dirty="0">
                <a:effectLst/>
                <a:latin typeface="+mj-lt"/>
                <a:ea typeface="Calibri" panose="020F0502020204030204" pitchFamily="34" charset="0"/>
                <a:cs typeface="Calibri" panose="020F0502020204030204" pitchFamily="34" charset="0"/>
              </a:rPr>
              <a:t>Lucy Bennison-Chapman studied in the UK, specializing in history and the archaeology of Ancient Egypt and West Asia. She obtained her PhD in the Archaeology of the Neolithic in West Asia, from the University of Liverpool, July 2015. She held PhD fellowships in Ankara (Türkiye</a:t>
            </a:r>
            <a:r>
              <a:rPr lang="en-NL" sz="1400" dirty="0">
                <a:latin typeface="+mj-lt"/>
                <a:ea typeface="Calibri" panose="020F0502020204030204" pitchFamily="34" charset="0"/>
                <a:cs typeface="Calibri" panose="020F0502020204030204" pitchFamily="34" charset="0"/>
              </a:rPr>
              <a:t>) and Amman (Jordan) and was the Doctoral Teaching Fellow at the University of Liverpool (UK). Lucy has undertaken fieldwork at excavations in central Türkiye, Syria, Kuwait in addition to a number of university and museum-based research placements. After a two-year position as Assistant Professor of Prehistoric Archaeology at Zongulda</a:t>
            </a:r>
            <a:r>
              <a:rPr lang="en-GB" sz="1400" dirty="0">
                <a:latin typeface="+mj-lt"/>
                <a:ea typeface="Calibri" panose="020F0502020204030204" pitchFamily="34" charset="0"/>
                <a:cs typeface="Calibri" panose="020F0502020204030204" pitchFamily="34" charset="0"/>
              </a:rPr>
              <a:t>k </a:t>
            </a:r>
            <a:r>
              <a:rPr lang="en-NL" sz="1400" dirty="0">
                <a:latin typeface="+mj-lt"/>
                <a:ea typeface="Calibri" panose="020F0502020204030204" pitchFamily="34" charset="0"/>
                <a:cs typeface="Calibri" panose="020F0502020204030204" pitchFamily="34" charset="0"/>
              </a:rPr>
              <a:t>Bülent Ecevit University (Türkiye), Lucy became the inaugural Postdoctoral Research Fellow at the Netherlands Institute for the Near East (NINO), Leiden University (2019-2022) where she organised and hosted a multi-disciplinary conference investigating the origins and use of non-written recording systems. She has published extensively in international academic journals and peer reviewed monographs</a:t>
            </a:r>
            <a:r>
              <a:rPr lang="en-GB" sz="1400" dirty="0">
                <a:latin typeface="+mj-lt"/>
                <a:ea typeface="Calibri" panose="020F0502020204030204" pitchFamily="34" charset="0"/>
                <a:cs typeface="Calibri" panose="020F0502020204030204" pitchFamily="34" charset="0"/>
              </a:rPr>
              <a:t> and edited a book on the origins of administration (Peeters 2023)</a:t>
            </a:r>
            <a:r>
              <a:rPr lang="en-NL" sz="1400" dirty="0">
                <a:latin typeface="+mj-lt"/>
                <a:ea typeface="Calibri" panose="020F0502020204030204" pitchFamily="34" charset="0"/>
                <a:cs typeface="Calibri" panose="020F0502020204030204" pitchFamily="34" charset="0"/>
              </a:rPr>
              <a:t>.</a:t>
            </a:r>
            <a:endParaRPr lang="en-GB" sz="1400" b="0" i="0" dirty="0">
              <a:effectLst/>
              <a:latin typeface="+mj-lt"/>
              <a:ea typeface="Calibri" panose="020F0502020204030204" pitchFamily="34" charset="0"/>
              <a:cs typeface="Calibri" panose="020F0502020204030204" pitchFamily="34" charset="0"/>
            </a:endParaRPr>
          </a:p>
          <a:p>
            <a:pPr lvl="2"/>
            <a:endParaRPr lang="en-NL" dirty="0">
              <a:latin typeface="+mj-lt"/>
            </a:endParaRPr>
          </a:p>
        </p:txBody>
      </p:sp>
      <p:pic>
        <p:nvPicPr>
          <p:cNvPr id="8" name="Picture 7" descr="A screenshot of a computer&#10;&#10;Description automatically generated">
            <a:extLst>
              <a:ext uri="{FF2B5EF4-FFF2-40B4-BE49-F238E27FC236}">
                <a16:creationId xmlns:a16="http://schemas.microsoft.com/office/drawing/2014/main" id="{35C32278-F406-3704-992A-9128D1791CEB}"/>
              </a:ext>
            </a:extLst>
          </p:cNvPr>
          <p:cNvPicPr>
            <a:picLocks noChangeAspect="1"/>
          </p:cNvPicPr>
          <p:nvPr/>
        </p:nvPicPr>
        <p:blipFill>
          <a:blip r:embed="rId3">
            <a:extLst>
              <a:ext uri="{28A0092B-C50C-407E-A947-70E740481C1C}">
                <a14:useLocalDpi xmlns:a14="http://schemas.microsoft.com/office/drawing/2010/main" val="0"/>
              </a:ext>
            </a:extLst>
          </a:blip>
          <a:srcRect l="1107" t="1808" r="80552" b="66846"/>
          <a:stretch/>
        </p:blipFill>
        <p:spPr>
          <a:xfrm>
            <a:off x="4955362" y="1425726"/>
            <a:ext cx="1368294" cy="1360404"/>
          </a:xfrm>
          <a:prstGeom prst="rect">
            <a:avLst/>
          </a:prstGeom>
        </p:spPr>
      </p:pic>
      <p:grpSp>
        <p:nvGrpSpPr>
          <p:cNvPr id="5" name="Group 4">
            <a:extLst>
              <a:ext uri="{FF2B5EF4-FFF2-40B4-BE49-F238E27FC236}">
                <a16:creationId xmlns:a16="http://schemas.microsoft.com/office/drawing/2014/main" id="{045FB547-01B1-667A-4751-5DAE7459A16F}"/>
              </a:ext>
            </a:extLst>
          </p:cNvPr>
          <p:cNvGrpSpPr/>
          <p:nvPr/>
        </p:nvGrpSpPr>
        <p:grpSpPr>
          <a:xfrm>
            <a:off x="6521358" y="1567319"/>
            <a:ext cx="4867589" cy="4653389"/>
            <a:chOff x="6521358" y="1567319"/>
            <a:chExt cx="4867589" cy="4653389"/>
          </a:xfrm>
        </p:grpSpPr>
        <p:pic>
          <p:nvPicPr>
            <p:cNvPr id="2" name="Picture Placeholder 4" descr="cover_photo.jpeg">
              <a:extLst>
                <a:ext uri="{FF2B5EF4-FFF2-40B4-BE49-F238E27FC236}">
                  <a16:creationId xmlns:a16="http://schemas.microsoft.com/office/drawing/2014/main" id="{754C4DCB-4B2D-D40B-3A94-46AEF730FC91}"/>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40000" contrast="40000"/>
                      </a14:imgEffect>
                    </a14:imgLayer>
                  </a14:imgProps>
                </a:ext>
              </a:extLst>
            </a:blip>
            <a:srcRect t="74" b="74"/>
            <a:stretch>
              <a:fillRect/>
            </a:stretch>
          </p:blipFill>
          <p:spPr>
            <a:xfrm>
              <a:off x="7644154" y="2729881"/>
              <a:ext cx="2621997" cy="3490827"/>
            </a:xfrm>
            <a:prstGeom prst="rect">
              <a:avLst/>
            </a:prstGeom>
          </p:spPr>
        </p:pic>
        <p:sp>
          <p:nvSpPr>
            <p:cNvPr id="9" name="TextBox 8">
              <a:extLst>
                <a:ext uri="{FF2B5EF4-FFF2-40B4-BE49-F238E27FC236}">
                  <a16:creationId xmlns:a16="http://schemas.microsoft.com/office/drawing/2014/main" id="{D8200762-71E0-45B5-77DB-937D1BF2A6FC}"/>
                </a:ext>
              </a:extLst>
            </p:cNvPr>
            <p:cNvSpPr txBox="1"/>
            <p:nvPr/>
          </p:nvSpPr>
          <p:spPr>
            <a:xfrm>
              <a:off x="6521358" y="1567319"/>
              <a:ext cx="4867589" cy="1077218"/>
            </a:xfrm>
            <a:prstGeom prst="rect">
              <a:avLst/>
            </a:prstGeom>
            <a:noFill/>
          </p:spPr>
          <p:txBody>
            <a:bodyPr wrap="square">
              <a:spAutoFit/>
            </a:bodyPr>
            <a:lstStyle/>
            <a:p>
              <a:pPr algn="ctr">
                <a:buNone/>
              </a:pPr>
              <a:r>
                <a:rPr lang="en-GB" sz="1600" b="0" i="1" dirty="0">
                  <a:solidFill>
                    <a:schemeClr val="accent2"/>
                  </a:solidFill>
                  <a:effectLst/>
                  <a:latin typeface="+mj-lt"/>
                </a:rPr>
                <a:t>Social Sciences &amp; Humanities Open</a:t>
              </a:r>
            </a:p>
            <a:p>
              <a:pPr algn="ctr">
                <a:buNone/>
              </a:pPr>
              <a:r>
                <a:rPr lang="en-GB" sz="1600" b="0" i="0" dirty="0">
                  <a:solidFill>
                    <a:schemeClr val="accent2"/>
                  </a:solidFill>
                  <a:effectLst/>
                  <a:latin typeface="+mj-lt"/>
                </a:rPr>
                <a:t> </a:t>
              </a:r>
              <a:r>
                <a:rPr lang="en-GB" sz="1600" b="0" i="0" dirty="0">
                  <a:solidFill>
                    <a:srgbClr val="1F1F1F"/>
                  </a:solidFill>
                  <a:effectLst/>
                  <a:latin typeface="+mj-lt"/>
                </a:rPr>
                <a:t>is multidisciplinary, Gold open access scientific journal covering all areas of the social sciences, economics, and arts humanities.</a:t>
              </a:r>
            </a:p>
          </p:txBody>
        </p:sp>
      </p:grpSp>
    </p:spTree>
    <p:extLst>
      <p:ext uri="{BB962C8B-B14F-4D97-AF65-F5344CB8AC3E}">
        <p14:creationId xmlns:p14="http://schemas.microsoft.com/office/powerpoint/2010/main" val="3898150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83A610-714F-4046-D294-3C9622881E0D}"/>
            </a:ext>
          </a:extLst>
        </p:cNvPr>
        <p:cNvGrpSpPr/>
        <p:nvPr/>
      </p:nvGrpSpPr>
      <p:grpSpPr>
        <a:xfrm>
          <a:off x="0" y="0"/>
          <a:ext cx="0" cy="0"/>
          <a:chOff x="0" y="0"/>
          <a:chExt cx="0" cy="0"/>
        </a:xfrm>
      </p:grpSpPr>
      <p:sp>
        <p:nvSpPr>
          <p:cNvPr id="7" name="Text Placeholder 6">
            <a:extLst>
              <a:ext uri="{FF2B5EF4-FFF2-40B4-BE49-F238E27FC236}">
                <a16:creationId xmlns:a16="http://schemas.microsoft.com/office/drawing/2014/main" id="{EEDABEE7-7F8E-7D40-D084-04B4633E8A37}"/>
              </a:ext>
            </a:extLst>
          </p:cNvPr>
          <p:cNvSpPr>
            <a:spLocks noGrp="1"/>
          </p:cNvSpPr>
          <p:nvPr>
            <p:ph type="body" sz="quarter" idx="13"/>
          </p:nvPr>
        </p:nvSpPr>
        <p:spPr>
          <a:xfrm>
            <a:off x="253840" y="1487609"/>
            <a:ext cx="8890159" cy="4762629"/>
          </a:xfrm>
          <a:noFill/>
        </p:spPr>
        <p:txBody>
          <a:bodyPr/>
          <a:lstStyle/>
          <a:p>
            <a:pPr marL="0" lvl="0" indent="0">
              <a:buNone/>
            </a:pPr>
            <a:r>
              <a:rPr lang="en-US" sz="2400" b="1" dirty="0">
                <a:latin typeface="Georgia" panose="02040502050405020303" pitchFamily="18" charset="0"/>
              </a:rPr>
              <a:t>House style or </a:t>
            </a:r>
            <a:r>
              <a:rPr lang="en-US" sz="2400" b="1" i="1" dirty="0">
                <a:latin typeface="Georgia" panose="02040502050405020303" pitchFamily="18" charset="0"/>
              </a:rPr>
              <a:t>Your paper your way?</a:t>
            </a:r>
            <a:endParaRPr lang="en-GB" sz="2400" dirty="0">
              <a:latin typeface="Georgia" panose="02040502050405020303" pitchFamily="18" charset="0"/>
            </a:endParaRPr>
          </a:p>
          <a:p>
            <a:pPr marL="0" indent="0">
              <a:buNone/>
            </a:pPr>
            <a:r>
              <a:rPr lang="en-GB" sz="1600" dirty="0">
                <a:latin typeface="+mj-lt"/>
              </a:rPr>
              <a:t> </a:t>
            </a:r>
          </a:p>
          <a:p>
            <a:r>
              <a:rPr lang="en-GB" sz="1600" dirty="0">
                <a:latin typeface="+mj-lt"/>
              </a:rPr>
              <a:t>Must follow </a:t>
            </a:r>
            <a:r>
              <a:rPr lang="en-GB" sz="1600" i="1" dirty="0">
                <a:latin typeface="+mj-lt"/>
              </a:rPr>
              <a:t>one </a:t>
            </a:r>
            <a:r>
              <a:rPr lang="en-GB" sz="1600" dirty="0">
                <a:latin typeface="+mj-lt"/>
              </a:rPr>
              <a:t>style, correctly and consistently </a:t>
            </a:r>
          </a:p>
          <a:p>
            <a:pPr marL="0" indent="0">
              <a:buNone/>
            </a:pPr>
            <a:endParaRPr lang="en-GB" sz="1600" dirty="0">
              <a:latin typeface="+mj-lt"/>
            </a:endParaRPr>
          </a:p>
          <a:p>
            <a:r>
              <a:rPr lang="en-GB" sz="1600" dirty="0">
                <a:latin typeface="+mj-lt"/>
              </a:rPr>
              <a:t>Use the links provided in the Guide for Author's, or go to the website of that style:</a:t>
            </a:r>
          </a:p>
          <a:p>
            <a:pPr lvl="3"/>
            <a:r>
              <a:rPr lang="en-GB" sz="1334" dirty="0">
                <a:latin typeface="+mj-lt"/>
              </a:rPr>
              <a:t> </a:t>
            </a:r>
            <a:r>
              <a:rPr lang="en-GB" sz="1334" dirty="0">
                <a:latin typeface="+mj-lt"/>
                <a:hlinkClick r:id="rId2"/>
              </a:rPr>
              <a:t>https://www.chicagomanualofstyle.org/home.html</a:t>
            </a:r>
            <a:endParaRPr lang="en-GB" sz="1334" dirty="0">
              <a:latin typeface="+mj-lt"/>
            </a:endParaRPr>
          </a:p>
          <a:p>
            <a:pPr lvl="3"/>
            <a:r>
              <a:rPr lang="en-GB" sz="1334" dirty="0">
                <a:latin typeface="+mj-lt"/>
                <a:hlinkClick r:id="rId3"/>
              </a:rPr>
              <a:t>https://apastyle.apa.org/</a:t>
            </a:r>
            <a:r>
              <a:rPr lang="en-GB" sz="1334" dirty="0">
                <a:latin typeface="+mj-lt"/>
              </a:rPr>
              <a:t> </a:t>
            </a:r>
          </a:p>
          <a:p>
            <a:pPr lvl="3"/>
            <a:endParaRPr lang="en-GB" sz="1600" dirty="0">
              <a:latin typeface="+mj-lt"/>
            </a:endParaRPr>
          </a:p>
          <a:p>
            <a:pPr lvl="1"/>
            <a:r>
              <a:rPr lang="en-GB" sz="1600" dirty="0">
                <a:latin typeface="+mj-lt"/>
              </a:rPr>
              <a:t>All sources cited should be listed in the references and vice versa </a:t>
            </a:r>
          </a:p>
          <a:p>
            <a:pPr lvl="1"/>
            <a:r>
              <a:rPr lang="en-GB" sz="1600" dirty="0">
                <a:latin typeface="+mj-lt"/>
              </a:rPr>
              <a:t>Double check and correct all citations and reference list entries if using citation software </a:t>
            </a:r>
          </a:p>
          <a:p>
            <a:pPr marL="596885" lvl="3" indent="0">
              <a:buNone/>
            </a:pPr>
            <a:endParaRPr lang="en-GB" sz="1334" dirty="0">
              <a:latin typeface="+mj-lt"/>
            </a:endParaRPr>
          </a:p>
          <a:p>
            <a:pPr lvl="1"/>
            <a:endParaRPr lang="en-GB" sz="1200" dirty="0">
              <a:latin typeface="+mj-lt"/>
            </a:endParaRPr>
          </a:p>
          <a:p>
            <a:endParaRPr lang="LID4096" sz="1600" dirty="0">
              <a:latin typeface="+mj-lt"/>
            </a:endParaRPr>
          </a:p>
        </p:txBody>
      </p:sp>
      <p:sp>
        <p:nvSpPr>
          <p:cNvPr id="6" name="Title 5">
            <a:extLst>
              <a:ext uri="{FF2B5EF4-FFF2-40B4-BE49-F238E27FC236}">
                <a16:creationId xmlns:a16="http://schemas.microsoft.com/office/drawing/2014/main" id="{E61F5EAA-7792-A615-A9FF-DF074B815F50}"/>
              </a:ext>
            </a:extLst>
          </p:cNvPr>
          <p:cNvSpPr>
            <a:spLocks noGrp="1"/>
          </p:cNvSpPr>
          <p:nvPr>
            <p:ph type="title"/>
          </p:nvPr>
        </p:nvSpPr>
        <p:spPr>
          <a:xfrm>
            <a:off x="444501" y="469901"/>
            <a:ext cx="10429267" cy="673100"/>
          </a:xfrm>
        </p:spPr>
        <p:txBody>
          <a:bodyPr/>
          <a:lstStyle/>
          <a:p>
            <a:r>
              <a:rPr lang="en-GB" dirty="0">
                <a:solidFill>
                  <a:schemeClr val="accent2"/>
                </a:solidFill>
                <a:latin typeface="Georgia" panose="02040502050405020303" pitchFamily="18" charset="0"/>
              </a:rPr>
              <a:t>Referencing </a:t>
            </a:r>
            <a:endParaRPr lang="LID4096" dirty="0">
              <a:solidFill>
                <a:schemeClr val="accent2"/>
              </a:solidFill>
              <a:latin typeface="Georgia" panose="02040502050405020303" pitchFamily="18" charset="0"/>
            </a:endParaRPr>
          </a:p>
        </p:txBody>
      </p:sp>
      <p:pic>
        <p:nvPicPr>
          <p:cNvPr id="2" name="Picture 1">
            <a:extLst>
              <a:ext uri="{FF2B5EF4-FFF2-40B4-BE49-F238E27FC236}">
                <a16:creationId xmlns:a16="http://schemas.microsoft.com/office/drawing/2014/main" id="{357C720D-D623-BBAB-4A53-827962256F1E}"/>
              </a:ext>
            </a:extLst>
          </p:cNvPr>
          <p:cNvPicPr>
            <a:picLocks noChangeAspect="1"/>
          </p:cNvPicPr>
          <p:nvPr/>
        </p:nvPicPr>
        <p:blipFill>
          <a:blip r:embed="rId4"/>
          <a:stretch>
            <a:fillRect/>
          </a:stretch>
        </p:blipFill>
        <p:spPr>
          <a:xfrm>
            <a:off x="9478297" y="1143001"/>
            <a:ext cx="2459863" cy="2429865"/>
          </a:xfrm>
          <a:prstGeom prst="rect">
            <a:avLst/>
          </a:prstGeom>
        </p:spPr>
      </p:pic>
    </p:spTree>
    <p:extLst>
      <p:ext uri="{BB962C8B-B14F-4D97-AF65-F5344CB8AC3E}">
        <p14:creationId xmlns:p14="http://schemas.microsoft.com/office/powerpoint/2010/main" val="4043589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8710E08-0669-D0BD-B691-82C4DA05BBD8}"/>
              </a:ext>
            </a:extLst>
          </p:cNvPr>
          <p:cNvSpPr>
            <a:spLocks noGrp="1"/>
          </p:cNvSpPr>
          <p:nvPr>
            <p:ph type="body" sz="quarter" idx="13"/>
          </p:nvPr>
        </p:nvSpPr>
        <p:spPr>
          <a:xfrm>
            <a:off x="768351" y="1368425"/>
            <a:ext cx="8890159" cy="5229224"/>
          </a:xfrm>
        </p:spPr>
        <p:txBody>
          <a:bodyPr/>
          <a:lstStyle/>
          <a:p>
            <a:pPr>
              <a:spcAft>
                <a:spcPts val="0"/>
              </a:spcAft>
            </a:pPr>
            <a:r>
              <a:rPr lang="en-GB" sz="1600" b="1" dirty="0">
                <a:latin typeface="+mj-lt"/>
              </a:rPr>
              <a:t>Proofread</a:t>
            </a:r>
            <a:r>
              <a:rPr lang="en-GB" sz="1600" dirty="0">
                <a:latin typeface="+mj-lt"/>
              </a:rPr>
              <a:t> </a:t>
            </a:r>
            <a:r>
              <a:rPr lang="en-GB" sz="1600" b="1" dirty="0">
                <a:latin typeface="+mj-lt"/>
              </a:rPr>
              <a:t>it</a:t>
            </a:r>
          </a:p>
          <a:p>
            <a:pPr lvl="3">
              <a:spcAft>
                <a:spcPts val="0"/>
              </a:spcAft>
            </a:pPr>
            <a:r>
              <a:rPr lang="en-GB" sz="1600" dirty="0">
                <a:latin typeface="+mj-lt"/>
              </a:rPr>
              <a:t>Check all, including the citations, the reference list, illustrate on captions for spelling errors, correct use of grammar and typos </a:t>
            </a:r>
          </a:p>
          <a:p>
            <a:pPr lvl="3">
              <a:spcAft>
                <a:spcPts val="0"/>
              </a:spcAft>
            </a:pPr>
            <a:endParaRPr lang="en-GB" sz="1600" dirty="0">
              <a:latin typeface="+mj-lt"/>
            </a:endParaRPr>
          </a:p>
          <a:p>
            <a:pPr>
              <a:spcAft>
                <a:spcPts val="0"/>
              </a:spcAft>
            </a:pPr>
            <a:r>
              <a:rPr lang="en-GB" sz="1600" b="1" dirty="0">
                <a:latin typeface="+mj-lt"/>
              </a:rPr>
              <a:t>Check all elements once again, against the </a:t>
            </a:r>
            <a:r>
              <a:rPr lang="en-GB" sz="1600" b="1" i="1" dirty="0">
                <a:latin typeface="+mj-lt"/>
              </a:rPr>
              <a:t>Guide for Authors</a:t>
            </a:r>
          </a:p>
          <a:p>
            <a:pPr lvl="3">
              <a:spcAft>
                <a:spcPts val="0"/>
              </a:spcAft>
            </a:pPr>
            <a:r>
              <a:rPr lang="en-GB" sz="1600" dirty="0">
                <a:latin typeface="+mj-lt"/>
              </a:rPr>
              <a:t>Word count</a:t>
            </a:r>
          </a:p>
          <a:p>
            <a:pPr lvl="3">
              <a:spcAft>
                <a:spcPts val="0"/>
              </a:spcAft>
            </a:pPr>
            <a:r>
              <a:rPr lang="en-GB" sz="1600" dirty="0">
                <a:latin typeface="+mj-lt"/>
              </a:rPr>
              <a:t>Illustrations – Clear? Captions? </a:t>
            </a:r>
          </a:p>
          <a:p>
            <a:pPr lvl="3">
              <a:spcAft>
                <a:spcPts val="0"/>
              </a:spcAft>
            </a:pPr>
            <a:r>
              <a:rPr lang="en-GB" sz="1600" dirty="0">
                <a:latin typeface="+mj-lt"/>
              </a:rPr>
              <a:t>Check section numbering, figure and table numbering </a:t>
            </a:r>
          </a:p>
          <a:p>
            <a:pPr lvl="3">
              <a:spcAft>
                <a:spcPts val="0"/>
              </a:spcAft>
            </a:pPr>
            <a:r>
              <a:rPr lang="en-GB" sz="1600" dirty="0">
                <a:latin typeface="+mj-lt"/>
              </a:rPr>
              <a:t>Ensure all </a:t>
            </a:r>
            <a:r>
              <a:rPr lang="en-GB" sz="1600" b="1" dirty="0">
                <a:latin typeface="+mj-lt"/>
              </a:rPr>
              <a:t>reference list </a:t>
            </a:r>
            <a:r>
              <a:rPr lang="en-GB" sz="1600" dirty="0">
                <a:latin typeface="+mj-lt"/>
              </a:rPr>
              <a:t>entries are complete and </a:t>
            </a:r>
            <a:r>
              <a:rPr lang="en-GB" sz="1600" b="1" dirty="0">
                <a:latin typeface="+mj-lt"/>
              </a:rPr>
              <a:t>cited in-text </a:t>
            </a:r>
            <a:r>
              <a:rPr lang="en-GB" sz="1600" dirty="0">
                <a:latin typeface="+mj-lt"/>
              </a:rPr>
              <a:t>(and vice </a:t>
            </a:r>
            <a:r>
              <a:rPr lang="en-GB" sz="1600" dirty="0" err="1">
                <a:latin typeface="+mj-lt"/>
              </a:rPr>
              <a:t>cersa</a:t>
            </a:r>
            <a:r>
              <a:rPr lang="en-GB" sz="1600" dirty="0">
                <a:latin typeface="+mj-lt"/>
              </a:rPr>
              <a:t>) </a:t>
            </a:r>
            <a:endParaRPr lang="en-GB" sz="1600" b="1" dirty="0">
              <a:latin typeface="+mj-lt"/>
            </a:endParaRPr>
          </a:p>
          <a:p>
            <a:pPr>
              <a:spcAft>
                <a:spcPts val="0"/>
              </a:spcAft>
            </a:pPr>
            <a:endParaRPr lang="en-GB" sz="1600" dirty="0">
              <a:latin typeface="+mj-lt"/>
            </a:endParaRPr>
          </a:p>
          <a:p>
            <a:pPr>
              <a:spcAft>
                <a:spcPts val="0"/>
              </a:spcAft>
            </a:pPr>
            <a:r>
              <a:rPr lang="en-GB" sz="1600" dirty="0">
                <a:latin typeface="+mj-lt"/>
              </a:rPr>
              <a:t>Share it with </a:t>
            </a:r>
            <a:r>
              <a:rPr lang="en-GB" sz="1600" b="1" dirty="0">
                <a:latin typeface="+mj-lt"/>
              </a:rPr>
              <a:t>all Authors </a:t>
            </a:r>
            <a:r>
              <a:rPr lang="en-GB" sz="1600" dirty="0">
                <a:latin typeface="+mj-lt"/>
              </a:rPr>
              <a:t>to give their comments – adjust accordingly </a:t>
            </a:r>
          </a:p>
          <a:p>
            <a:pPr lvl="3">
              <a:spcAft>
                <a:spcPts val="0"/>
              </a:spcAft>
            </a:pPr>
            <a:r>
              <a:rPr lang="en-GB" sz="1600" dirty="0">
                <a:latin typeface="+mj-lt"/>
              </a:rPr>
              <a:t>Ask your supervisor/advisor/trusted peer to look over the draft and give feedback </a:t>
            </a:r>
          </a:p>
          <a:p>
            <a:pPr lvl="3">
              <a:spcAft>
                <a:spcPts val="0"/>
              </a:spcAft>
            </a:pPr>
            <a:endParaRPr lang="en-GB" sz="1600" dirty="0">
              <a:latin typeface="+mj-lt"/>
            </a:endParaRPr>
          </a:p>
          <a:p>
            <a:pPr lvl="1">
              <a:spcAft>
                <a:spcPts val="0"/>
              </a:spcAft>
            </a:pPr>
            <a:r>
              <a:rPr lang="en-GB" sz="1600" dirty="0">
                <a:latin typeface="+mj-lt"/>
              </a:rPr>
              <a:t>Ask someone from </a:t>
            </a:r>
            <a:r>
              <a:rPr lang="en-GB" sz="1600" b="1" u="sng" dirty="0">
                <a:latin typeface="+mj-lt"/>
              </a:rPr>
              <a:t>outside</a:t>
            </a:r>
            <a:r>
              <a:rPr lang="en-GB" sz="1600" dirty="0">
                <a:latin typeface="+mj-lt"/>
              </a:rPr>
              <a:t> the research group and specialism to check it for comprehension and errors </a:t>
            </a:r>
          </a:p>
          <a:p>
            <a:pPr lvl="1">
              <a:spcAft>
                <a:spcPts val="0"/>
              </a:spcAft>
            </a:pPr>
            <a:endParaRPr lang="en-GB" sz="1600" dirty="0">
              <a:latin typeface="+mj-lt"/>
            </a:endParaRPr>
          </a:p>
          <a:p>
            <a:pPr lvl="1">
              <a:spcAft>
                <a:spcPts val="0"/>
              </a:spcAft>
            </a:pPr>
            <a:r>
              <a:rPr lang="en-GB" sz="1600" b="1" dirty="0">
                <a:latin typeface="+mj-lt"/>
              </a:rPr>
              <a:t>Share with all Author’s again until the final version has everyone’s approval </a:t>
            </a:r>
          </a:p>
          <a:p>
            <a:pPr>
              <a:lnSpc>
                <a:spcPct val="150000"/>
              </a:lnSpc>
              <a:spcAft>
                <a:spcPts val="0"/>
              </a:spcAft>
            </a:pPr>
            <a:endParaRPr lang="LID4096" sz="1600" dirty="0">
              <a:latin typeface="+mj-lt"/>
            </a:endParaRPr>
          </a:p>
        </p:txBody>
      </p:sp>
      <p:sp>
        <p:nvSpPr>
          <p:cNvPr id="6" name="Title 5">
            <a:extLst>
              <a:ext uri="{FF2B5EF4-FFF2-40B4-BE49-F238E27FC236}">
                <a16:creationId xmlns:a16="http://schemas.microsoft.com/office/drawing/2014/main" id="{667BB54C-B79A-841C-141B-8BAA378CE55D}"/>
              </a:ext>
            </a:extLst>
          </p:cNvPr>
          <p:cNvSpPr>
            <a:spLocks noGrp="1"/>
          </p:cNvSpPr>
          <p:nvPr>
            <p:ph type="title"/>
          </p:nvPr>
        </p:nvSpPr>
        <p:spPr/>
        <p:txBody>
          <a:bodyPr/>
          <a:lstStyle/>
          <a:p>
            <a:r>
              <a:rPr lang="en-GB" dirty="0">
                <a:solidFill>
                  <a:schemeClr val="accent1"/>
                </a:solidFill>
                <a:latin typeface="Georgia" panose="02040502050405020303" pitchFamily="18" charset="0"/>
              </a:rPr>
              <a:t>Once you have an </a:t>
            </a:r>
            <a:r>
              <a:rPr lang="en-GB" i="1" dirty="0">
                <a:solidFill>
                  <a:schemeClr val="accent1"/>
                </a:solidFill>
                <a:latin typeface="Georgia" panose="02040502050405020303" pitchFamily="18" charset="0"/>
              </a:rPr>
              <a:t>initial</a:t>
            </a:r>
            <a:r>
              <a:rPr lang="en-GB" dirty="0">
                <a:solidFill>
                  <a:schemeClr val="accent1"/>
                </a:solidFill>
                <a:latin typeface="Georgia" panose="02040502050405020303" pitchFamily="18" charset="0"/>
              </a:rPr>
              <a:t> draft </a:t>
            </a:r>
            <a:endParaRPr lang="LID4096" dirty="0">
              <a:solidFill>
                <a:schemeClr val="accent1"/>
              </a:solidFill>
              <a:latin typeface="Georgia" panose="02040502050405020303" pitchFamily="18" charset="0"/>
            </a:endParaRPr>
          </a:p>
        </p:txBody>
      </p:sp>
      <p:pic>
        <p:nvPicPr>
          <p:cNvPr id="9" name="Picture 8" descr="A cartoon of a person holding a piece of paper&#10;&#10;Description automatically generated">
            <a:extLst>
              <a:ext uri="{FF2B5EF4-FFF2-40B4-BE49-F238E27FC236}">
                <a16:creationId xmlns:a16="http://schemas.microsoft.com/office/drawing/2014/main" id="{820F13AA-053E-7B15-7AAF-0EAEFAFACAA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77518" y="2208027"/>
            <a:ext cx="2870471" cy="2515781"/>
          </a:xfrm>
          <a:prstGeom prst="rect">
            <a:avLst/>
          </a:prstGeom>
          <a:solidFill>
            <a:schemeClr val="accent4">
              <a:lumMod val="90000"/>
            </a:schemeClr>
          </a:solidFill>
        </p:spPr>
      </p:pic>
    </p:spTree>
    <p:extLst>
      <p:ext uri="{BB962C8B-B14F-4D97-AF65-F5344CB8AC3E}">
        <p14:creationId xmlns:p14="http://schemas.microsoft.com/office/powerpoint/2010/main" val="3129666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14E535B4-F60B-A479-2CC4-9C09CE57F33E}"/>
            </a:ext>
          </a:extLst>
        </p:cNvPr>
        <p:cNvGrpSpPr/>
        <p:nvPr/>
      </p:nvGrpSpPr>
      <p:grpSpPr>
        <a:xfrm>
          <a:off x="0" y="0"/>
          <a:ext cx="0" cy="0"/>
          <a:chOff x="0" y="0"/>
          <a:chExt cx="0" cy="0"/>
        </a:xfrm>
      </p:grpSpPr>
      <p:sp>
        <p:nvSpPr>
          <p:cNvPr id="15" name="Title 6">
            <a:extLst>
              <a:ext uri="{FF2B5EF4-FFF2-40B4-BE49-F238E27FC236}">
                <a16:creationId xmlns:a16="http://schemas.microsoft.com/office/drawing/2014/main" id="{23E905BD-983A-2F79-E7B0-3BC2824839BB}"/>
              </a:ext>
            </a:extLst>
          </p:cNvPr>
          <p:cNvSpPr txBox="1">
            <a:spLocks/>
          </p:cNvSpPr>
          <p:nvPr/>
        </p:nvSpPr>
        <p:spPr>
          <a:xfrm>
            <a:off x="1981201" y="705204"/>
            <a:ext cx="8238319" cy="418645"/>
          </a:xfrm>
          <a:prstGeom prst="rect">
            <a:avLst/>
          </a:prstGeom>
        </p:spPr>
        <p:txBody>
          <a:bodyPr vert="horz" lIns="91440" tIns="45720" rIns="91440" bIns="45720" rtlCol="0" anchor="ctr">
            <a:noAutofit/>
          </a:bodyPr>
          <a:lstStyle>
            <a:lvl1pPr algn="l" defTabSz="457200" rtl="0" eaLnBrk="1" latinLnBrk="0" hangingPunct="1">
              <a:spcBef>
                <a:spcPct val="0"/>
              </a:spcBef>
              <a:buNone/>
              <a:defRPr sz="2400" b="0" i="0" kern="1200">
                <a:solidFill>
                  <a:schemeClr val="accent1"/>
                </a:solidFill>
                <a:latin typeface="Arial Bold"/>
                <a:ea typeface="+mj-ea"/>
                <a:cs typeface="Arial Bold"/>
              </a:defRPr>
            </a:lvl1pPr>
          </a:lstStyle>
          <a:p>
            <a:pPr defTabSz="457189">
              <a:defRPr/>
            </a:pPr>
            <a:endParaRPr lang="en-US" dirty="0">
              <a:solidFill>
                <a:srgbClr val="007398"/>
              </a:solidFill>
            </a:endParaRPr>
          </a:p>
        </p:txBody>
      </p:sp>
      <p:sp>
        <p:nvSpPr>
          <p:cNvPr id="11" name="Text Placeholder 1">
            <a:extLst>
              <a:ext uri="{FF2B5EF4-FFF2-40B4-BE49-F238E27FC236}">
                <a16:creationId xmlns:a16="http://schemas.microsoft.com/office/drawing/2014/main" id="{89C83096-D242-8F0C-C0D8-7D47A0C45AB3}"/>
              </a:ext>
            </a:extLst>
          </p:cNvPr>
          <p:cNvSpPr txBox="1">
            <a:spLocks/>
          </p:cNvSpPr>
          <p:nvPr/>
        </p:nvSpPr>
        <p:spPr>
          <a:xfrm>
            <a:off x="303293" y="204585"/>
            <a:ext cx="9571020" cy="1678536"/>
          </a:xfrm>
          <a:prstGeom prst="rect">
            <a:avLst/>
          </a:prstGeom>
        </p:spPr>
        <p:txBody>
          <a:bodyPr anchor="ctr">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609585">
              <a:buNone/>
            </a:pPr>
            <a:r>
              <a:rPr lang="en-US" sz="4400" dirty="0">
                <a:solidFill>
                  <a:schemeClr val="accent2"/>
                </a:solidFill>
                <a:latin typeface="Georgia" panose="02040502050405020303" pitchFamily="18" charset="0"/>
              </a:rPr>
              <a:t>4. Submitting your article - Editorial Manager (EM)</a:t>
            </a:r>
          </a:p>
        </p:txBody>
      </p:sp>
      <p:sp>
        <p:nvSpPr>
          <p:cNvPr id="4" name="Text Placeholder 3">
            <a:extLst>
              <a:ext uri="{FF2B5EF4-FFF2-40B4-BE49-F238E27FC236}">
                <a16:creationId xmlns:a16="http://schemas.microsoft.com/office/drawing/2014/main" id="{82A2F008-0EB5-75E9-29B7-DB5510FFD3D5}"/>
              </a:ext>
            </a:extLst>
          </p:cNvPr>
          <p:cNvSpPr>
            <a:spLocks noGrp="1"/>
          </p:cNvSpPr>
          <p:nvPr>
            <p:ph type="body" sz="quarter" idx="13"/>
          </p:nvPr>
        </p:nvSpPr>
        <p:spPr>
          <a:xfrm>
            <a:off x="11152107" y="311049"/>
            <a:ext cx="736600" cy="812800"/>
          </a:xfrm>
        </p:spPr>
        <p:txBody>
          <a:bodyPr/>
          <a:lstStyle/>
          <a:p>
            <a:endParaRPr lang="en-GB" dirty="0"/>
          </a:p>
        </p:txBody>
      </p:sp>
      <p:pic>
        <p:nvPicPr>
          <p:cNvPr id="7" name="Tijdelijke aanduiding voor afbeelding 4" descr="Afbeelding met tekst, persoon, binnen, venster&#10;&#10;Automatisch gegenereerde beschrijving">
            <a:extLst>
              <a:ext uri="{FF2B5EF4-FFF2-40B4-BE49-F238E27FC236}">
                <a16:creationId xmlns:a16="http://schemas.microsoft.com/office/drawing/2014/main" id="{135C6367-7A2C-15B4-ACB2-D870A807653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51" b="51"/>
          <a:stretch/>
        </p:blipFill>
        <p:spPr>
          <a:xfrm>
            <a:off x="303293" y="2838734"/>
            <a:ext cx="6502162" cy="3657466"/>
          </a:xfrm>
          <a:prstGeom prst="rect">
            <a:avLst/>
          </a:prstGeom>
        </p:spPr>
      </p:pic>
    </p:spTree>
    <p:extLst>
      <p:ext uri="{BB962C8B-B14F-4D97-AF65-F5344CB8AC3E}">
        <p14:creationId xmlns:p14="http://schemas.microsoft.com/office/powerpoint/2010/main" val="1978759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close-up of a letter&#10;&#10;Description automatically generated">
            <a:extLst>
              <a:ext uri="{FF2B5EF4-FFF2-40B4-BE49-F238E27FC236}">
                <a16:creationId xmlns:a16="http://schemas.microsoft.com/office/drawing/2014/main" id="{73BD43DA-93F6-D6B6-84F1-B87340761B8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46219" y="1231788"/>
            <a:ext cx="7045781" cy="4961557"/>
          </a:xfrm>
          <a:prstGeom prst="rect">
            <a:avLst/>
          </a:prstGeom>
        </p:spPr>
      </p:pic>
      <p:sp>
        <p:nvSpPr>
          <p:cNvPr id="8" name="Text Placeholder 7">
            <a:extLst>
              <a:ext uri="{FF2B5EF4-FFF2-40B4-BE49-F238E27FC236}">
                <a16:creationId xmlns:a16="http://schemas.microsoft.com/office/drawing/2014/main" id="{CFA0D328-F888-C3DA-13AF-9052451B5169}"/>
              </a:ext>
            </a:extLst>
          </p:cNvPr>
          <p:cNvSpPr>
            <a:spLocks noGrp="1"/>
          </p:cNvSpPr>
          <p:nvPr>
            <p:ph type="body" sz="quarter" idx="23"/>
          </p:nvPr>
        </p:nvSpPr>
        <p:spPr>
          <a:xfrm>
            <a:off x="305952" y="1231788"/>
            <a:ext cx="5790048" cy="5198400"/>
          </a:xfrm>
        </p:spPr>
        <p:txBody>
          <a:bodyPr>
            <a:normAutofit/>
          </a:bodyPr>
          <a:lstStyle/>
          <a:p>
            <a:pPr marL="380990" indent="-380990">
              <a:buFont typeface="Arial" panose="020B0604020202020204" pitchFamily="34" charset="0"/>
              <a:buChar char="•"/>
            </a:pPr>
            <a:r>
              <a:rPr lang="en-GB" sz="1600" dirty="0"/>
              <a:t>Allow time for this</a:t>
            </a:r>
          </a:p>
          <a:p>
            <a:pPr marL="380990" indent="-380990">
              <a:buFont typeface="Arial" panose="020B0604020202020204" pitchFamily="34" charset="0"/>
              <a:buChar char="•"/>
            </a:pPr>
            <a:r>
              <a:rPr lang="en-GB" sz="1600" dirty="0"/>
              <a:t>Prepare in advance </a:t>
            </a:r>
          </a:p>
          <a:p>
            <a:pPr marL="380990" indent="-380990">
              <a:buFont typeface="Arial" panose="020B0604020202020204" pitchFamily="34" charset="0"/>
              <a:buChar char="•"/>
            </a:pPr>
            <a:r>
              <a:rPr lang="en-GB" sz="1600" dirty="0"/>
              <a:t>Note the email address you use to make your Editorial Manager account with </a:t>
            </a:r>
          </a:p>
          <a:p>
            <a:pPr marL="380990" indent="-380990">
              <a:buFont typeface="Arial" panose="020B0604020202020204" pitchFamily="34" charset="0"/>
              <a:buChar char="•"/>
            </a:pPr>
            <a:r>
              <a:rPr lang="en-GB" sz="1600" dirty="0"/>
              <a:t>Check the files needed from the guide for Authors “submission checklist” , and again when you make the submission i.e. </a:t>
            </a:r>
          </a:p>
          <a:p>
            <a:endParaRPr lang="en-GB" sz="1600" dirty="0"/>
          </a:p>
          <a:p>
            <a:pPr marL="861462" lvl="1" indent="-380990">
              <a:lnSpc>
                <a:spcPct val="110000"/>
              </a:lnSpc>
              <a:spcBef>
                <a:spcPts val="0"/>
              </a:spcBef>
              <a:spcAft>
                <a:spcPts val="200"/>
              </a:spcAft>
              <a:buClr>
                <a:srgbClr val="3679E0"/>
              </a:buClr>
              <a:buFont typeface="Wingdings" panose="05000000000000000000" pitchFamily="2" charset="2"/>
              <a:buChar char="ü"/>
            </a:pPr>
            <a:r>
              <a:rPr lang="en-GB" sz="1600" i="1" dirty="0">
                <a:solidFill>
                  <a:schemeClr val="accent1"/>
                </a:solidFill>
              </a:rPr>
              <a:t>Covering Letter?</a:t>
            </a:r>
          </a:p>
          <a:p>
            <a:pPr marL="861462" lvl="1" indent="-380990">
              <a:lnSpc>
                <a:spcPct val="110000"/>
              </a:lnSpc>
              <a:spcBef>
                <a:spcPts val="0"/>
              </a:spcBef>
              <a:spcAft>
                <a:spcPts val="200"/>
              </a:spcAft>
              <a:buClr>
                <a:srgbClr val="3679E0"/>
              </a:buClr>
              <a:buFont typeface="Wingdings" panose="05000000000000000000" pitchFamily="2" charset="2"/>
              <a:buChar char="ü"/>
            </a:pPr>
            <a:r>
              <a:rPr lang="en-GB" sz="1600" i="1" dirty="0">
                <a:solidFill>
                  <a:schemeClr val="accent1"/>
                </a:solidFill>
              </a:rPr>
              <a:t>Title page file</a:t>
            </a:r>
          </a:p>
          <a:p>
            <a:pPr marL="861462" lvl="1" indent="-380990">
              <a:lnSpc>
                <a:spcPct val="110000"/>
              </a:lnSpc>
              <a:spcBef>
                <a:spcPts val="0"/>
              </a:spcBef>
              <a:spcAft>
                <a:spcPts val="200"/>
              </a:spcAft>
              <a:buClr>
                <a:srgbClr val="3679E0"/>
              </a:buClr>
              <a:buFont typeface="Wingdings" panose="05000000000000000000" pitchFamily="2" charset="2"/>
              <a:buChar char="ü"/>
            </a:pPr>
            <a:r>
              <a:rPr lang="en-GB" sz="1600" i="1" dirty="0">
                <a:solidFill>
                  <a:schemeClr val="accent1"/>
                </a:solidFill>
              </a:rPr>
              <a:t>Ethics statement?</a:t>
            </a:r>
          </a:p>
          <a:p>
            <a:pPr marL="861462" lvl="1" indent="-380990">
              <a:lnSpc>
                <a:spcPct val="110000"/>
              </a:lnSpc>
              <a:spcBef>
                <a:spcPts val="0"/>
              </a:spcBef>
              <a:spcAft>
                <a:spcPts val="200"/>
              </a:spcAft>
              <a:buClr>
                <a:srgbClr val="3679E0"/>
              </a:buClr>
              <a:buFont typeface="Wingdings" panose="05000000000000000000" pitchFamily="2" charset="2"/>
              <a:buChar char="ü"/>
            </a:pPr>
            <a:r>
              <a:rPr lang="en-GB" sz="1600" i="1" dirty="0">
                <a:solidFill>
                  <a:schemeClr val="accent1"/>
                </a:solidFill>
              </a:rPr>
              <a:t>Declaration of competing interest statement</a:t>
            </a:r>
          </a:p>
          <a:p>
            <a:pPr marL="861462" lvl="1" indent="-380990">
              <a:lnSpc>
                <a:spcPct val="110000"/>
              </a:lnSpc>
              <a:spcBef>
                <a:spcPts val="0"/>
              </a:spcBef>
              <a:spcAft>
                <a:spcPts val="200"/>
              </a:spcAft>
              <a:buClr>
                <a:srgbClr val="3679E0"/>
              </a:buClr>
              <a:buFont typeface="Wingdings" panose="05000000000000000000" pitchFamily="2" charset="2"/>
              <a:buChar char="ü"/>
            </a:pPr>
            <a:r>
              <a:rPr lang="en-GB" sz="1600" i="1" dirty="0">
                <a:solidFill>
                  <a:schemeClr val="accent1"/>
                </a:solidFill>
              </a:rPr>
              <a:t>Highlights?</a:t>
            </a:r>
          </a:p>
          <a:p>
            <a:pPr marL="861462" lvl="1" indent="-380990">
              <a:lnSpc>
                <a:spcPct val="110000"/>
              </a:lnSpc>
              <a:spcBef>
                <a:spcPts val="0"/>
              </a:spcBef>
              <a:spcAft>
                <a:spcPts val="200"/>
              </a:spcAft>
              <a:buClr>
                <a:srgbClr val="3679E0"/>
              </a:buClr>
              <a:buFont typeface="Wingdings" panose="05000000000000000000" pitchFamily="2" charset="2"/>
              <a:buChar char="ü"/>
            </a:pPr>
            <a:r>
              <a:rPr lang="en-GB" sz="1600" i="1" dirty="0">
                <a:solidFill>
                  <a:schemeClr val="accent1"/>
                </a:solidFill>
              </a:rPr>
              <a:t>Graphical abstract?</a:t>
            </a:r>
          </a:p>
          <a:p>
            <a:pPr marL="861462" lvl="1" indent="-380990">
              <a:lnSpc>
                <a:spcPct val="110000"/>
              </a:lnSpc>
              <a:spcBef>
                <a:spcPts val="0"/>
              </a:spcBef>
              <a:spcAft>
                <a:spcPts val="200"/>
              </a:spcAft>
              <a:buClr>
                <a:srgbClr val="3679E0"/>
              </a:buClr>
              <a:buFont typeface="Wingdings" panose="05000000000000000000" pitchFamily="2" charset="2"/>
              <a:buChar char="ü"/>
            </a:pPr>
            <a:r>
              <a:rPr lang="en-GB" sz="1600" i="1" dirty="0">
                <a:solidFill>
                  <a:schemeClr val="accent1"/>
                </a:solidFill>
              </a:rPr>
              <a:t>Appendices </a:t>
            </a:r>
            <a:r>
              <a:rPr lang="en-GB" sz="1600" dirty="0">
                <a:solidFill>
                  <a:schemeClr val="accent1"/>
                </a:solidFill>
              </a:rPr>
              <a:t>(</a:t>
            </a:r>
            <a:r>
              <a:rPr lang="en-GB" sz="1600" i="1" dirty="0">
                <a:solidFill>
                  <a:schemeClr val="accent1"/>
                </a:solidFill>
              </a:rPr>
              <a:t>Supplementary material</a:t>
            </a:r>
            <a:r>
              <a:rPr lang="en-GB" sz="1600" dirty="0">
                <a:solidFill>
                  <a:schemeClr val="accent1"/>
                </a:solidFill>
              </a:rPr>
              <a:t>)?</a:t>
            </a:r>
            <a:endParaRPr lang="en-GB" sz="1600" dirty="0"/>
          </a:p>
          <a:p>
            <a:pPr marL="380990" indent="-380990">
              <a:buFont typeface="Arial" panose="020B0604020202020204" pitchFamily="34" charset="0"/>
              <a:buChar char="•"/>
            </a:pPr>
            <a:endParaRPr lang="LID4096" sz="1600" dirty="0"/>
          </a:p>
        </p:txBody>
      </p:sp>
      <p:sp>
        <p:nvSpPr>
          <p:cNvPr id="6" name="Title 5">
            <a:extLst>
              <a:ext uri="{FF2B5EF4-FFF2-40B4-BE49-F238E27FC236}">
                <a16:creationId xmlns:a16="http://schemas.microsoft.com/office/drawing/2014/main" id="{45990E20-EA2A-5BBB-BBC3-A815FC134749}"/>
              </a:ext>
            </a:extLst>
          </p:cNvPr>
          <p:cNvSpPr>
            <a:spLocks noGrp="1"/>
          </p:cNvSpPr>
          <p:nvPr>
            <p:ph type="title"/>
          </p:nvPr>
        </p:nvSpPr>
        <p:spPr>
          <a:xfrm>
            <a:off x="305952" y="91262"/>
            <a:ext cx="10429267" cy="673100"/>
          </a:xfrm>
        </p:spPr>
        <p:txBody>
          <a:bodyPr/>
          <a:lstStyle/>
          <a:p>
            <a:r>
              <a:rPr lang="en-GB" dirty="0">
                <a:solidFill>
                  <a:schemeClr val="accent1"/>
                </a:solidFill>
                <a:latin typeface="Georgia" panose="02040502050405020303" pitchFamily="18" charset="0"/>
              </a:rPr>
              <a:t>Making a submission in Editorial Manager </a:t>
            </a:r>
            <a:endParaRPr lang="LID4096" dirty="0">
              <a:solidFill>
                <a:schemeClr val="accent1"/>
              </a:solidFill>
              <a:latin typeface="Georgia" panose="02040502050405020303" pitchFamily="18" charset="0"/>
            </a:endParaRPr>
          </a:p>
        </p:txBody>
      </p:sp>
    </p:spTree>
    <p:extLst>
      <p:ext uri="{BB962C8B-B14F-4D97-AF65-F5344CB8AC3E}">
        <p14:creationId xmlns:p14="http://schemas.microsoft.com/office/powerpoint/2010/main" val="4245162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BE6FCF-06D0-77D9-BE6B-AA3374767704}"/>
            </a:ext>
          </a:extLst>
        </p:cNvPr>
        <p:cNvGrpSpPr/>
        <p:nvPr/>
      </p:nvGrpSpPr>
      <p:grpSpPr>
        <a:xfrm>
          <a:off x="0" y="0"/>
          <a:ext cx="0" cy="0"/>
          <a:chOff x="0" y="0"/>
          <a:chExt cx="0" cy="0"/>
        </a:xfrm>
      </p:grpSpPr>
      <p:sp>
        <p:nvSpPr>
          <p:cNvPr id="8" name="Text Placeholder 7">
            <a:extLst>
              <a:ext uri="{FF2B5EF4-FFF2-40B4-BE49-F238E27FC236}">
                <a16:creationId xmlns:a16="http://schemas.microsoft.com/office/drawing/2014/main" id="{096B26E0-0371-5ED2-AFA6-64F686855E7B}"/>
              </a:ext>
            </a:extLst>
          </p:cNvPr>
          <p:cNvSpPr>
            <a:spLocks noGrp="1"/>
          </p:cNvSpPr>
          <p:nvPr>
            <p:ph type="body" sz="quarter" idx="23"/>
          </p:nvPr>
        </p:nvSpPr>
        <p:spPr>
          <a:xfrm>
            <a:off x="4815225" y="1113367"/>
            <a:ext cx="6837761" cy="5316309"/>
          </a:xfrm>
        </p:spPr>
        <p:txBody>
          <a:bodyPr>
            <a:normAutofit/>
          </a:bodyPr>
          <a:lstStyle/>
          <a:p>
            <a:endParaRPr lang="en-GB" sz="1600" dirty="0"/>
          </a:p>
          <a:p>
            <a:pPr marL="380990" indent="-380990">
              <a:spcAft>
                <a:spcPts val="400"/>
              </a:spcAft>
              <a:buFont typeface="Arial" panose="020B0604020202020204" pitchFamily="34" charset="0"/>
              <a:buChar char="•"/>
            </a:pPr>
            <a:r>
              <a:rPr lang="en-GB" sz="1600" dirty="0"/>
              <a:t>Ensure you have the correct, full name, title/affiliation, academic address and current (institutional) email address of all Authors </a:t>
            </a:r>
          </a:p>
          <a:p>
            <a:pPr marL="861462" lvl="1" indent="-380990">
              <a:spcAft>
                <a:spcPts val="400"/>
              </a:spcAft>
              <a:buFont typeface="Arial" panose="020B0604020202020204" pitchFamily="34" charset="0"/>
              <a:buChar char="•"/>
            </a:pPr>
            <a:r>
              <a:rPr lang="en-GB" sz="1600" dirty="0"/>
              <a:t>Ask each Author for this information in advance and to verify the </a:t>
            </a:r>
            <a:r>
              <a:rPr lang="en-GB" sz="1600" dirty="0">
                <a:hlinkClick r:id="rId2"/>
              </a:rPr>
              <a:t>CRediT Author roles </a:t>
            </a:r>
            <a:r>
              <a:rPr lang="en-GB" sz="1600" dirty="0"/>
              <a:t>they performed (you will entire this into a </a:t>
            </a:r>
            <a:r>
              <a:rPr lang="en-GB" sz="1600" b="1" dirty="0"/>
              <a:t>form</a:t>
            </a:r>
            <a:r>
              <a:rPr lang="en-GB" sz="1600" dirty="0"/>
              <a:t> during the submission) </a:t>
            </a:r>
          </a:p>
          <a:p>
            <a:pPr lvl="1" indent="0">
              <a:spcAft>
                <a:spcPts val="400"/>
              </a:spcAft>
              <a:buNone/>
            </a:pPr>
            <a:endParaRPr lang="en-GB" sz="1600" dirty="0"/>
          </a:p>
          <a:p>
            <a:pPr marL="380990" indent="-380990">
              <a:spcAft>
                <a:spcPts val="400"/>
              </a:spcAft>
              <a:buFont typeface="Arial" panose="020B0604020202020204" pitchFamily="34" charset="0"/>
              <a:buChar char="•"/>
            </a:pPr>
            <a:r>
              <a:rPr lang="en-GB" sz="1600" dirty="0"/>
              <a:t>Prepare a list of</a:t>
            </a:r>
            <a:r>
              <a:rPr lang="en-GB" sz="1600" i="1" dirty="0"/>
              <a:t> potential </a:t>
            </a:r>
            <a:r>
              <a:rPr lang="en-GB" sz="1600" dirty="0"/>
              <a:t>Reviewers or opposed reviewers </a:t>
            </a:r>
          </a:p>
          <a:p>
            <a:pPr marL="861462" lvl="1" indent="-380990">
              <a:spcAft>
                <a:spcPts val="400"/>
              </a:spcAft>
              <a:buFont typeface="Arial" panose="020B0604020202020204" pitchFamily="34" charset="0"/>
              <a:buChar char="•"/>
            </a:pPr>
            <a:r>
              <a:rPr lang="en-GB" sz="1600" dirty="0"/>
              <a:t>They must not be known to you personally</a:t>
            </a:r>
          </a:p>
          <a:p>
            <a:pPr marL="861462" lvl="1" indent="-380990">
              <a:spcAft>
                <a:spcPts val="400"/>
              </a:spcAft>
              <a:buFont typeface="Arial" panose="020B0604020202020204" pitchFamily="34" charset="0"/>
              <a:buChar char="•"/>
            </a:pPr>
            <a:r>
              <a:rPr lang="en-GB" sz="1600" dirty="0"/>
              <a:t>They cannot be at your institution</a:t>
            </a:r>
          </a:p>
          <a:p>
            <a:pPr marL="861462" lvl="1" indent="-380990">
              <a:spcAft>
                <a:spcPts val="400"/>
              </a:spcAft>
              <a:buFont typeface="Arial" panose="020B0604020202020204" pitchFamily="34" charset="0"/>
              <a:buChar char="•"/>
            </a:pPr>
            <a:r>
              <a:rPr lang="en-GB" sz="1600" dirty="0"/>
              <a:t>They should be an active researcher expert in the field </a:t>
            </a:r>
          </a:p>
          <a:p>
            <a:pPr marL="861462" lvl="1" indent="-380990">
              <a:spcAft>
                <a:spcPts val="400"/>
              </a:spcAft>
              <a:buFont typeface="Arial" panose="020B0604020202020204" pitchFamily="34" charset="0"/>
              <a:buChar char="•"/>
            </a:pPr>
            <a:endParaRPr lang="en-GB" sz="1600" dirty="0"/>
          </a:p>
          <a:p>
            <a:pPr marL="380990" indent="-380990">
              <a:spcAft>
                <a:spcPts val="400"/>
              </a:spcAft>
              <a:buFont typeface="Arial" panose="020B0604020202020204" pitchFamily="34" charset="0"/>
              <a:buChar char="•"/>
            </a:pPr>
            <a:r>
              <a:rPr lang="en-GB" sz="1600" dirty="0"/>
              <a:t>Use the resources available from </a:t>
            </a:r>
            <a:r>
              <a:rPr lang="en-GB" sz="1600" dirty="0">
                <a:hlinkClick r:id="rId2"/>
              </a:rPr>
              <a:t>Elsevier Author hub</a:t>
            </a:r>
            <a:r>
              <a:rPr lang="en-GB" sz="1600" dirty="0"/>
              <a:t> and within Editorial Manager (accessed from the journal home page “submit an article” button) </a:t>
            </a:r>
          </a:p>
          <a:p>
            <a:pPr marL="861462" lvl="1" indent="-380990">
              <a:buFont typeface="Arial" panose="020B0604020202020204" pitchFamily="34" charset="0"/>
              <a:buChar char="•"/>
            </a:pPr>
            <a:endParaRPr lang="en-GB" sz="1600" dirty="0"/>
          </a:p>
          <a:p>
            <a:pPr marL="380990" indent="-380990">
              <a:buFont typeface="Arial" panose="020B0604020202020204" pitchFamily="34" charset="0"/>
              <a:buChar char="•"/>
            </a:pPr>
            <a:endParaRPr lang="en-GB" sz="1600" dirty="0"/>
          </a:p>
          <a:p>
            <a:pPr marL="380990" indent="-380990">
              <a:buFont typeface="Arial" panose="020B0604020202020204" pitchFamily="34" charset="0"/>
              <a:buChar char="•"/>
            </a:pPr>
            <a:endParaRPr lang="en-GB" sz="1600" dirty="0"/>
          </a:p>
          <a:p>
            <a:pPr marL="380990" indent="-380990">
              <a:buFont typeface="Arial" panose="020B0604020202020204" pitchFamily="34" charset="0"/>
              <a:buChar char="•"/>
            </a:pPr>
            <a:endParaRPr lang="en-GB" sz="1600" dirty="0"/>
          </a:p>
          <a:p>
            <a:pPr marL="380990" indent="-380990">
              <a:buFont typeface="Arial" panose="020B0604020202020204" pitchFamily="34" charset="0"/>
              <a:buChar char="•"/>
            </a:pPr>
            <a:endParaRPr lang="LID4096" sz="1600" dirty="0"/>
          </a:p>
        </p:txBody>
      </p:sp>
      <p:sp>
        <p:nvSpPr>
          <p:cNvPr id="6" name="Title 5">
            <a:extLst>
              <a:ext uri="{FF2B5EF4-FFF2-40B4-BE49-F238E27FC236}">
                <a16:creationId xmlns:a16="http://schemas.microsoft.com/office/drawing/2014/main" id="{071260C5-9287-8375-EBDF-6F385EC13F1A}"/>
              </a:ext>
            </a:extLst>
          </p:cNvPr>
          <p:cNvSpPr>
            <a:spLocks noGrp="1"/>
          </p:cNvSpPr>
          <p:nvPr>
            <p:ph type="title"/>
          </p:nvPr>
        </p:nvSpPr>
        <p:spPr/>
        <p:txBody>
          <a:bodyPr/>
          <a:lstStyle/>
          <a:p>
            <a:r>
              <a:rPr lang="en-GB" dirty="0">
                <a:solidFill>
                  <a:schemeClr val="accent1"/>
                </a:solidFill>
                <a:latin typeface="Georgia" panose="02040502050405020303" pitchFamily="18" charset="0"/>
              </a:rPr>
              <a:t>Making a submission in Editorial Manager </a:t>
            </a:r>
            <a:endParaRPr lang="LID4096" dirty="0">
              <a:solidFill>
                <a:schemeClr val="accent1"/>
              </a:solidFill>
              <a:latin typeface="Georgia" panose="02040502050405020303" pitchFamily="18" charset="0"/>
            </a:endParaRPr>
          </a:p>
        </p:txBody>
      </p:sp>
      <p:pic>
        <p:nvPicPr>
          <p:cNvPr id="4" name="Picture 3">
            <a:extLst>
              <a:ext uri="{FF2B5EF4-FFF2-40B4-BE49-F238E27FC236}">
                <a16:creationId xmlns:a16="http://schemas.microsoft.com/office/drawing/2014/main" id="{1FAA052B-F47D-D737-CCAE-9DEDF2BA454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1206222" y="1371975"/>
            <a:ext cx="2221279" cy="2221279"/>
          </a:xfrm>
          <a:prstGeom prst="rect">
            <a:avLst/>
          </a:prstGeom>
        </p:spPr>
      </p:pic>
      <p:pic>
        <p:nvPicPr>
          <p:cNvPr id="3" name="Picture 2" descr="A white and black text on a white background&#10;&#10;AI-generated content may be incorrect.">
            <a:extLst>
              <a:ext uri="{FF2B5EF4-FFF2-40B4-BE49-F238E27FC236}">
                <a16:creationId xmlns:a16="http://schemas.microsoft.com/office/drawing/2014/main" id="{B07E83DF-8964-DC71-9A05-FA92D2923F0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15225" y="8061544"/>
            <a:ext cx="6196678" cy="4816328"/>
          </a:xfrm>
          <a:prstGeom prst="rect">
            <a:avLst/>
          </a:prstGeom>
        </p:spPr>
      </p:pic>
    </p:spTree>
    <p:extLst>
      <p:ext uri="{BB962C8B-B14F-4D97-AF65-F5344CB8AC3E}">
        <p14:creationId xmlns:p14="http://schemas.microsoft.com/office/powerpoint/2010/main" val="80118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E2288B-270D-73F9-F663-30BFDB23B214}"/>
            </a:ext>
          </a:extLst>
        </p:cNvPr>
        <p:cNvGrpSpPr/>
        <p:nvPr/>
      </p:nvGrpSpPr>
      <p:grpSpPr>
        <a:xfrm>
          <a:off x="0" y="0"/>
          <a:ext cx="0" cy="0"/>
          <a:chOff x="0" y="0"/>
          <a:chExt cx="0" cy="0"/>
        </a:xfrm>
      </p:grpSpPr>
      <p:sp>
        <p:nvSpPr>
          <p:cNvPr id="7" name="Text Placeholder 6">
            <a:extLst>
              <a:ext uri="{FF2B5EF4-FFF2-40B4-BE49-F238E27FC236}">
                <a16:creationId xmlns:a16="http://schemas.microsoft.com/office/drawing/2014/main" id="{B30DA80B-8FDA-FF97-01D8-2B5C967D4174}"/>
              </a:ext>
            </a:extLst>
          </p:cNvPr>
          <p:cNvSpPr>
            <a:spLocks noGrp="1"/>
          </p:cNvSpPr>
          <p:nvPr>
            <p:ph type="body" sz="quarter" idx="23"/>
          </p:nvPr>
        </p:nvSpPr>
        <p:spPr>
          <a:xfrm>
            <a:off x="138546" y="1273465"/>
            <a:ext cx="4750569" cy="5198400"/>
          </a:xfrm>
        </p:spPr>
        <p:txBody>
          <a:bodyPr>
            <a:normAutofit/>
          </a:bodyPr>
          <a:lstStyle/>
          <a:p>
            <a:pPr marL="380990" indent="-380990">
              <a:buFont typeface="Arial" panose="020B0604020202020204" pitchFamily="34" charset="0"/>
              <a:buChar char="•"/>
            </a:pPr>
            <a:r>
              <a:rPr lang="en-GB" sz="1600" dirty="0"/>
              <a:t>Read all prompts and instructions within EM carefully</a:t>
            </a:r>
          </a:p>
          <a:p>
            <a:pPr marL="380990" indent="-380990">
              <a:buFont typeface="Arial" panose="020B0604020202020204" pitchFamily="34" charset="0"/>
              <a:buChar char="•"/>
            </a:pPr>
            <a:endParaRPr lang="en-GB" sz="1600" dirty="0"/>
          </a:p>
          <a:p>
            <a:pPr marL="380990" indent="-380990">
              <a:buFont typeface="Arial" panose="020B0604020202020204" pitchFamily="34" charset="0"/>
              <a:buChar char="•"/>
            </a:pPr>
            <a:r>
              <a:rPr lang="en-GB" sz="1600" dirty="0"/>
              <a:t>Save and come back to your submission as needed, it does to need to be submitted in one go </a:t>
            </a:r>
          </a:p>
          <a:p>
            <a:pPr marL="380990" indent="-380990">
              <a:buFont typeface="Arial" panose="020B0604020202020204" pitchFamily="34" charset="0"/>
              <a:buChar char="•"/>
            </a:pPr>
            <a:endParaRPr lang="en-GB" sz="1600" dirty="0"/>
          </a:p>
          <a:p>
            <a:pPr marL="380990" indent="-380990">
              <a:buFont typeface="Arial" panose="020B0604020202020204" pitchFamily="34" charset="0"/>
              <a:buChar char="•"/>
            </a:pPr>
            <a:r>
              <a:rPr lang="en-GB" sz="1600" dirty="0">
                <a:solidFill>
                  <a:schemeClr val="tx1">
                    <a:lumMod val="20000"/>
                    <a:lumOff val="80000"/>
                  </a:schemeClr>
                </a:solidFill>
              </a:rPr>
              <a:t>Do </a:t>
            </a:r>
            <a:r>
              <a:rPr lang="en-GB" sz="1600" b="1" i="1" dirty="0">
                <a:solidFill>
                  <a:schemeClr val="tx1">
                    <a:lumMod val="20000"/>
                    <a:lumOff val="80000"/>
                  </a:schemeClr>
                </a:solidFill>
              </a:rPr>
              <a:t>download, save and check the PDF </a:t>
            </a:r>
            <a:r>
              <a:rPr lang="en-GB" sz="1600" dirty="0">
                <a:solidFill>
                  <a:schemeClr val="tx1">
                    <a:lumMod val="20000"/>
                    <a:lumOff val="80000"/>
                  </a:schemeClr>
                </a:solidFill>
              </a:rPr>
              <a:t>generated at the end of the submission process </a:t>
            </a:r>
            <a:r>
              <a:rPr lang="en-GB" sz="1600" b="1" i="1" dirty="0">
                <a:solidFill>
                  <a:schemeClr val="tx1">
                    <a:lumMod val="20000"/>
                    <a:lumOff val="80000"/>
                  </a:schemeClr>
                </a:solidFill>
              </a:rPr>
              <a:t>before</a:t>
            </a:r>
            <a:r>
              <a:rPr lang="en-GB" sz="1600" dirty="0">
                <a:solidFill>
                  <a:schemeClr val="tx1">
                    <a:lumMod val="20000"/>
                    <a:lumOff val="80000"/>
                  </a:schemeClr>
                </a:solidFill>
              </a:rPr>
              <a:t> finally clicking on “submit”</a:t>
            </a:r>
          </a:p>
          <a:p>
            <a:pPr marL="380990" indent="-380990">
              <a:buFont typeface="Arial" panose="020B0604020202020204" pitchFamily="34" charset="0"/>
              <a:buChar char="•"/>
            </a:pPr>
            <a:r>
              <a:rPr lang="en-GB" sz="1600" dirty="0">
                <a:solidFill>
                  <a:schemeClr val="tx1">
                    <a:lumMod val="20000"/>
                    <a:lumOff val="80000"/>
                  </a:schemeClr>
                </a:solidFill>
              </a:rPr>
              <a:t>Share the final PDF with all Authors once the submission had been made</a:t>
            </a:r>
          </a:p>
          <a:p>
            <a:endParaRPr lang="LID4096" sz="1600" dirty="0"/>
          </a:p>
        </p:txBody>
      </p:sp>
      <p:sp>
        <p:nvSpPr>
          <p:cNvPr id="6" name="Title 5">
            <a:extLst>
              <a:ext uri="{FF2B5EF4-FFF2-40B4-BE49-F238E27FC236}">
                <a16:creationId xmlns:a16="http://schemas.microsoft.com/office/drawing/2014/main" id="{128B81B0-4EA8-434C-3C65-7EDDE57E2D10}"/>
              </a:ext>
            </a:extLst>
          </p:cNvPr>
          <p:cNvSpPr>
            <a:spLocks noGrp="1"/>
          </p:cNvSpPr>
          <p:nvPr>
            <p:ph type="title"/>
          </p:nvPr>
        </p:nvSpPr>
        <p:spPr>
          <a:xfrm>
            <a:off x="311151" y="260351"/>
            <a:ext cx="11359481" cy="673100"/>
          </a:xfrm>
        </p:spPr>
        <p:txBody>
          <a:bodyPr/>
          <a:lstStyle/>
          <a:p>
            <a:r>
              <a:rPr lang="en-GB" dirty="0">
                <a:solidFill>
                  <a:schemeClr val="accent1"/>
                </a:solidFill>
                <a:latin typeface="Georgia" panose="02040502050405020303" pitchFamily="18" charset="0"/>
              </a:rPr>
              <a:t>Making a submission in Editorial Manager </a:t>
            </a:r>
            <a:endParaRPr lang="LID4096" dirty="0">
              <a:solidFill>
                <a:schemeClr val="accent1"/>
              </a:solidFill>
              <a:latin typeface="Georgia" panose="02040502050405020303" pitchFamily="18" charset="0"/>
            </a:endParaRPr>
          </a:p>
        </p:txBody>
      </p:sp>
      <p:pic>
        <p:nvPicPr>
          <p:cNvPr id="5" name="Picture 4" descr="A screenshot of a computer&#10;&#10;Description automatically generated">
            <a:extLst>
              <a:ext uri="{FF2B5EF4-FFF2-40B4-BE49-F238E27FC236}">
                <a16:creationId xmlns:a16="http://schemas.microsoft.com/office/drawing/2014/main" id="{D14160B9-A73A-1CA3-5029-50DB6C024D6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88060" y="1153450"/>
            <a:ext cx="7103940" cy="4551099"/>
          </a:xfrm>
          <a:prstGeom prst="rect">
            <a:avLst/>
          </a:prstGeom>
        </p:spPr>
      </p:pic>
    </p:spTree>
    <p:extLst>
      <p:ext uri="{BB962C8B-B14F-4D97-AF65-F5344CB8AC3E}">
        <p14:creationId xmlns:p14="http://schemas.microsoft.com/office/powerpoint/2010/main" val="3374570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72BC9E-7D9D-A716-B290-A73BE2CDB5A7}"/>
            </a:ext>
          </a:extLst>
        </p:cNvPr>
        <p:cNvGrpSpPr/>
        <p:nvPr/>
      </p:nvGrpSpPr>
      <p:grpSpPr>
        <a:xfrm>
          <a:off x="0" y="0"/>
          <a:ext cx="0" cy="0"/>
          <a:chOff x="0" y="0"/>
          <a:chExt cx="0" cy="0"/>
        </a:xfrm>
      </p:grpSpPr>
      <p:sp>
        <p:nvSpPr>
          <p:cNvPr id="7" name="Text Placeholder 6">
            <a:extLst>
              <a:ext uri="{FF2B5EF4-FFF2-40B4-BE49-F238E27FC236}">
                <a16:creationId xmlns:a16="http://schemas.microsoft.com/office/drawing/2014/main" id="{6E093CF1-BA19-65BB-AC63-C37E1A61C09A}"/>
              </a:ext>
            </a:extLst>
          </p:cNvPr>
          <p:cNvSpPr>
            <a:spLocks noGrp="1"/>
          </p:cNvSpPr>
          <p:nvPr>
            <p:ph type="body" sz="quarter" idx="23"/>
          </p:nvPr>
        </p:nvSpPr>
        <p:spPr>
          <a:xfrm>
            <a:off x="138546" y="1273465"/>
            <a:ext cx="4750569" cy="5198400"/>
          </a:xfrm>
        </p:spPr>
        <p:txBody>
          <a:bodyPr>
            <a:normAutofit/>
          </a:bodyPr>
          <a:lstStyle/>
          <a:p>
            <a:pPr marL="380990" indent="-380990">
              <a:buFont typeface="Arial" panose="020B0604020202020204" pitchFamily="34" charset="0"/>
              <a:buChar char="•"/>
            </a:pPr>
            <a:r>
              <a:rPr lang="en-GB" sz="1600" dirty="0">
                <a:solidFill>
                  <a:schemeClr val="tx1">
                    <a:lumMod val="20000"/>
                    <a:lumOff val="80000"/>
                  </a:schemeClr>
                </a:solidFill>
              </a:rPr>
              <a:t>Read all prompts and instructions within EM carefully</a:t>
            </a:r>
          </a:p>
          <a:p>
            <a:pPr marL="380990" indent="-380990">
              <a:buFont typeface="Arial" panose="020B0604020202020204" pitchFamily="34" charset="0"/>
              <a:buChar char="•"/>
            </a:pPr>
            <a:endParaRPr lang="en-GB" sz="1600" dirty="0">
              <a:solidFill>
                <a:schemeClr val="tx1">
                  <a:lumMod val="20000"/>
                  <a:lumOff val="80000"/>
                </a:schemeClr>
              </a:solidFill>
            </a:endParaRPr>
          </a:p>
          <a:p>
            <a:pPr marL="380990" indent="-380990">
              <a:buFont typeface="Arial" panose="020B0604020202020204" pitchFamily="34" charset="0"/>
              <a:buChar char="•"/>
            </a:pPr>
            <a:r>
              <a:rPr lang="en-GB" sz="1600" dirty="0">
                <a:solidFill>
                  <a:schemeClr val="tx1">
                    <a:lumMod val="20000"/>
                    <a:lumOff val="80000"/>
                  </a:schemeClr>
                </a:solidFill>
              </a:rPr>
              <a:t>Save and come back to your submission as needed, it does to need to be submitted in one go </a:t>
            </a:r>
          </a:p>
          <a:p>
            <a:pPr marL="380990" indent="-380990">
              <a:buFont typeface="Arial" panose="020B0604020202020204" pitchFamily="34" charset="0"/>
              <a:buChar char="•"/>
            </a:pPr>
            <a:endParaRPr lang="en-GB" sz="1600" dirty="0"/>
          </a:p>
          <a:p>
            <a:pPr marL="380990" indent="-380990">
              <a:buFont typeface="Arial" panose="020B0604020202020204" pitchFamily="34" charset="0"/>
              <a:buChar char="•"/>
            </a:pPr>
            <a:r>
              <a:rPr lang="en-GB" sz="1600" dirty="0">
                <a:solidFill>
                  <a:schemeClr val="tx2"/>
                </a:solidFill>
              </a:rPr>
              <a:t>Do </a:t>
            </a:r>
            <a:r>
              <a:rPr lang="en-GB" sz="1600" b="1" i="1" dirty="0">
                <a:solidFill>
                  <a:schemeClr val="tx2"/>
                </a:solidFill>
              </a:rPr>
              <a:t>download, save and check the PDF </a:t>
            </a:r>
            <a:r>
              <a:rPr lang="en-GB" sz="1600" dirty="0">
                <a:solidFill>
                  <a:schemeClr val="tx2"/>
                </a:solidFill>
              </a:rPr>
              <a:t>generated at the end of the submission process </a:t>
            </a:r>
            <a:r>
              <a:rPr lang="en-GB" sz="1600" b="1" i="1" dirty="0">
                <a:solidFill>
                  <a:schemeClr val="tx2"/>
                </a:solidFill>
              </a:rPr>
              <a:t>before</a:t>
            </a:r>
            <a:r>
              <a:rPr lang="en-GB" sz="1600" dirty="0">
                <a:solidFill>
                  <a:schemeClr val="tx2"/>
                </a:solidFill>
              </a:rPr>
              <a:t> finally clicking on “submit”</a:t>
            </a:r>
          </a:p>
          <a:p>
            <a:pPr marL="380990" indent="-380990">
              <a:buFont typeface="Arial" panose="020B0604020202020204" pitchFamily="34" charset="0"/>
              <a:buChar char="•"/>
            </a:pPr>
            <a:r>
              <a:rPr lang="en-GB" sz="1600" dirty="0">
                <a:solidFill>
                  <a:schemeClr val="tx2"/>
                </a:solidFill>
              </a:rPr>
              <a:t>Share the final PDF with all Authors once the submission had been made</a:t>
            </a:r>
          </a:p>
          <a:p>
            <a:endParaRPr lang="LID4096" sz="1600" dirty="0"/>
          </a:p>
        </p:txBody>
      </p:sp>
      <p:sp>
        <p:nvSpPr>
          <p:cNvPr id="6" name="Title 5">
            <a:extLst>
              <a:ext uri="{FF2B5EF4-FFF2-40B4-BE49-F238E27FC236}">
                <a16:creationId xmlns:a16="http://schemas.microsoft.com/office/drawing/2014/main" id="{4456201E-A19F-2C86-3812-99498D88D8FB}"/>
              </a:ext>
            </a:extLst>
          </p:cNvPr>
          <p:cNvSpPr>
            <a:spLocks noGrp="1"/>
          </p:cNvSpPr>
          <p:nvPr>
            <p:ph type="title"/>
          </p:nvPr>
        </p:nvSpPr>
        <p:spPr>
          <a:xfrm>
            <a:off x="311151" y="260351"/>
            <a:ext cx="11359481" cy="673100"/>
          </a:xfrm>
        </p:spPr>
        <p:txBody>
          <a:bodyPr/>
          <a:lstStyle/>
          <a:p>
            <a:r>
              <a:rPr lang="en-GB" dirty="0">
                <a:solidFill>
                  <a:schemeClr val="accent1"/>
                </a:solidFill>
                <a:latin typeface="Georgia" panose="02040502050405020303" pitchFamily="18" charset="0"/>
              </a:rPr>
              <a:t>Making a submission in Editorial Manager </a:t>
            </a:r>
            <a:endParaRPr lang="LID4096" dirty="0">
              <a:solidFill>
                <a:schemeClr val="accent1"/>
              </a:solidFill>
              <a:latin typeface="Georgia" panose="02040502050405020303" pitchFamily="18" charset="0"/>
            </a:endParaRPr>
          </a:p>
        </p:txBody>
      </p:sp>
      <p:pic>
        <p:nvPicPr>
          <p:cNvPr id="3" name="Picture 2" descr="A screenshot of a computer&#10;&#10;AI-generated content may be incorrect.">
            <a:extLst>
              <a:ext uri="{FF2B5EF4-FFF2-40B4-BE49-F238E27FC236}">
                <a16:creationId xmlns:a16="http://schemas.microsoft.com/office/drawing/2014/main" id="{96DA5215-10F0-AB1B-3569-796666AF349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63127" y="1025981"/>
            <a:ext cx="5907506" cy="5667921"/>
          </a:xfrm>
          <a:prstGeom prst="rect">
            <a:avLst/>
          </a:prstGeom>
        </p:spPr>
      </p:pic>
    </p:spTree>
    <p:extLst>
      <p:ext uri="{BB962C8B-B14F-4D97-AF65-F5344CB8AC3E}">
        <p14:creationId xmlns:p14="http://schemas.microsoft.com/office/powerpoint/2010/main" val="3353776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DCCBF557-358B-86C4-072D-5CD0929A8B16}"/>
            </a:ext>
          </a:extLst>
        </p:cNvPr>
        <p:cNvGrpSpPr/>
        <p:nvPr/>
      </p:nvGrpSpPr>
      <p:grpSpPr>
        <a:xfrm>
          <a:off x="0" y="0"/>
          <a:ext cx="0" cy="0"/>
          <a:chOff x="0" y="0"/>
          <a:chExt cx="0" cy="0"/>
        </a:xfrm>
      </p:grpSpPr>
      <p:grpSp>
        <p:nvGrpSpPr>
          <p:cNvPr id="8" name="Group 7">
            <a:extLst>
              <a:ext uri="{FF2B5EF4-FFF2-40B4-BE49-F238E27FC236}">
                <a16:creationId xmlns:a16="http://schemas.microsoft.com/office/drawing/2014/main" id="{751EC056-69A0-83B8-CB9F-70C798CEC41A}"/>
              </a:ext>
            </a:extLst>
          </p:cNvPr>
          <p:cNvGrpSpPr>
            <a:grpSpLocks noChangeAspect="1"/>
          </p:cNvGrpSpPr>
          <p:nvPr/>
        </p:nvGrpSpPr>
        <p:grpSpPr>
          <a:xfrm>
            <a:off x="10845469" y="190059"/>
            <a:ext cx="1079408" cy="1188245"/>
            <a:chOff x="0" y="-2994"/>
            <a:chExt cx="896785" cy="987208"/>
          </a:xfrm>
        </p:grpSpPr>
        <p:sp>
          <p:nvSpPr>
            <p:cNvPr id="9" name="Rectangle 8">
              <a:extLst>
                <a:ext uri="{FF2B5EF4-FFF2-40B4-BE49-F238E27FC236}">
                  <a16:creationId xmlns:a16="http://schemas.microsoft.com/office/drawing/2014/main" id="{BDDB0A1E-A1BA-81FC-55CF-1F09A8383BD5}"/>
                </a:ext>
              </a:extLst>
            </p:cNvPr>
            <p:cNvSpPr/>
            <p:nvPr/>
          </p:nvSpPr>
          <p:spPr>
            <a:xfrm>
              <a:off x="0" y="-2994"/>
              <a:ext cx="896785" cy="98720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endParaRPr lang="LID4096" sz="2400">
                <a:solidFill>
                  <a:prstClr val="white"/>
                </a:solidFill>
                <a:latin typeface="Calibri" panose="020F0502020204030204"/>
              </a:endParaRPr>
            </a:p>
          </p:txBody>
        </p:sp>
        <p:pic>
          <p:nvPicPr>
            <p:cNvPr id="10" name="Picture 9">
              <a:extLst>
                <a:ext uri="{FF2B5EF4-FFF2-40B4-BE49-F238E27FC236}">
                  <a16:creationId xmlns:a16="http://schemas.microsoft.com/office/drawing/2014/main" id="{AAAC8027-E502-BAB3-F7E0-69ED7CCF597A}"/>
                </a:ext>
              </a:extLst>
            </p:cNvPr>
            <p:cNvPicPr>
              <a:picLocks noChangeAspect="1"/>
            </p:cNvPicPr>
            <p:nvPr/>
          </p:nvPicPr>
          <p:blipFill>
            <a:blip r:embed="rId3"/>
            <a:stretch>
              <a:fillRect/>
            </a:stretch>
          </p:blipFill>
          <p:spPr>
            <a:xfrm>
              <a:off x="56562" y="47135"/>
              <a:ext cx="786452" cy="865707"/>
            </a:xfrm>
            <a:prstGeom prst="rect">
              <a:avLst/>
            </a:prstGeom>
          </p:spPr>
        </p:pic>
      </p:grpSp>
      <p:sp>
        <p:nvSpPr>
          <p:cNvPr id="11" name="Text Placeholder 1">
            <a:extLst>
              <a:ext uri="{FF2B5EF4-FFF2-40B4-BE49-F238E27FC236}">
                <a16:creationId xmlns:a16="http://schemas.microsoft.com/office/drawing/2014/main" id="{E462AF2F-E81E-885E-85B7-BCE856DB55E8}"/>
              </a:ext>
            </a:extLst>
          </p:cNvPr>
          <p:cNvSpPr txBox="1">
            <a:spLocks/>
          </p:cNvSpPr>
          <p:nvPr/>
        </p:nvSpPr>
        <p:spPr>
          <a:xfrm>
            <a:off x="331844" y="465380"/>
            <a:ext cx="8605316" cy="912924"/>
          </a:xfrm>
          <a:prstGeom prst="rect">
            <a:avLst/>
          </a:prstGeom>
        </p:spPr>
        <p:txBody>
          <a:bodyPr anchor="ctr">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609585">
              <a:buNone/>
            </a:pPr>
            <a:r>
              <a:rPr lang="en-US" sz="4600" dirty="0">
                <a:solidFill>
                  <a:schemeClr val="accent2"/>
                </a:solidFill>
                <a:latin typeface="Georgia" panose="02040502050405020303" pitchFamily="18" charset="0"/>
              </a:rPr>
              <a:t>5. Common mistakes</a:t>
            </a:r>
            <a:endParaRPr lang="en-US" sz="4600" b="1" dirty="0">
              <a:solidFill>
                <a:schemeClr val="accent2"/>
              </a:solidFill>
              <a:latin typeface="Georgia" panose="02040502050405020303" pitchFamily="18" charset="0"/>
            </a:endParaRPr>
          </a:p>
        </p:txBody>
      </p:sp>
      <p:pic>
        <p:nvPicPr>
          <p:cNvPr id="2" name="Picture Placeholder 8">
            <a:extLst>
              <a:ext uri="{FF2B5EF4-FFF2-40B4-BE49-F238E27FC236}">
                <a16:creationId xmlns:a16="http://schemas.microsoft.com/office/drawing/2014/main" id="{05F03F94-727D-C141-B14C-3329A326384B}"/>
              </a:ext>
            </a:extLst>
          </p:cNvPr>
          <p:cNvPicPr>
            <a:picLocks noChangeAspect="1"/>
          </p:cNvPicPr>
          <p:nvPr/>
        </p:nvPicPr>
        <p:blipFill>
          <a:blip r:embed="rId4" cstate="hqprint">
            <a:extLst>
              <a:ext uri="{28A0092B-C50C-407E-A947-70E740481C1C}">
                <a14:useLocalDpi xmlns:a14="http://schemas.microsoft.com/office/drawing/2010/main"/>
              </a:ext>
            </a:extLst>
          </a:blip>
          <a:srcRect t="23485" r="21010" b="9825"/>
          <a:stretch/>
        </p:blipFill>
        <p:spPr>
          <a:xfrm>
            <a:off x="547963" y="3136490"/>
            <a:ext cx="5788675" cy="3256130"/>
          </a:xfrm>
          <a:prstGeom prst="rect">
            <a:avLst/>
          </a:prstGeom>
        </p:spPr>
      </p:pic>
      <p:sp>
        <p:nvSpPr>
          <p:cNvPr id="3" name="Text Placeholder 1">
            <a:extLst>
              <a:ext uri="{FF2B5EF4-FFF2-40B4-BE49-F238E27FC236}">
                <a16:creationId xmlns:a16="http://schemas.microsoft.com/office/drawing/2014/main" id="{6780AEAE-A832-03D4-B492-5F9C681040C5}"/>
              </a:ext>
            </a:extLst>
          </p:cNvPr>
          <p:cNvSpPr txBox="1">
            <a:spLocks/>
          </p:cNvSpPr>
          <p:nvPr/>
        </p:nvSpPr>
        <p:spPr>
          <a:xfrm>
            <a:off x="1394058" y="784181"/>
            <a:ext cx="8605316" cy="1811320"/>
          </a:xfrm>
          <a:prstGeom prst="rect">
            <a:avLst/>
          </a:prstGeom>
        </p:spPr>
        <p:txBody>
          <a:bodyPr anchor="ctr">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609585">
              <a:buNone/>
            </a:pPr>
            <a:r>
              <a:rPr lang="en-US" sz="4400" dirty="0">
                <a:solidFill>
                  <a:schemeClr val="accent2"/>
                </a:solidFill>
                <a:latin typeface="Georgia" panose="02040502050405020303" pitchFamily="18" charset="0"/>
              </a:rPr>
              <a:t>…or </a:t>
            </a:r>
            <a:r>
              <a:rPr lang="en-US" sz="4400" i="1" dirty="0">
                <a:solidFill>
                  <a:schemeClr val="accent2"/>
                </a:solidFill>
                <a:latin typeface="Georgia" panose="02040502050405020303" pitchFamily="18" charset="0"/>
              </a:rPr>
              <a:t>How to Avoid Desk Rejection </a:t>
            </a:r>
            <a:endParaRPr lang="en-US" sz="4400" b="1" i="1" dirty="0">
              <a:solidFill>
                <a:schemeClr val="accent2"/>
              </a:solidFill>
              <a:latin typeface="Georgia" panose="02040502050405020303" pitchFamily="18" charset="0"/>
            </a:endParaRPr>
          </a:p>
        </p:txBody>
      </p:sp>
    </p:spTree>
    <p:extLst>
      <p:ext uri="{BB962C8B-B14F-4D97-AF65-F5344CB8AC3E}">
        <p14:creationId xmlns:p14="http://schemas.microsoft.com/office/powerpoint/2010/main" val="2301768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8BEFB5-FA04-C6FE-B003-3F2FB9E2EEC5}"/>
            </a:ext>
          </a:extLst>
        </p:cNvPr>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10F8CD37-6ABA-DDBB-A61F-CB1BE16F6AA4}"/>
              </a:ext>
            </a:extLst>
          </p:cNvPr>
          <p:cNvSpPr txBox="1">
            <a:spLocks/>
          </p:cNvSpPr>
          <p:nvPr/>
        </p:nvSpPr>
        <p:spPr>
          <a:xfrm>
            <a:off x="633663" y="1022684"/>
            <a:ext cx="10515600" cy="5835315"/>
          </a:xfrm>
          <a:prstGeom prst="rect">
            <a:avLst/>
          </a:prstGeom>
        </p:spPr>
        <p:txBody>
          <a:bodyPr>
            <a:noAutofit/>
          </a:bodyPr>
          <a:lstStyle>
            <a:lvl1pPr marL="383990" indent="-383990" algn="l" defTabSz="914377" rtl="0" eaLnBrk="1" latinLnBrk="0" hangingPunct="1">
              <a:lnSpc>
                <a:spcPct val="100000"/>
              </a:lnSpc>
              <a:spcBef>
                <a:spcPts val="0"/>
              </a:spcBef>
              <a:spcAft>
                <a:spcPts val="800"/>
              </a:spcAft>
              <a:buClr>
                <a:srgbClr val="FF6C00"/>
              </a:buClr>
              <a:buFont typeface="Arial" panose="020B0604020202020204" pitchFamily="34" charset="0"/>
              <a:buChar char="•"/>
              <a:tabLst>
                <a:tab pos="355591" algn="l"/>
              </a:tabLst>
              <a:defRPr lang="nl-NL" sz="2400" kern="1200" dirty="0" smtClean="0">
                <a:solidFill>
                  <a:schemeClr val="tx1"/>
                </a:solidFill>
                <a:latin typeface="+mn-lt"/>
                <a:ea typeface="+mn-ea"/>
                <a:cs typeface="+mn-cs"/>
              </a:defRPr>
            </a:lvl1pPr>
            <a:lvl2pPr marL="623984" indent="-239994" algn="l" defTabSz="914377" rtl="0" eaLnBrk="1" latinLnBrk="0" hangingPunct="1">
              <a:lnSpc>
                <a:spcPct val="100000"/>
              </a:lnSpc>
              <a:spcBef>
                <a:spcPts val="500"/>
              </a:spcBef>
              <a:spcAft>
                <a:spcPts val="800"/>
              </a:spcAft>
              <a:buClr>
                <a:srgbClr val="FF6C00"/>
              </a:buClr>
              <a:buFont typeface="Arial" panose="020B0604020202020204" pitchFamily="34" charset="0"/>
              <a:buChar char="−"/>
              <a:defRPr lang="nl-NL" sz="2133" kern="1200" dirty="0" smtClean="0">
                <a:solidFill>
                  <a:schemeClr val="tx1"/>
                </a:solidFill>
                <a:latin typeface="+mn-lt"/>
                <a:ea typeface="+mn-ea"/>
                <a:cs typeface="+mn-cs"/>
              </a:defRPr>
            </a:lvl2pPr>
            <a:lvl3pPr marL="863978" indent="-239994" algn="l" defTabSz="914377" rtl="0" eaLnBrk="1" latinLnBrk="0" hangingPunct="1">
              <a:lnSpc>
                <a:spcPct val="100000"/>
              </a:lnSpc>
              <a:spcBef>
                <a:spcPts val="500"/>
              </a:spcBef>
              <a:spcAft>
                <a:spcPts val="800"/>
              </a:spcAft>
              <a:buClr>
                <a:srgbClr val="FF6C00"/>
              </a:buClr>
              <a:buFont typeface="Courier New" panose="02070309020205020404" pitchFamily="49" charset="0"/>
              <a:buChar char="o"/>
              <a:defRPr lang="nl-NL" sz="2133" kern="1200" dirty="0" smtClean="0">
                <a:solidFill>
                  <a:schemeClr val="tx1"/>
                </a:solidFill>
                <a:latin typeface="+mn-lt"/>
                <a:ea typeface="+mn-ea"/>
                <a:cs typeface="+mn-cs"/>
              </a:defRPr>
            </a:lvl3pPr>
            <a:lvl4pPr marL="1103972" indent="-239994" algn="l" defTabSz="914377" rtl="0" eaLnBrk="1" latinLnBrk="0" hangingPunct="1">
              <a:lnSpc>
                <a:spcPct val="100000"/>
              </a:lnSpc>
              <a:spcBef>
                <a:spcPts val="500"/>
              </a:spcBef>
              <a:spcAft>
                <a:spcPts val="800"/>
              </a:spcAft>
              <a:buClr>
                <a:srgbClr val="FF6C00"/>
              </a:buClr>
              <a:buFont typeface="Courier New" panose="02070309020205020404" pitchFamily="49" charset="0"/>
              <a:buChar char="o"/>
              <a:defRPr lang="nl-NL" sz="2133" kern="1200" dirty="0" smtClean="0">
                <a:solidFill>
                  <a:schemeClr val="tx1"/>
                </a:solidFill>
                <a:latin typeface="+mn-lt"/>
                <a:ea typeface="+mn-ea"/>
                <a:cs typeface="+mn-cs"/>
              </a:defRPr>
            </a:lvl4pPr>
            <a:lvl5pPr marL="1343966" indent="-239994" algn="l" defTabSz="914377" rtl="0" eaLnBrk="1" latinLnBrk="0" hangingPunct="1">
              <a:lnSpc>
                <a:spcPct val="100000"/>
              </a:lnSpc>
              <a:spcBef>
                <a:spcPts val="500"/>
              </a:spcBef>
              <a:spcAft>
                <a:spcPts val="800"/>
              </a:spcAft>
              <a:buClr>
                <a:srgbClr val="FF6C00"/>
              </a:buClr>
              <a:buFont typeface="Courier New" panose="02070309020205020404" pitchFamily="49" charset="0"/>
              <a:buChar char="o"/>
              <a:defRPr lang="de-DE" sz="2133" kern="1200" dirty="0">
                <a:solidFill>
                  <a:schemeClr val="tx1"/>
                </a:solidFill>
                <a:latin typeface="+mn-lt"/>
                <a:ea typeface="+mn-ea"/>
                <a:cs typeface="+mn-cs"/>
              </a:defRPr>
            </a:lvl5pPr>
            <a:lvl6pPr marL="2412940" indent="-260344" algn="l" defTabSz="914377" rtl="0" eaLnBrk="1" latinLnBrk="0" hangingPunct="1">
              <a:lnSpc>
                <a:spcPct val="90000"/>
              </a:lnSpc>
              <a:spcBef>
                <a:spcPts val="500"/>
              </a:spcBef>
              <a:buClr>
                <a:srgbClr val="FF6C00"/>
              </a:buClr>
              <a:buFont typeface="Courier New" panose="02070309020205020404" pitchFamily="49" charset="0"/>
              <a:buChar char="o"/>
              <a:defRPr sz="1800" kern="1200">
                <a:solidFill>
                  <a:schemeClr val="tx1"/>
                </a:solidFill>
                <a:latin typeface="+mn-lt"/>
                <a:ea typeface="+mn-ea"/>
                <a:cs typeface="+mn-cs"/>
              </a:defRPr>
            </a:lvl6pPr>
            <a:lvl7pPr marL="2749482" indent="-234945" algn="l" defTabSz="914377" rtl="0" eaLnBrk="1" latinLnBrk="0" hangingPunct="1">
              <a:lnSpc>
                <a:spcPct val="90000"/>
              </a:lnSpc>
              <a:spcBef>
                <a:spcPts val="500"/>
              </a:spcBef>
              <a:buClr>
                <a:srgbClr val="FF6C00"/>
              </a:buClr>
              <a:buFont typeface="Courier New" panose="02070309020205020404" pitchFamily="49" charset="0"/>
              <a:buChar char="o"/>
              <a:defRPr sz="1800" kern="1200">
                <a:solidFill>
                  <a:schemeClr val="tx1"/>
                </a:solidFill>
                <a:latin typeface="+mn-lt"/>
                <a:ea typeface="+mn-ea"/>
                <a:cs typeface="+mn-cs"/>
              </a:defRPr>
            </a:lvl7pPr>
            <a:lvl8pPr marL="3111422" indent="-243411" algn="l" defTabSz="914377" rtl="0" eaLnBrk="1" latinLnBrk="0" hangingPunct="1">
              <a:lnSpc>
                <a:spcPct val="90000"/>
              </a:lnSpc>
              <a:spcBef>
                <a:spcPts val="500"/>
              </a:spcBef>
              <a:buClr>
                <a:srgbClr val="FF6C00"/>
              </a:buClr>
              <a:buFont typeface="Courier New" panose="02070309020205020404" pitchFamily="49" charset="0"/>
              <a:buChar char="o"/>
              <a:defRPr sz="1800" kern="1200">
                <a:solidFill>
                  <a:schemeClr val="tx1"/>
                </a:solidFill>
                <a:latin typeface="+mn-lt"/>
                <a:ea typeface="+mn-ea"/>
                <a:cs typeface="+mn-cs"/>
              </a:defRPr>
            </a:lvl8pPr>
            <a:lvl9pPr marL="3464897" indent="-237061" algn="l" defTabSz="914377" rtl="0" eaLnBrk="1" latinLnBrk="0" hangingPunct="1">
              <a:lnSpc>
                <a:spcPct val="90000"/>
              </a:lnSpc>
              <a:spcBef>
                <a:spcPts val="500"/>
              </a:spcBef>
              <a:buClr>
                <a:srgbClr val="FF6C00"/>
              </a:buClr>
              <a:buFont typeface="Courier New" panose="02070309020205020404" pitchFamily="49" charset="0"/>
              <a:buChar char="o"/>
              <a:defRPr sz="1800" kern="1200">
                <a:solidFill>
                  <a:schemeClr val="tx1"/>
                </a:solidFill>
                <a:latin typeface="+mn-lt"/>
                <a:ea typeface="+mn-ea"/>
                <a:cs typeface="+mn-cs"/>
              </a:defRPr>
            </a:lvl9pPr>
          </a:lstStyle>
          <a:p>
            <a:pPr marL="457200" indent="-457200">
              <a:buFont typeface="+mj-lt"/>
              <a:buAutoNum type="arabicPeriod"/>
            </a:pPr>
            <a:r>
              <a:rPr lang="en-GB" altLang="en-US" sz="1600" dirty="0">
                <a:cs typeface="Arial" panose="020B0604020202020204" pitchFamily="34" charset="0"/>
              </a:rPr>
              <a:t>“Manuscript (without author names)” file not </a:t>
            </a:r>
            <a:r>
              <a:rPr lang="en-GB" altLang="en-US" sz="1600" i="1" dirty="0">
                <a:cs typeface="Arial" panose="020B0604020202020204" pitchFamily="34" charset="0"/>
              </a:rPr>
              <a:t>anonymous</a:t>
            </a:r>
            <a:r>
              <a:rPr lang="en-GB" altLang="en-US" sz="1600" dirty="0">
                <a:cs typeface="Arial" panose="020B0604020202020204" pitchFamily="34" charset="0"/>
              </a:rPr>
              <a:t> </a:t>
            </a:r>
          </a:p>
          <a:p>
            <a:pPr marL="457200" indent="-457200">
              <a:buFont typeface="+mj-lt"/>
              <a:buAutoNum type="arabicPeriod"/>
            </a:pPr>
            <a:r>
              <a:rPr lang="en-GB" altLang="en-US" sz="1600" dirty="0">
                <a:cs typeface="Arial" panose="020B0604020202020204" pitchFamily="34" charset="0"/>
              </a:rPr>
              <a:t>Word count </a:t>
            </a:r>
          </a:p>
          <a:p>
            <a:pPr marL="457200" indent="-457200">
              <a:buFont typeface="+mj-lt"/>
              <a:buAutoNum type="arabicPeriod"/>
            </a:pPr>
            <a:r>
              <a:rPr lang="en-GB" altLang="en-US" sz="1600" i="1" dirty="0">
                <a:cs typeface="Arial" panose="020B0604020202020204" pitchFamily="34" charset="0"/>
              </a:rPr>
              <a:t>Plagiarism</a:t>
            </a:r>
            <a:r>
              <a:rPr lang="en-GB" altLang="en-US" sz="1600" dirty="0">
                <a:cs typeface="Arial" panose="020B0604020202020204" pitchFamily="34" charset="0"/>
              </a:rPr>
              <a:t> and incorrect citation practices </a:t>
            </a:r>
          </a:p>
          <a:p>
            <a:pPr marL="457200" indent="-457200">
              <a:buFont typeface="+mj-lt"/>
              <a:buAutoNum type="arabicPeriod"/>
            </a:pPr>
            <a:r>
              <a:rPr lang="en-GB" altLang="en-US" sz="1600" dirty="0">
                <a:cs typeface="Arial" panose="020B0604020202020204" pitchFamily="34" charset="0"/>
              </a:rPr>
              <a:t>Article type selected not matching the content submitted </a:t>
            </a:r>
          </a:p>
          <a:p>
            <a:pPr marL="457200" indent="-457200">
              <a:buFont typeface="+mj-lt"/>
              <a:buAutoNum type="arabicPeriod"/>
            </a:pPr>
            <a:r>
              <a:rPr lang="en-GB" altLang="en-US" sz="1600" i="1" dirty="0">
                <a:cs typeface="Arial" panose="020B0604020202020204" pitchFamily="34" charset="0"/>
              </a:rPr>
              <a:t>Ethics statement </a:t>
            </a:r>
            <a:r>
              <a:rPr lang="en-GB" altLang="en-US" sz="1600" dirty="0">
                <a:cs typeface="Arial" panose="020B0604020202020204" pitchFamily="34" charset="0"/>
              </a:rPr>
              <a:t>and IRB approval </a:t>
            </a:r>
          </a:p>
          <a:p>
            <a:pPr marL="457200" indent="-457200">
              <a:buFont typeface="+mj-lt"/>
              <a:buAutoNum type="arabicPeriod"/>
            </a:pPr>
            <a:r>
              <a:rPr lang="en-GB" altLang="en-US" sz="1600" dirty="0">
                <a:cs typeface="Arial" panose="020B0604020202020204" pitchFamily="34" charset="0"/>
              </a:rPr>
              <a:t>Missing or incorrect declarations:</a:t>
            </a:r>
          </a:p>
          <a:p>
            <a:pPr marL="1143000" lvl="2" indent="-228600">
              <a:lnSpc>
                <a:spcPct val="115000"/>
              </a:lnSpc>
              <a:buSzPts val="1000"/>
              <a:buFont typeface="Wingdings" panose="05000000000000000000" pitchFamily="2" charset="2"/>
              <a:buChar char=""/>
              <a:tabLst>
                <a:tab pos="1371600" algn="l"/>
              </a:tabLst>
            </a:pPr>
            <a:r>
              <a:rPr lang="en-GB" sz="1600" dirty="0">
                <a:cs typeface="Times New Roman" panose="02020603050405020304" pitchFamily="18" charset="0"/>
              </a:rPr>
              <a:t>Funding Statement </a:t>
            </a:r>
          </a:p>
          <a:p>
            <a:pPr marL="1143000" lvl="2" indent="-228600">
              <a:lnSpc>
                <a:spcPct val="115000"/>
              </a:lnSpc>
              <a:buSzPts val="1000"/>
              <a:buFont typeface="Wingdings" panose="05000000000000000000" pitchFamily="2" charset="2"/>
              <a:buChar char=""/>
              <a:tabLst>
                <a:tab pos="1371600" algn="l"/>
              </a:tabLst>
            </a:pPr>
            <a:r>
              <a:rPr lang="en-GB" sz="1600" dirty="0">
                <a:cs typeface="Times New Roman" panose="02020603050405020304" pitchFamily="18" charset="0"/>
              </a:rPr>
              <a:t>Declaration of the use of AI</a:t>
            </a:r>
          </a:p>
          <a:p>
            <a:pPr marL="1143000" lvl="2" indent="-228600">
              <a:lnSpc>
                <a:spcPct val="115000"/>
              </a:lnSpc>
              <a:buSzPts val="1000"/>
              <a:buFont typeface="Wingdings" panose="05000000000000000000" pitchFamily="2" charset="2"/>
              <a:buChar char=""/>
              <a:tabLst>
                <a:tab pos="1371600" algn="l"/>
              </a:tabLst>
            </a:pPr>
            <a:r>
              <a:rPr lang="en-GB" sz="1600" dirty="0">
                <a:cs typeface="Times New Roman" panose="02020603050405020304" pitchFamily="18" charset="0"/>
              </a:rPr>
              <a:t>Data availability statement</a:t>
            </a:r>
          </a:p>
          <a:p>
            <a:pPr marL="1143000" lvl="2" indent="-228600">
              <a:lnSpc>
                <a:spcPct val="115000"/>
              </a:lnSpc>
              <a:buSzPts val="1000"/>
              <a:buFont typeface="Wingdings" panose="05000000000000000000" pitchFamily="2" charset="2"/>
              <a:buChar char=""/>
              <a:tabLst>
                <a:tab pos="1371600" algn="l"/>
              </a:tabLst>
            </a:pPr>
            <a:r>
              <a:rPr lang="en-GB" sz="1600" dirty="0">
                <a:cs typeface="Times New Roman" panose="02020603050405020304" pitchFamily="18" charset="0"/>
              </a:rPr>
              <a:t>Acknowledgements</a:t>
            </a:r>
          </a:p>
          <a:p>
            <a:pPr marL="1143000" lvl="2" indent="-228600">
              <a:lnSpc>
                <a:spcPct val="115000"/>
              </a:lnSpc>
              <a:buSzPts val="1000"/>
              <a:buFont typeface="Wingdings" panose="05000000000000000000" pitchFamily="2" charset="2"/>
              <a:buChar char=""/>
              <a:tabLst>
                <a:tab pos="1371600" algn="l"/>
              </a:tabLst>
            </a:pPr>
            <a:r>
              <a:rPr lang="en-GB" altLang="en-US" sz="1600" dirty="0">
                <a:cs typeface="Arial" panose="020B0604020202020204" pitchFamily="34" charset="0"/>
              </a:rPr>
              <a:t>Conflict of interest statement</a:t>
            </a:r>
          </a:p>
          <a:p>
            <a:pPr marL="457200" indent="-457200">
              <a:buFont typeface="+mj-lt"/>
              <a:buAutoNum type="arabicPeriod"/>
            </a:pPr>
            <a:r>
              <a:rPr lang="en-GB" altLang="en-US" sz="1600" dirty="0">
                <a:cs typeface="Arial" panose="020B0604020202020204" pitchFamily="34" charset="0"/>
              </a:rPr>
              <a:t>Incorrect, inconsistent or incomplete </a:t>
            </a:r>
            <a:r>
              <a:rPr lang="en-GB" altLang="en-US" sz="1600" i="1" dirty="0">
                <a:cs typeface="Arial" panose="020B0604020202020204" pitchFamily="34" charset="0"/>
              </a:rPr>
              <a:t>authorship </a:t>
            </a:r>
            <a:r>
              <a:rPr lang="en-GB" altLang="en-US" sz="1600" dirty="0">
                <a:cs typeface="Arial" panose="020B0604020202020204" pitchFamily="34" charset="0"/>
              </a:rPr>
              <a:t>information</a:t>
            </a:r>
          </a:p>
          <a:p>
            <a:pPr marL="457200" indent="-457200">
              <a:buFont typeface="+mj-lt"/>
              <a:buAutoNum type="arabicPeriod"/>
            </a:pPr>
            <a:endParaRPr lang="en-GB" altLang="en-US" sz="1600" i="1" dirty="0">
              <a:cs typeface="Arial" panose="020B0604020202020204" pitchFamily="34" charset="0"/>
            </a:endParaRPr>
          </a:p>
          <a:p>
            <a:pPr marL="0" indent="0">
              <a:buNone/>
            </a:pPr>
            <a:r>
              <a:rPr lang="en-GB" altLang="en-US" sz="1600" dirty="0">
                <a:solidFill>
                  <a:schemeClr val="accent1"/>
                </a:solidFill>
                <a:cs typeface="Arial" panose="020B0604020202020204" pitchFamily="34" charset="0"/>
              </a:rPr>
              <a:t>Always check your files carefully, before and during submission, to ensure you do not get desk rejected because of these basic errors </a:t>
            </a:r>
            <a:endParaRPr lang="en-GB" sz="1600" dirty="0">
              <a:solidFill>
                <a:schemeClr val="accent1"/>
              </a:solidFill>
              <a:cs typeface="Arial" panose="020B0604020202020204" pitchFamily="34" charset="0"/>
            </a:endParaRPr>
          </a:p>
        </p:txBody>
      </p:sp>
      <p:sp>
        <p:nvSpPr>
          <p:cNvPr id="14" name="Title 1">
            <a:extLst>
              <a:ext uri="{FF2B5EF4-FFF2-40B4-BE49-F238E27FC236}">
                <a16:creationId xmlns:a16="http://schemas.microsoft.com/office/drawing/2014/main" id="{5F50D1A7-CE6F-AA47-52F4-4AF0188C1CF0}"/>
              </a:ext>
            </a:extLst>
          </p:cNvPr>
          <p:cNvSpPr>
            <a:spLocks noGrp="1"/>
          </p:cNvSpPr>
          <p:nvPr>
            <p:ph type="title"/>
          </p:nvPr>
        </p:nvSpPr>
        <p:spPr>
          <a:xfrm>
            <a:off x="477506" y="207600"/>
            <a:ext cx="10515600" cy="661737"/>
          </a:xfrm>
        </p:spPr>
        <p:txBody>
          <a:bodyPr>
            <a:normAutofit/>
          </a:bodyPr>
          <a:lstStyle/>
          <a:p>
            <a:r>
              <a:rPr lang="en-GB" dirty="0">
                <a:solidFill>
                  <a:schemeClr val="accent2"/>
                </a:solidFill>
                <a:latin typeface="Georgia" panose="02040502050405020303" pitchFamily="18" charset="0"/>
                <a:cs typeface="Arial" panose="020B0604020202020204" pitchFamily="34" charset="0"/>
              </a:rPr>
              <a:t>Common reasons for (desk) rejection</a:t>
            </a:r>
            <a:endParaRPr lang="en-GB" i="1" dirty="0">
              <a:solidFill>
                <a:schemeClr val="accent2"/>
              </a:solidFill>
              <a:latin typeface="Georgia" panose="02040502050405020303" pitchFamily="18" charset="0"/>
              <a:cs typeface="Arial" panose="020B0604020202020204" pitchFamily="34" charset="0"/>
            </a:endParaRPr>
          </a:p>
        </p:txBody>
      </p:sp>
    </p:spTree>
    <p:extLst>
      <p:ext uri="{BB962C8B-B14F-4D97-AF65-F5344CB8AC3E}">
        <p14:creationId xmlns:p14="http://schemas.microsoft.com/office/powerpoint/2010/main" val="170534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96ED71-C6B8-79C1-D42D-E6FEA4649AD0}"/>
            </a:ext>
          </a:extLst>
        </p:cNvPr>
        <p:cNvGrpSpPr/>
        <p:nvPr/>
      </p:nvGrpSpPr>
      <p:grpSpPr>
        <a:xfrm>
          <a:off x="0" y="0"/>
          <a:ext cx="0" cy="0"/>
          <a:chOff x="0" y="0"/>
          <a:chExt cx="0" cy="0"/>
        </a:xfrm>
      </p:grpSpPr>
      <p:sp>
        <p:nvSpPr>
          <p:cNvPr id="4" name="Content Placeholder 2">
            <a:extLst>
              <a:ext uri="{FF2B5EF4-FFF2-40B4-BE49-F238E27FC236}">
                <a16:creationId xmlns:a16="http://schemas.microsoft.com/office/drawing/2014/main" id="{C86876D4-D7DC-34A7-23A4-55277DDFCB5E}"/>
              </a:ext>
            </a:extLst>
          </p:cNvPr>
          <p:cNvSpPr txBox="1">
            <a:spLocks/>
          </p:cNvSpPr>
          <p:nvPr/>
        </p:nvSpPr>
        <p:spPr>
          <a:xfrm>
            <a:off x="735531" y="1124993"/>
            <a:ext cx="8760229" cy="2711211"/>
          </a:xfrm>
          <a:prstGeom prst="rect">
            <a:avLst/>
          </a:prstGeom>
        </p:spPr>
        <p:txBody>
          <a:bodyPr>
            <a:noAutofit/>
          </a:bodyPr>
          <a:lstStyle>
            <a:lvl1pPr marL="383990" indent="-383990" algn="l" defTabSz="914377" rtl="0" eaLnBrk="1" latinLnBrk="0" hangingPunct="1">
              <a:lnSpc>
                <a:spcPct val="100000"/>
              </a:lnSpc>
              <a:spcBef>
                <a:spcPts val="0"/>
              </a:spcBef>
              <a:spcAft>
                <a:spcPts val="800"/>
              </a:spcAft>
              <a:buClr>
                <a:srgbClr val="FF6C00"/>
              </a:buClr>
              <a:buFont typeface="Arial" panose="020B0604020202020204" pitchFamily="34" charset="0"/>
              <a:buChar char="•"/>
              <a:tabLst>
                <a:tab pos="355591" algn="l"/>
              </a:tabLst>
              <a:defRPr lang="nl-NL" sz="2400" kern="1200" dirty="0" smtClean="0">
                <a:solidFill>
                  <a:schemeClr val="tx1"/>
                </a:solidFill>
                <a:latin typeface="+mn-lt"/>
                <a:ea typeface="+mn-ea"/>
                <a:cs typeface="+mn-cs"/>
              </a:defRPr>
            </a:lvl1pPr>
            <a:lvl2pPr marL="623984" indent="-239994" algn="l" defTabSz="914377" rtl="0" eaLnBrk="1" latinLnBrk="0" hangingPunct="1">
              <a:lnSpc>
                <a:spcPct val="100000"/>
              </a:lnSpc>
              <a:spcBef>
                <a:spcPts val="500"/>
              </a:spcBef>
              <a:spcAft>
                <a:spcPts val="800"/>
              </a:spcAft>
              <a:buClr>
                <a:srgbClr val="FF6C00"/>
              </a:buClr>
              <a:buFont typeface="Arial" panose="020B0604020202020204" pitchFamily="34" charset="0"/>
              <a:buChar char="−"/>
              <a:defRPr lang="nl-NL" sz="2133" kern="1200" dirty="0" smtClean="0">
                <a:solidFill>
                  <a:schemeClr val="tx1"/>
                </a:solidFill>
                <a:latin typeface="+mn-lt"/>
                <a:ea typeface="+mn-ea"/>
                <a:cs typeface="+mn-cs"/>
              </a:defRPr>
            </a:lvl2pPr>
            <a:lvl3pPr marL="863978" indent="-239994" algn="l" defTabSz="914377" rtl="0" eaLnBrk="1" latinLnBrk="0" hangingPunct="1">
              <a:lnSpc>
                <a:spcPct val="100000"/>
              </a:lnSpc>
              <a:spcBef>
                <a:spcPts val="500"/>
              </a:spcBef>
              <a:spcAft>
                <a:spcPts val="800"/>
              </a:spcAft>
              <a:buClr>
                <a:srgbClr val="FF6C00"/>
              </a:buClr>
              <a:buFont typeface="Courier New" panose="02070309020205020404" pitchFamily="49" charset="0"/>
              <a:buChar char="o"/>
              <a:defRPr lang="nl-NL" sz="2133" kern="1200" dirty="0" smtClean="0">
                <a:solidFill>
                  <a:schemeClr val="tx1"/>
                </a:solidFill>
                <a:latin typeface="+mn-lt"/>
                <a:ea typeface="+mn-ea"/>
                <a:cs typeface="+mn-cs"/>
              </a:defRPr>
            </a:lvl3pPr>
            <a:lvl4pPr marL="1103972" indent="-239994" algn="l" defTabSz="914377" rtl="0" eaLnBrk="1" latinLnBrk="0" hangingPunct="1">
              <a:lnSpc>
                <a:spcPct val="100000"/>
              </a:lnSpc>
              <a:spcBef>
                <a:spcPts val="500"/>
              </a:spcBef>
              <a:spcAft>
                <a:spcPts val="800"/>
              </a:spcAft>
              <a:buClr>
                <a:srgbClr val="FF6C00"/>
              </a:buClr>
              <a:buFont typeface="Courier New" panose="02070309020205020404" pitchFamily="49" charset="0"/>
              <a:buChar char="o"/>
              <a:defRPr lang="nl-NL" sz="2133" kern="1200" dirty="0" smtClean="0">
                <a:solidFill>
                  <a:schemeClr val="tx1"/>
                </a:solidFill>
                <a:latin typeface="+mn-lt"/>
                <a:ea typeface="+mn-ea"/>
                <a:cs typeface="+mn-cs"/>
              </a:defRPr>
            </a:lvl4pPr>
            <a:lvl5pPr marL="1343966" indent="-239994" algn="l" defTabSz="914377" rtl="0" eaLnBrk="1" latinLnBrk="0" hangingPunct="1">
              <a:lnSpc>
                <a:spcPct val="100000"/>
              </a:lnSpc>
              <a:spcBef>
                <a:spcPts val="500"/>
              </a:spcBef>
              <a:spcAft>
                <a:spcPts val="800"/>
              </a:spcAft>
              <a:buClr>
                <a:srgbClr val="FF6C00"/>
              </a:buClr>
              <a:buFont typeface="Courier New" panose="02070309020205020404" pitchFamily="49" charset="0"/>
              <a:buChar char="o"/>
              <a:defRPr lang="de-DE" sz="2133" kern="1200" dirty="0">
                <a:solidFill>
                  <a:schemeClr val="tx1"/>
                </a:solidFill>
                <a:latin typeface="+mn-lt"/>
                <a:ea typeface="+mn-ea"/>
                <a:cs typeface="+mn-cs"/>
              </a:defRPr>
            </a:lvl5pPr>
            <a:lvl6pPr marL="2412940" indent="-260344" algn="l" defTabSz="914377" rtl="0" eaLnBrk="1" latinLnBrk="0" hangingPunct="1">
              <a:lnSpc>
                <a:spcPct val="90000"/>
              </a:lnSpc>
              <a:spcBef>
                <a:spcPts val="500"/>
              </a:spcBef>
              <a:buClr>
                <a:srgbClr val="FF6C00"/>
              </a:buClr>
              <a:buFont typeface="Courier New" panose="02070309020205020404" pitchFamily="49" charset="0"/>
              <a:buChar char="o"/>
              <a:defRPr sz="1800" kern="1200">
                <a:solidFill>
                  <a:schemeClr val="tx1"/>
                </a:solidFill>
                <a:latin typeface="+mn-lt"/>
                <a:ea typeface="+mn-ea"/>
                <a:cs typeface="+mn-cs"/>
              </a:defRPr>
            </a:lvl6pPr>
            <a:lvl7pPr marL="2749482" indent="-234945" algn="l" defTabSz="914377" rtl="0" eaLnBrk="1" latinLnBrk="0" hangingPunct="1">
              <a:lnSpc>
                <a:spcPct val="90000"/>
              </a:lnSpc>
              <a:spcBef>
                <a:spcPts val="500"/>
              </a:spcBef>
              <a:buClr>
                <a:srgbClr val="FF6C00"/>
              </a:buClr>
              <a:buFont typeface="Courier New" panose="02070309020205020404" pitchFamily="49" charset="0"/>
              <a:buChar char="o"/>
              <a:defRPr sz="1800" kern="1200">
                <a:solidFill>
                  <a:schemeClr val="tx1"/>
                </a:solidFill>
                <a:latin typeface="+mn-lt"/>
                <a:ea typeface="+mn-ea"/>
                <a:cs typeface="+mn-cs"/>
              </a:defRPr>
            </a:lvl7pPr>
            <a:lvl8pPr marL="3111422" indent="-243411" algn="l" defTabSz="914377" rtl="0" eaLnBrk="1" latinLnBrk="0" hangingPunct="1">
              <a:lnSpc>
                <a:spcPct val="90000"/>
              </a:lnSpc>
              <a:spcBef>
                <a:spcPts val="500"/>
              </a:spcBef>
              <a:buClr>
                <a:srgbClr val="FF6C00"/>
              </a:buClr>
              <a:buFont typeface="Courier New" panose="02070309020205020404" pitchFamily="49" charset="0"/>
              <a:buChar char="o"/>
              <a:defRPr sz="1800" kern="1200">
                <a:solidFill>
                  <a:schemeClr val="tx1"/>
                </a:solidFill>
                <a:latin typeface="+mn-lt"/>
                <a:ea typeface="+mn-ea"/>
                <a:cs typeface="+mn-cs"/>
              </a:defRPr>
            </a:lvl8pPr>
            <a:lvl9pPr marL="3464897" indent="-237061" algn="l" defTabSz="914377" rtl="0" eaLnBrk="1" latinLnBrk="0" hangingPunct="1">
              <a:lnSpc>
                <a:spcPct val="90000"/>
              </a:lnSpc>
              <a:spcBef>
                <a:spcPts val="500"/>
              </a:spcBef>
              <a:buClr>
                <a:srgbClr val="FF6C00"/>
              </a:buClr>
              <a:buFont typeface="Courier New" panose="02070309020205020404" pitchFamily="49" charset="0"/>
              <a:buChar char="o"/>
              <a:defRPr sz="1800" kern="1200">
                <a:solidFill>
                  <a:schemeClr val="tx1"/>
                </a:solidFill>
                <a:latin typeface="+mn-lt"/>
                <a:ea typeface="+mn-ea"/>
                <a:cs typeface="+mn-cs"/>
              </a:defRPr>
            </a:lvl9pPr>
          </a:lstStyle>
          <a:p>
            <a:pPr marL="0" indent="0">
              <a:buFont typeface="Arial" panose="020B0604020202020204" pitchFamily="34" charset="0"/>
              <a:buNone/>
            </a:pPr>
            <a:r>
              <a:rPr lang="en-GB" sz="1600" b="1" dirty="0">
                <a:cs typeface="Arial" panose="020B0604020202020204" pitchFamily="34" charset="0"/>
              </a:rPr>
              <a:t>In the writing</a:t>
            </a:r>
          </a:p>
          <a:p>
            <a:r>
              <a:rPr lang="en-GB" altLang="en-US" sz="1600" dirty="0">
                <a:cs typeface="Arial" panose="020B0604020202020204" pitchFamily="34" charset="0"/>
              </a:rPr>
              <a:t>Incomprehensible title and/or abstract </a:t>
            </a:r>
          </a:p>
          <a:p>
            <a:r>
              <a:rPr lang="en-GB" altLang="en-US" sz="1600" dirty="0">
                <a:cs typeface="Arial" panose="020B0604020202020204" pitchFamily="34" charset="0"/>
              </a:rPr>
              <a:t>Title/abstract full of abbreviations </a:t>
            </a:r>
          </a:p>
        </p:txBody>
      </p:sp>
      <p:sp>
        <p:nvSpPr>
          <p:cNvPr id="5" name="Content Placeholder 2">
            <a:extLst>
              <a:ext uri="{FF2B5EF4-FFF2-40B4-BE49-F238E27FC236}">
                <a16:creationId xmlns:a16="http://schemas.microsoft.com/office/drawing/2014/main" id="{79BE6229-A5E7-0C9F-F6EB-262D0123FA4C}"/>
              </a:ext>
            </a:extLst>
          </p:cNvPr>
          <p:cNvSpPr txBox="1">
            <a:spLocks/>
          </p:cNvSpPr>
          <p:nvPr/>
        </p:nvSpPr>
        <p:spPr>
          <a:xfrm>
            <a:off x="735531" y="4095510"/>
            <a:ext cx="6539008" cy="2836120"/>
          </a:xfrm>
          <a:prstGeom prst="rect">
            <a:avLst/>
          </a:prstGeom>
        </p:spPr>
        <p:txBody>
          <a:bodyPr vert="horz" lIns="121920" tIns="60960" rIns="121920" bIns="6096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914377">
              <a:spcBef>
                <a:spcPts val="1000"/>
              </a:spcBef>
              <a:buClr>
                <a:schemeClr val="accent2"/>
              </a:buClr>
              <a:buNone/>
            </a:pPr>
            <a:r>
              <a:rPr lang="en-GB" altLang="en-US" sz="1600" dirty="0">
                <a:solidFill>
                  <a:schemeClr val="accent1"/>
                </a:solidFill>
                <a:cs typeface="Arial" panose="020B0604020202020204" pitchFamily="34" charset="0"/>
              </a:rPr>
              <a:t>Poor presentation:</a:t>
            </a:r>
          </a:p>
          <a:p>
            <a:pPr marL="742939" lvl="1" indent="-285750" defTabSz="914377">
              <a:spcBef>
                <a:spcPts val="500"/>
              </a:spcBef>
              <a:buClr>
                <a:schemeClr val="accent2"/>
              </a:buClr>
            </a:pPr>
            <a:r>
              <a:rPr lang="en-GB" altLang="en-US" sz="1600" dirty="0">
                <a:cs typeface="Arial" panose="020B0604020202020204" pitchFamily="34" charset="0"/>
              </a:rPr>
              <a:t>Inconsistent section headers and sub-headers</a:t>
            </a:r>
          </a:p>
          <a:p>
            <a:pPr marL="742939" lvl="1" indent="-285750" defTabSz="914377">
              <a:spcBef>
                <a:spcPts val="500"/>
              </a:spcBef>
              <a:buClr>
                <a:schemeClr val="accent2"/>
              </a:buClr>
            </a:pPr>
            <a:r>
              <a:rPr lang="en-GB" altLang="en-US" sz="1600" dirty="0">
                <a:cs typeface="Arial" panose="020B0604020202020204" pitchFamily="34" charset="0"/>
              </a:rPr>
              <a:t>Lack of line space between sections and illustrations</a:t>
            </a:r>
          </a:p>
          <a:p>
            <a:pPr marL="457189" lvl="1" indent="0" defTabSz="914377">
              <a:spcBef>
                <a:spcPts val="500"/>
              </a:spcBef>
              <a:buClr>
                <a:schemeClr val="accent2"/>
              </a:buClr>
              <a:buNone/>
            </a:pPr>
            <a:endParaRPr lang="en-GB" altLang="en-US" sz="1600" dirty="0">
              <a:cs typeface="Arial" panose="020B0604020202020204" pitchFamily="34" charset="0"/>
            </a:endParaRPr>
          </a:p>
          <a:p>
            <a:pPr marL="0" indent="0" defTabSz="914377">
              <a:spcBef>
                <a:spcPts val="1000"/>
              </a:spcBef>
              <a:buClr>
                <a:schemeClr val="accent2"/>
              </a:buClr>
              <a:buNone/>
            </a:pPr>
            <a:r>
              <a:rPr lang="en-GB" altLang="en-US" sz="1600" dirty="0">
                <a:solidFill>
                  <a:schemeClr val="accent1"/>
                </a:solidFill>
                <a:cs typeface="Arial" panose="020B0604020202020204" pitchFamily="34" charset="0"/>
              </a:rPr>
              <a:t>Lack of proof reading:</a:t>
            </a:r>
          </a:p>
          <a:p>
            <a:pPr marL="742939" lvl="1" indent="-285750" defTabSz="914377">
              <a:spcBef>
                <a:spcPts val="500"/>
              </a:spcBef>
              <a:buClr>
                <a:schemeClr val="accent2"/>
              </a:buClr>
            </a:pPr>
            <a:r>
              <a:rPr lang="en-GB" altLang="en-US" sz="1600" dirty="0">
                <a:cs typeface="Arial" panose="020B0604020202020204" pitchFamily="34" charset="0"/>
              </a:rPr>
              <a:t>Table and figure numbering errors </a:t>
            </a:r>
          </a:p>
          <a:p>
            <a:pPr marL="742939" lvl="1" indent="-285750" defTabSz="914377">
              <a:spcBef>
                <a:spcPts val="500"/>
              </a:spcBef>
              <a:buClr>
                <a:schemeClr val="accent2"/>
              </a:buClr>
            </a:pPr>
            <a:r>
              <a:rPr lang="en-GB" altLang="en-US" sz="1600" dirty="0">
                <a:cs typeface="Arial" panose="020B0604020202020204" pitchFamily="34" charset="0"/>
              </a:rPr>
              <a:t>Unclear illustrations </a:t>
            </a:r>
          </a:p>
          <a:p>
            <a:pPr marL="742939" lvl="1" indent="-285750" defTabSz="914377">
              <a:spcBef>
                <a:spcPts val="500"/>
              </a:spcBef>
              <a:buClr>
                <a:schemeClr val="accent2"/>
              </a:buClr>
            </a:pPr>
            <a:r>
              <a:rPr lang="en-GB" altLang="en-US" sz="1600" dirty="0">
                <a:cs typeface="Arial" panose="020B0604020202020204" pitchFamily="34" charset="0"/>
              </a:rPr>
              <a:t>Spelling and grammatical mistakes </a:t>
            </a:r>
          </a:p>
        </p:txBody>
      </p:sp>
      <p:pic>
        <p:nvPicPr>
          <p:cNvPr id="6" name="Picture 5">
            <a:extLst>
              <a:ext uri="{FF2B5EF4-FFF2-40B4-BE49-F238E27FC236}">
                <a16:creationId xmlns:a16="http://schemas.microsoft.com/office/drawing/2014/main" id="{0C3F8138-7A34-9285-F8E1-FE9C8A6A8DD4}"/>
              </a:ext>
            </a:extLst>
          </p:cNvPr>
          <p:cNvPicPr>
            <a:picLocks noChangeAspect="1"/>
          </p:cNvPicPr>
          <p:nvPr/>
        </p:nvPicPr>
        <p:blipFill>
          <a:blip r:embed="rId4"/>
          <a:stretch>
            <a:fillRect/>
          </a:stretch>
        </p:blipFill>
        <p:spPr>
          <a:xfrm>
            <a:off x="7719318" y="3742609"/>
            <a:ext cx="3850495" cy="2711211"/>
          </a:xfrm>
          <a:prstGeom prst="rect">
            <a:avLst/>
          </a:prstGeom>
        </p:spPr>
      </p:pic>
      <p:sp>
        <p:nvSpPr>
          <p:cNvPr id="7" name="Title 1">
            <a:extLst>
              <a:ext uri="{FF2B5EF4-FFF2-40B4-BE49-F238E27FC236}">
                <a16:creationId xmlns:a16="http://schemas.microsoft.com/office/drawing/2014/main" id="{7D58D641-645F-A345-9CAC-59EB11653333}"/>
              </a:ext>
            </a:extLst>
          </p:cNvPr>
          <p:cNvSpPr>
            <a:spLocks noGrp="1"/>
          </p:cNvSpPr>
          <p:nvPr>
            <p:ph type="title"/>
          </p:nvPr>
        </p:nvSpPr>
        <p:spPr>
          <a:xfrm>
            <a:off x="735531" y="281455"/>
            <a:ext cx="10515600" cy="584232"/>
          </a:xfrm>
        </p:spPr>
        <p:txBody>
          <a:bodyPr>
            <a:normAutofit/>
          </a:bodyPr>
          <a:lstStyle/>
          <a:p>
            <a:r>
              <a:rPr lang="en-GB" dirty="0">
                <a:solidFill>
                  <a:schemeClr val="accent2"/>
                </a:solidFill>
                <a:latin typeface="Georgia" panose="02040502050405020303" pitchFamily="18" charset="0"/>
                <a:cs typeface="Arial" panose="020B0604020202020204" pitchFamily="34" charset="0"/>
              </a:rPr>
              <a:t>Other common mistakes</a:t>
            </a:r>
          </a:p>
        </p:txBody>
      </p:sp>
      <p:sp>
        <p:nvSpPr>
          <p:cNvPr id="10" name="Content Placeholder 2">
            <a:extLst>
              <a:ext uri="{FF2B5EF4-FFF2-40B4-BE49-F238E27FC236}">
                <a16:creationId xmlns:a16="http://schemas.microsoft.com/office/drawing/2014/main" id="{DF0CD10A-A8BF-06F7-B3A7-580FC0D99318}"/>
              </a:ext>
            </a:extLst>
          </p:cNvPr>
          <p:cNvSpPr txBox="1">
            <a:spLocks/>
          </p:cNvSpPr>
          <p:nvPr/>
        </p:nvSpPr>
        <p:spPr>
          <a:xfrm>
            <a:off x="735530" y="1976764"/>
            <a:ext cx="8760229" cy="2711211"/>
          </a:xfrm>
          <a:prstGeom prst="rect">
            <a:avLst/>
          </a:prstGeom>
        </p:spPr>
        <p:txBody>
          <a:bodyPr>
            <a:noAutofit/>
          </a:bodyPr>
          <a:lstStyle>
            <a:lvl1pPr marL="383990" indent="-383990" algn="l" defTabSz="914377" rtl="0" eaLnBrk="1" latinLnBrk="0" hangingPunct="1">
              <a:lnSpc>
                <a:spcPct val="100000"/>
              </a:lnSpc>
              <a:spcBef>
                <a:spcPts val="0"/>
              </a:spcBef>
              <a:spcAft>
                <a:spcPts val="800"/>
              </a:spcAft>
              <a:buClr>
                <a:srgbClr val="FF6C00"/>
              </a:buClr>
              <a:buFont typeface="Arial" panose="020B0604020202020204" pitchFamily="34" charset="0"/>
              <a:buChar char="•"/>
              <a:tabLst>
                <a:tab pos="355591" algn="l"/>
              </a:tabLst>
              <a:defRPr lang="nl-NL" sz="2400" kern="1200" dirty="0" smtClean="0">
                <a:solidFill>
                  <a:schemeClr val="tx1"/>
                </a:solidFill>
                <a:latin typeface="+mn-lt"/>
                <a:ea typeface="+mn-ea"/>
                <a:cs typeface="+mn-cs"/>
              </a:defRPr>
            </a:lvl1pPr>
            <a:lvl2pPr marL="623984" indent="-239994" algn="l" defTabSz="914377" rtl="0" eaLnBrk="1" latinLnBrk="0" hangingPunct="1">
              <a:lnSpc>
                <a:spcPct val="100000"/>
              </a:lnSpc>
              <a:spcBef>
                <a:spcPts val="500"/>
              </a:spcBef>
              <a:spcAft>
                <a:spcPts val="800"/>
              </a:spcAft>
              <a:buClr>
                <a:srgbClr val="FF6C00"/>
              </a:buClr>
              <a:buFont typeface="Arial" panose="020B0604020202020204" pitchFamily="34" charset="0"/>
              <a:buChar char="−"/>
              <a:defRPr lang="nl-NL" sz="2133" kern="1200" dirty="0" smtClean="0">
                <a:solidFill>
                  <a:schemeClr val="tx1"/>
                </a:solidFill>
                <a:latin typeface="+mn-lt"/>
                <a:ea typeface="+mn-ea"/>
                <a:cs typeface="+mn-cs"/>
              </a:defRPr>
            </a:lvl2pPr>
            <a:lvl3pPr marL="863978" indent="-239994" algn="l" defTabSz="914377" rtl="0" eaLnBrk="1" latinLnBrk="0" hangingPunct="1">
              <a:lnSpc>
                <a:spcPct val="100000"/>
              </a:lnSpc>
              <a:spcBef>
                <a:spcPts val="500"/>
              </a:spcBef>
              <a:spcAft>
                <a:spcPts val="800"/>
              </a:spcAft>
              <a:buClr>
                <a:srgbClr val="FF6C00"/>
              </a:buClr>
              <a:buFont typeface="Courier New" panose="02070309020205020404" pitchFamily="49" charset="0"/>
              <a:buChar char="o"/>
              <a:defRPr lang="nl-NL" sz="2133" kern="1200" dirty="0" smtClean="0">
                <a:solidFill>
                  <a:schemeClr val="tx1"/>
                </a:solidFill>
                <a:latin typeface="+mn-lt"/>
                <a:ea typeface="+mn-ea"/>
                <a:cs typeface="+mn-cs"/>
              </a:defRPr>
            </a:lvl3pPr>
            <a:lvl4pPr marL="1103972" indent="-239994" algn="l" defTabSz="914377" rtl="0" eaLnBrk="1" latinLnBrk="0" hangingPunct="1">
              <a:lnSpc>
                <a:spcPct val="100000"/>
              </a:lnSpc>
              <a:spcBef>
                <a:spcPts val="500"/>
              </a:spcBef>
              <a:spcAft>
                <a:spcPts val="800"/>
              </a:spcAft>
              <a:buClr>
                <a:srgbClr val="FF6C00"/>
              </a:buClr>
              <a:buFont typeface="Courier New" panose="02070309020205020404" pitchFamily="49" charset="0"/>
              <a:buChar char="o"/>
              <a:defRPr lang="nl-NL" sz="2133" kern="1200" dirty="0" smtClean="0">
                <a:solidFill>
                  <a:schemeClr val="tx1"/>
                </a:solidFill>
                <a:latin typeface="+mn-lt"/>
                <a:ea typeface="+mn-ea"/>
                <a:cs typeface="+mn-cs"/>
              </a:defRPr>
            </a:lvl4pPr>
            <a:lvl5pPr marL="1343966" indent="-239994" algn="l" defTabSz="914377" rtl="0" eaLnBrk="1" latinLnBrk="0" hangingPunct="1">
              <a:lnSpc>
                <a:spcPct val="100000"/>
              </a:lnSpc>
              <a:spcBef>
                <a:spcPts val="500"/>
              </a:spcBef>
              <a:spcAft>
                <a:spcPts val="800"/>
              </a:spcAft>
              <a:buClr>
                <a:srgbClr val="FF6C00"/>
              </a:buClr>
              <a:buFont typeface="Courier New" panose="02070309020205020404" pitchFamily="49" charset="0"/>
              <a:buChar char="o"/>
              <a:defRPr lang="de-DE" sz="2133" kern="1200" dirty="0">
                <a:solidFill>
                  <a:schemeClr val="tx1"/>
                </a:solidFill>
                <a:latin typeface="+mn-lt"/>
                <a:ea typeface="+mn-ea"/>
                <a:cs typeface="+mn-cs"/>
              </a:defRPr>
            </a:lvl5pPr>
            <a:lvl6pPr marL="2412940" indent="-260344" algn="l" defTabSz="914377" rtl="0" eaLnBrk="1" latinLnBrk="0" hangingPunct="1">
              <a:lnSpc>
                <a:spcPct val="90000"/>
              </a:lnSpc>
              <a:spcBef>
                <a:spcPts val="500"/>
              </a:spcBef>
              <a:buClr>
                <a:srgbClr val="FF6C00"/>
              </a:buClr>
              <a:buFont typeface="Courier New" panose="02070309020205020404" pitchFamily="49" charset="0"/>
              <a:buChar char="o"/>
              <a:defRPr sz="1800" kern="1200">
                <a:solidFill>
                  <a:schemeClr val="tx1"/>
                </a:solidFill>
                <a:latin typeface="+mn-lt"/>
                <a:ea typeface="+mn-ea"/>
                <a:cs typeface="+mn-cs"/>
              </a:defRPr>
            </a:lvl6pPr>
            <a:lvl7pPr marL="2749482" indent="-234945" algn="l" defTabSz="914377" rtl="0" eaLnBrk="1" latinLnBrk="0" hangingPunct="1">
              <a:lnSpc>
                <a:spcPct val="90000"/>
              </a:lnSpc>
              <a:spcBef>
                <a:spcPts val="500"/>
              </a:spcBef>
              <a:buClr>
                <a:srgbClr val="FF6C00"/>
              </a:buClr>
              <a:buFont typeface="Courier New" panose="02070309020205020404" pitchFamily="49" charset="0"/>
              <a:buChar char="o"/>
              <a:defRPr sz="1800" kern="1200">
                <a:solidFill>
                  <a:schemeClr val="tx1"/>
                </a:solidFill>
                <a:latin typeface="+mn-lt"/>
                <a:ea typeface="+mn-ea"/>
                <a:cs typeface="+mn-cs"/>
              </a:defRPr>
            </a:lvl7pPr>
            <a:lvl8pPr marL="3111422" indent="-243411" algn="l" defTabSz="914377" rtl="0" eaLnBrk="1" latinLnBrk="0" hangingPunct="1">
              <a:lnSpc>
                <a:spcPct val="90000"/>
              </a:lnSpc>
              <a:spcBef>
                <a:spcPts val="500"/>
              </a:spcBef>
              <a:buClr>
                <a:srgbClr val="FF6C00"/>
              </a:buClr>
              <a:buFont typeface="Courier New" panose="02070309020205020404" pitchFamily="49" charset="0"/>
              <a:buChar char="o"/>
              <a:defRPr sz="1800" kern="1200">
                <a:solidFill>
                  <a:schemeClr val="tx1"/>
                </a:solidFill>
                <a:latin typeface="+mn-lt"/>
                <a:ea typeface="+mn-ea"/>
                <a:cs typeface="+mn-cs"/>
              </a:defRPr>
            </a:lvl8pPr>
            <a:lvl9pPr marL="3464897" indent="-237061" algn="l" defTabSz="914377" rtl="0" eaLnBrk="1" latinLnBrk="0" hangingPunct="1">
              <a:lnSpc>
                <a:spcPct val="90000"/>
              </a:lnSpc>
              <a:spcBef>
                <a:spcPts val="500"/>
              </a:spcBef>
              <a:buClr>
                <a:srgbClr val="FF6C00"/>
              </a:buClr>
              <a:buFont typeface="Courier New" panose="02070309020205020404" pitchFamily="49" charset="0"/>
              <a:buChar char="o"/>
              <a:defRPr sz="1800" kern="1200">
                <a:solidFill>
                  <a:schemeClr val="tx1"/>
                </a:solidFill>
                <a:latin typeface="+mn-lt"/>
                <a:ea typeface="+mn-ea"/>
                <a:cs typeface="+mn-cs"/>
              </a:defRPr>
            </a:lvl9pPr>
          </a:lstStyle>
          <a:p>
            <a:pPr marL="0" indent="0">
              <a:buNone/>
            </a:pPr>
            <a:endParaRPr lang="en-GB" sz="1600" dirty="0">
              <a:cs typeface="Arial" panose="020B0604020202020204" pitchFamily="34" charset="0"/>
            </a:endParaRPr>
          </a:p>
          <a:p>
            <a:r>
              <a:rPr lang="en-GB" altLang="en-US" sz="1600" dirty="0">
                <a:cs typeface="Arial" panose="020B0604020202020204" pitchFamily="34" charset="0"/>
              </a:rPr>
              <a:t>Trying to do too many things in one article</a:t>
            </a:r>
          </a:p>
          <a:p>
            <a:r>
              <a:rPr lang="en-GB" altLang="en-US" sz="1600" dirty="0">
                <a:cs typeface="Arial" panose="020B0604020202020204" pitchFamily="34" charset="0"/>
              </a:rPr>
              <a:t>Failure to state the research aims and contribution clearly</a:t>
            </a:r>
          </a:p>
          <a:p>
            <a:r>
              <a:rPr lang="en-GB" altLang="en-US" sz="1600" dirty="0">
                <a:cs typeface="Arial" panose="020B0604020202020204" pitchFamily="34" charset="0"/>
              </a:rPr>
              <a:t>Having a poor discussion that essentially repeats the findings; or no discussion at all</a:t>
            </a:r>
          </a:p>
          <a:p>
            <a:r>
              <a:rPr lang="en-GB" altLang="en-US" sz="1600" dirty="0">
                <a:cs typeface="Arial" panose="020B0604020202020204" pitchFamily="34" charset="0"/>
              </a:rPr>
              <a:t>Lacking a Conclusion or Literature review section</a:t>
            </a:r>
          </a:p>
        </p:txBody>
      </p:sp>
      <p:grpSp>
        <p:nvGrpSpPr>
          <p:cNvPr id="9" name="Group 8">
            <a:extLst>
              <a:ext uri="{FF2B5EF4-FFF2-40B4-BE49-F238E27FC236}">
                <a16:creationId xmlns:a16="http://schemas.microsoft.com/office/drawing/2014/main" id="{1E19CC8B-96BD-B864-9212-0535A846FD62}"/>
              </a:ext>
            </a:extLst>
          </p:cNvPr>
          <p:cNvGrpSpPr/>
          <p:nvPr/>
        </p:nvGrpSpPr>
        <p:grpSpPr>
          <a:xfrm>
            <a:off x="622187" y="1061595"/>
            <a:ext cx="11036969" cy="5796405"/>
            <a:chOff x="735531" y="922553"/>
            <a:chExt cx="11036969" cy="5796405"/>
          </a:xfrm>
        </p:grpSpPr>
        <p:sp>
          <p:nvSpPr>
            <p:cNvPr id="2" name="Rectangle 1">
              <a:extLst>
                <a:ext uri="{FF2B5EF4-FFF2-40B4-BE49-F238E27FC236}">
                  <a16:creationId xmlns:a16="http://schemas.microsoft.com/office/drawing/2014/main" id="{E695B3C6-9D36-0219-91DA-3B1BA3463120}"/>
                </a:ext>
              </a:extLst>
            </p:cNvPr>
            <p:cNvSpPr/>
            <p:nvPr/>
          </p:nvSpPr>
          <p:spPr>
            <a:xfrm>
              <a:off x="735531" y="922553"/>
              <a:ext cx="11036969" cy="5796405"/>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Title 1">
              <a:extLst>
                <a:ext uri="{FF2B5EF4-FFF2-40B4-BE49-F238E27FC236}">
                  <a16:creationId xmlns:a16="http://schemas.microsoft.com/office/drawing/2014/main" id="{D62ACA90-B79E-5628-7C4D-AE545719547B}"/>
                </a:ext>
              </a:extLst>
            </p:cNvPr>
            <p:cNvSpPr txBox="1">
              <a:spLocks/>
            </p:cNvSpPr>
            <p:nvPr/>
          </p:nvSpPr>
          <p:spPr>
            <a:xfrm>
              <a:off x="1088609" y="922553"/>
              <a:ext cx="10515600" cy="1325563"/>
            </a:xfrm>
            <a:prstGeom prst="rect">
              <a:avLst/>
            </a:prstGeom>
          </p:spPr>
          <p:txBody>
            <a:bodyPr vert="horz" lIns="0" tIns="0" rIns="0" bIns="0" rtlCol="0" anchor="ctr" anchorCtr="0">
              <a:normAutofit/>
            </a:bodyPr>
            <a:lstStyle>
              <a:lvl1pPr algn="l" defTabSz="914377" rtl="0" eaLnBrk="1" latinLnBrk="0" hangingPunct="1">
                <a:lnSpc>
                  <a:spcPct val="100000"/>
                </a:lnSpc>
                <a:spcBef>
                  <a:spcPct val="0"/>
                </a:spcBef>
                <a:buNone/>
                <a:defRPr sz="3200" kern="1200">
                  <a:solidFill>
                    <a:schemeClr val="tx1"/>
                  </a:solidFill>
                  <a:latin typeface="+mj-lt"/>
                  <a:ea typeface="+mj-ea"/>
                  <a:cs typeface="+mj-cs"/>
                </a:defRPr>
              </a:lvl1pPr>
            </a:lstStyle>
            <a:p>
              <a:r>
                <a:rPr lang="en-GB" dirty="0">
                  <a:solidFill>
                    <a:schemeClr val="accent1"/>
                  </a:solidFill>
                  <a:latin typeface="Georgia" panose="02040502050405020303" pitchFamily="18" charset="0"/>
                  <a:cs typeface="Arial" panose="020B0604020202020204" pitchFamily="34" charset="0"/>
                </a:rPr>
                <a:t>Place importance on the title, abstract and keywords</a:t>
              </a:r>
            </a:p>
          </p:txBody>
        </p:sp>
        <p:sp>
          <p:nvSpPr>
            <p:cNvPr id="8" name="Content Placeholder 2">
              <a:extLst>
                <a:ext uri="{FF2B5EF4-FFF2-40B4-BE49-F238E27FC236}">
                  <a16:creationId xmlns:a16="http://schemas.microsoft.com/office/drawing/2014/main" id="{250CED88-01D8-0CDD-F27A-4E19B6D55E48}"/>
                </a:ext>
              </a:extLst>
            </p:cNvPr>
            <p:cNvSpPr txBox="1">
              <a:spLocks/>
            </p:cNvSpPr>
            <p:nvPr/>
          </p:nvSpPr>
          <p:spPr>
            <a:xfrm>
              <a:off x="1088609" y="2367619"/>
              <a:ext cx="10515600" cy="4351339"/>
            </a:xfrm>
            <a:prstGeom prst="rect">
              <a:avLst/>
            </a:prstGeom>
          </p:spPr>
          <p:txBody>
            <a:bodyPr>
              <a:normAutofit/>
            </a:bodyPr>
            <a:lstStyle>
              <a:lvl1pPr marL="383990" indent="-383990" algn="l" defTabSz="914377" rtl="0" eaLnBrk="1" latinLnBrk="0" hangingPunct="1">
                <a:lnSpc>
                  <a:spcPct val="100000"/>
                </a:lnSpc>
                <a:spcBef>
                  <a:spcPts val="0"/>
                </a:spcBef>
                <a:spcAft>
                  <a:spcPts val="800"/>
                </a:spcAft>
                <a:buClr>
                  <a:srgbClr val="FF6C00"/>
                </a:buClr>
                <a:buFont typeface="Arial" panose="020B0604020202020204" pitchFamily="34" charset="0"/>
                <a:buChar char="•"/>
                <a:tabLst>
                  <a:tab pos="355591" algn="l"/>
                </a:tabLst>
                <a:defRPr lang="nl-NL" sz="2400" kern="1200" dirty="0" smtClean="0">
                  <a:solidFill>
                    <a:schemeClr val="tx1"/>
                  </a:solidFill>
                  <a:latin typeface="+mn-lt"/>
                  <a:ea typeface="+mn-ea"/>
                  <a:cs typeface="+mn-cs"/>
                </a:defRPr>
              </a:lvl1pPr>
              <a:lvl2pPr marL="623984" indent="-239994" algn="l" defTabSz="914377" rtl="0" eaLnBrk="1" latinLnBrk="0" hangingPunct="1">
                <a:lnSpc>
                  <a:spcPct val="100000"/>
                </a:lnSpc>
                <a:spcBef>
                  <a:spcPts val="500"/>
                </a:spcBef>
                <a:spcAft>
                  <a:spcPts val="800"/>
                </a:spcAft>
                <a:buClr>
                  <a:srgbClr val="FF6C00"/>
                </a:buClr>
                <a:buFont typeface="Arial" panose="020B0604020202020204" pitchFamily="34" charset="0"/>
                <a:buChar char="−"/>
                <a:defRPr lang="nl-NL" sz="2133" kern="1200" dirty="0" smtClean="0">
                  <a:solidFill>
                    <a:schemeClr val="tx1"/>
                  </a:solidFill>
                  <a:latin typeface="+mn-lt"/>
                  <a:ea typeface="+mn-ea"/>
                  <a:cs typeface="+mn-cs"/>
                </a:defRPr>
              </a:lvl2pPr>
              <a:lvl3pPr marL="863978" indent="-239994" algn="l" defTabSz="914377" rtl="0" eaLnBrk="1" latinLnBrk="0" hangingPunct="1">
                <a:lnSpc>
                  <a:spcPct val="100000"/>
                </a:lnSpc>
                <a:spcBef>
                  <a:spcPts val="500"/>
                </a:spcBef>
                <a:spcAft>
                  <a:spcPts val="800"/>
                </a:spcAft>
                <a:buClr>
                  <a:srgbClr val="FF6C00"/>
                </a:buClr>
                <a:buFont typeface="Courier New" panose="02070309020205020404" pitchFamily="49" charset="0"/>
                <a:buChar char="o"/>
                <a:defRPr lang="nl-NL" sz="2133" kern="1200" dirty="0" smtClean="0">
                  <a:solidFill>
                    <a:schemeClr val="tx1"/>
                  </a:solidFill>
                  <a:latin typeface="+mn-lt"/>
                  <a:ea typeface="+mn-ea"/>
                  <a:cs typeface="+mn-cs"/>
                </a:defRPr>
              </a:lvl3pPr>
              <a:lvl4pPr marL="1103972" indent="-239994" algn="l" defTabSz="914377" rtl="0" eaLnBrk="1" latinLnBrk="0" hangingPunct="1">
                <a:lnSpc>
                  <a:spcPct val="100000"/>
                </a:lnSpc>
                <a:spcBef>
                  <a:spcPts val="500"/>
                </a:spcBef>
                <a:spcAft>
                  <a:spcPts val="800"/>
                </a:spcAft>
                <a:buClr>
                  <a:srgbClr val="FF6C00"/>
                </a:buClr>
                <a:buFont typeface="Courier New" panose="02070309020205020404" pitchFamily="49" charset="0"/>
                <a:buChar char="o"/>
                <a:defRPr lang="nl-NL" sz="2133" kern="1200" dirty="0" smtClean="0">
                  <a:solidFill>
                    <a:schemeClr val="tx1"/>
                  </a:solidFill>
                  <a:latin typeface="+mn-lt"/>
                  <a:ea typeface="+mn-ea"/>
                  <a:cs typeface="+mn-cs"/>
                </a:defRPr>
              </a:lvl4pPr>
              <a:lvl5pPr marL="1343966" indent="-239994" algn="l" defTabSz="914377" rtl="0" eaLnBrk="1" latinLnBrk="0" hangingPunct="1">
                <a:lnSpc>
                  <a:spcPct val="100000"/>
                </a:lnSpc>
                <a:spcBef>
                  <a:spcPts val="500"/>
                </a:spcBef>
                <a:spcAft>
                  <a:spcPts val="800"/>
                </a:spcAft>
                <a:buClr>
                  <a:srgbClr val="FF6C00"/>
                </a:buClr>
                <a:buFont typeface="Courier New" panose="02070309020205020404" pitchFamily="49" charset="0"/>
                <a:buChar char="o"/>
                <a:defRPr lang="de-DE" sz="2133" kern="1200" dirty="0">
                  <a:solidFill>
                    <a:schemeClr val="tx1"/>
                  </a:solidFill>
                  <a:latin typeface="+mn-lt"/>
                  <a:ea typeface="+mn-ea"/>
                  <a:cs typeface="+mn-cs"/>
                </a:defRPr>
              </a:lvl5pPr>
              <a:lvl6pPr marL="2412940" indent="-260344" algn="l" defTabSz="914377" rtl="0" eaLnBrk="1" latinLnBrk="0" hangingPunct="1">
                <a:lnSpc>
                  <a:spcPct val="90000"/>
                </a:lnSpc>
                <a:spcBef>
                  <a:spcPts val="500"/>
                </a:spcBef>
                <a:buClr>
                  <a:srgbClr val="FF6C00"/>
                </a:buClr>
                <a:buFont typeface="Courier New" panose="02070309020205020404" pitchFamily="49" charset="0"/>
                <a:buChar char="o"/>
                <a:defRPr sz="1800" kern="1200">
                  <a:solidFill>
                    <a:schemeClr val="tx1"/>
                  </a:solidFill>
                  <a:latin typeface="+mn-lt"/>
                  <a:ea typeface="+mn-ea"/>
                  <a:cs typeface="+mn-cs"/>
                </a:defRPr>
              </a:lvl6pPr>
              <a:lvl7pPr marL="2749482" indent="-234945" algn="l" defTabSz="914377" rtl="0" eaLnBrk="1" latinLnBrk="0" hangingPunct="1">
                <a:lnSpc>
                  <a:spcPct val="90000"/>
                </a:lnSpc>
                <a:spcBef>
                  <a:spcPts val="500"/>
                </a:spcBef>
                <a:buClr>
                  <a:srgbClr val="FF6C00"/>
                </a:buClr>
                <a:buFont typeface="Courier New" panose="02070309020205020404" pitchFamily="49" charset="0"/>
                <a:buChar char="o"/>
                <a:defRPr sz="1800" kern="1200">
                  <a:solidFill>
                    <a:schemeClr val="tx1"/>
                  </a:solidFill>
                  <a:latin typeface="+mn-lt"/>
                  <a:ea typeface="+mn-ea"/>
                  <a:cs typeface="+mn-cs"/>
                </a:defRPr>
              </a:lvl7pPr>
              <a:lvl8pPr marL="3111422" indent="-243411" algn="l" defTabSz="914377" rtl="0" eaLnBrk="1" latinLnBrk="0" hangingPunct="1">
                <a:lnSpc>
                  <a:spcPct val="90000"/>
                </a:lnSpc>
                <a:spcBef>
                  <a:spcPts val="500"/>
                </a:spcBef>
                <a:buClr>
                  <a:srgbClr val="FF6C00"/>
                </a:buClr>
                <a:buFont typeface="Courier New" panose="02070309020205020404" pitchFamily="49" charset="0"/>
                <a:buChar char="o"/>
                <a:defRPr sz="1800" kern="1200">
                  <a:solidFill>
                    <a:schemeClr val="tx1"/>
                  </a:solidFill>
                  <a:latin typeface="+mn-lt"/>
                  <a:ea typeface="+mn-ea"/>
                  <a:cs typeface="+mn-cs"/>
                </a:defRPr>
              </a:lvl8pPr>
              <a:lvl9pPr marL="3464897" indent="-237061" algn="l" defTabSz="914377" rtl="0" eaLnBrk="1" latinLnBrk="0" hangingPunct="1">
                <a:lnSpc>
                  <a:spcPct val="90000"/>
                </a:lnSpc>
                <a:spcBef>
                  <a:spcPts val="500"/>
                </a:spcBef>
                <a:buClr>
                  <a:srgbClr val="FF6C00"/>
                </a:buClr>
                <a:buFont typeface="Courier New" panose="02070309020205020404" pitchFamily="49" charset="0"/>
                <a:buChar char="o"/>
                <a:defRPr sz="1800" kern="1200">
                  <a:solidFill>
                    <a:schemeClr val="tx1"/>
                  </a:solidFill>
                  <a:latin typeface="+mn-lt"/>
                  <a:ea typeface="+mn-ea"/>
                  <a:cs typeface="+mn-cs"/>
                </a:defRPr>
              </a:lvl9pPr>
            </a:lstStyle>
            <a:p>
              <a:pPr marL="0" indent="0">
                <a:buFont typeface="Arial" panose="020B0604020202020204" pitchFamily="34" charset="0"/>
                <a:buNone/>
              </a:pPr>
              <a:r>
                <a:rPr lang="en-GB" b="1" i="1" dirty="0">
                  <a:latin typeface="Georgia" panose="02040502050405020303" pitchFamily="18" charset="0"/>
                  <a:cs typeface="Arial" panose="020B0604020202020204" pitchFamily="34" charset="0"/>
                </a:rPr>
                <a:t>The title, abstract and keywords are critical for Editors, Reviewers and readers</a:t>
              </a:r>
            </a:p>
            <a:p>
              <a:endParaRPr lang="en-GB" sz="2133" dirty="0">
                <a:latin typeface="Arial" panose="020B0604020202020204" pitchFamily="34" charset="0"/>
                <a:cs typeface="Arial" panose="020B0604020202020204" pitchFamily="34" charset="0"/>
              </a:endParaRPr>
            </a:p>
            <a:p>
              <a:pPr>
                <a:lnSpc>
                  <a:spcPct val="150000"/>
                </a:lnSpc>
              </a:pPr>
              <a:r>
                <a:rPr lang="en-GB" sz="2000" dirty="0">
                  <a:latin typeface="Arial" panose="020B0604020202020204" pitchFamily="34" charset="0"/>
                  <a:cs typeface="Arial" panose="020B0604020202020204" pitchFamily="34" charset="0"/>
                </a:rPr>
                <a:t>A good title should contain the fewest possible words that adequately describe the contents of an article – it is what makes us want to read the article (or not!)</a:t>
              </a:r>
            </a:p>
            <a:p>
              <a:pPr>
                <a:lnSpc>
                  <a:spcPct val="150000"/>
                </a:lnSpc>
              </a:pPr>
              <a:r>
                <a:rPr lang="en-GB" sz="2000" dirty="0">
                  <a:latin typeface="Arial" panose="020B0604020202020204" pitchFamily="34" charset="0"/>
                  <a:cs typeface="Arial" panose="020B0604020202020204" pitchFamily="34" charset="0"/>
                </a:rPr>
                <a:t>A clear abstract will strongly influence if your work is considered further - tell readers what you did, why you did it, and the important findings</a:t>
              </a:r>
            </a:p>
            <a:p>
              <a:pPr>
                <a:lnSpc>
                  <a:spcPct val="150000"/>
                </a:lnSpc>
              </a:pPr>
              <a:r>
                <a:rPr lang="en-GB" sz="2000" dirty="0">
                  <a:latin typeface="Arial" panose="020B0604020202020204" pitchFamily="34" charset="0"/>
                  <a:cs typeface="Arial" panose="020B0604020202020204" pitchFamily="34" charset="0"/>
                </a:rPr>
                <a:t>In an electronic world, keywords determine whether your article is found or not!</a:t>
              </a:r>
            </a:p>
          </p:txBody>
        </p:sp>
      </p:grpSp>
    </p:spTree>
    <p:custDataLst>
      <p:tags r:id="rId1"/>
    </p:custDataLst>
    <p:extLst>
      <p:ext uri="{BB962C8B-B14F-4D97-AF65-F5344CB8AC3E}">
        <p14:creationId xmlns:p14="http://schemas.microsoft.com/office/powerpoint/2010/main" val="2601381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nodeType="clickEffect">
                                  <p:stCondLst>
                                    <p:cond delay="0"/>
                                  </p:stCondLst>
                                  <p:childTnLst>
                                    <p:animEffect transition="out" filter="fade">
                                      <p:cBhvr>
                                        <p:cTn id="11" dur="500"/>
                                        <p:tgtEl>
                                          <p:spTgt spid="9"/>
                                        </p:tgtEl>
                                      </p:cBhvr>
                                    </p:animEffect>
                                    <p:set>
                                      <p:cBhvr>
                                        <p:cTn id="12" dur="1" fill="hold">
                                          <p:stCondLst>
                                            <p:cond delay="499"/>
                                          </p:stCondLst>
                                        </p:cTn>
                                        <p:tgtEl>
                                          <p:spTgt spid="9"/>
                                        </p:tgtEl>
                                        <p:attrNameLst>
                                          <p:attrName>style.visibility</p:attrName>
                                        </p:attrNameLst>
                                      </p:cBhvr>
                                      <p:to>
                                        <p:strVal val="hidden"/>
                                      </p:to>
                                    </p:set>
                                  </p:childTnLst>
                                </p:cTn>
                              </p:par>
                              <p:par>
                                <p:cTn id="13" presetID="10" presetClass="entr" presetSubtype="0"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5">
                                            <p:txEl>
                                              <p:pRg st="0" end="0"/>
                                            </p:txEl>
                                          </p:spTgt>
                                        </p:tgtEl>
                                        <p:attrNameLst>
                                          <p:attrName>style.visibility</p:attrName>
                                        </p:attrNameLst>
                                      </p:cBhvr>
                                      <p:to>
                                        <p:strVal val="visible"/>
                                      </p:to>
                                    </p:set>
                                    <p:animEffect transition="in" filter="fade">
                                      <p:cBhvr>
                                        <p:cTn id="20" dur="500"/>
                                        <p:tgtEl>
                                          <p:spTgt spid="5">
                                            <p:txEl>
                                              <p:pRg st="0" end="0"/>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5">
                                            <p:txEl>
                                              <p:pRg st="1" end="1"/>
                                            </p:txEl>
                                          </p:spTgt>
                                        </p:tgtEl>
                                        <p:attrNameLst>
                                          <p:attrName>style.visibility</p:attrName>
                                        </p:attrNameLst>
                                      </p:cBhvr>
                                      <p:to>
                                        <p:strVal val="visible"/>
                                      </p:to>
                                    </p:set>
                                    <p:animEffect transition="in" filter="fade">
                                      <p:cBhvr>
                                        <p:cTn id="23" dur="500"/>
                                        <p:tgtEl>
                                          <p:spTgt spid="5">
                                            <p:txEl>
                                              <p:pRg st="1" end="1"/>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5">
                                            <p:txEl>
                                              <p:pRg st="2" end="2"/>
                                            </p:txEl>
                                          </p:spTgt>
                                        </p:tgtEl>
                                        <p:attrNameLst>
                                          <p:attrName>style.visibility</p:attrName>
                                        </p:attrNameLst>
                                      </p:cBhvr>
                                      <p:to>
                                        <p:strVal val="visible"/>
                                      </p:to>
                                    </p:set>
                                    <p:animEffect transition="in" filter="fade">
                                      <p:cBhvr>
                                        <p:cTn id="26" dur="500"/>
                                        <p:tgtEl>
                                          <p:spTgt spid="5">
                                            <p:txEl>
                                              <p:pRg st="2" end="2"/>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5">
                                            <p:txEl>
                                              <p:pRg st="4" end="4"/>
                                            </p:txEl>
                                          </p:spTgt>
                                        </p:tgtEl>
                                        <p:attrNameLst>
                                          <p:attrName>style.visibility</p:attrName>
                                        </p:attrNameLst>
                                      </p:cBhvr>
                                      <p:to>
                                        <p:strVal val="visible"/>
                                      </p:to>
                                    </p:set>
                                    <p:animEffect transition="in" filter="fade">
                                      <p:cBhvr>
                                        <p:cTn id="31" dur="500"/>
                                        <p:tgtEl>
                                          <p:spTgt spid="5">
                                            <p:txEl>
                                              <p:pRg st="4" end="4"/>
                                            </p:txEl>
                                          </p:spTgt>
                                        </p:tgtEl>
                                      </p:cBhvr>
                                    </p:animEffect>
                                  </p:childTnLst>
                                </p:cTn>
                              </p:par>
                              <p:par>
                                <p:cTn id="32" presetID="10" presetClass="entr" presetSubtype="0" fill="hold" nodeType="withEffect">
                                  <p:stCondLst>
                                    <p:cond delay="0"/>
                                  </p:stCondLst>
                                  <p:childTnLst>
                                    <p:set>
                                      <p:cBhvr>
                                        <p:cTn id="33" dur="1" fill="hold">
                                          <p:stCondLst>
                                            <p:cond delay="0"/>
                                          </p:stCondLst>
                                        </p:cTn>
                                        <p:tgtEl>
                                          <p:spTgt spid="5">
                                            <p:txEl>
                                              <p:pRg st="5" end="5"/>
                                            </p:txEl>
                                          </p:spTgt>
                                        </p:tgtEl>
                                        <p:attrNameLst>
                                          <p:attrName>style.visibility</p:attrName>
                                        </p:attrNameLst>
                                      </p:cBhvr>
                                      <p:to>
                                        <p:strVal val="visible"/>
                                      </p:to>
                                    </p:set>
                                    <p:animEffect transition="in" filter="fade">
                                      <p:cBhvr>
                                        <p:cTn id="34" dur="500"/>
                                        <p:tgtEl>
                                          <p:spTgt spid="5">
                                            <p:txEl>
                                              <p:pRg st="5" end="5"/>
                                            </p:txEl>
                                          </p:spTgt>
                                        </p:tgtEl>
                                      </p:cBhvr>
                                    </p:animEffect>
                                  </p:childTnLst>
                                </p:cTn>
                              </p:par>
                              <p:par>
                                <p:cTn id="35" presetID="10" presetClass="entr" presetSubtype="0" fill="hold" nodeType="withEffect">
                                  <p:stCondLst>
                                    <p:cond delay="0"/>
                                  </p:stCondLst>
                                  <p:childTnLst>
                                    <p:set>
                                      <p:cBhvr>
                                        <p:cTn id="36" dur="1" fill="hold">
                                          <p:stCondLst>
                                            <p:cond delay="0"/>
                                          </p:stCondLst>
                                        </p:cTn>
                                        <p:tgtEl>
                                          <p:spTgt spid="5">
                                            <p:txEl>
                                              <p:pRg st="6" end="6"/>
                                            </p:txEl>
                                          </p:spTgt>
                                        </p:tgtEl>
                                        <p:attrNameLst>
                                          <p:attrName>style.visibility</p:attrName>
                                        </p:attrNameLst>
                                      </p:cBhvr>
                                      <p:to>
                                        <p:strVal val="visible"/>
                                      </p:to>
                                    </p:set>
                                    <p:animEffect transition="in" filter="fade">
                                      <p:cBhvr>
                                        <p:cTn id="37" dur="500"/>
                                        <p:tgtEl>
                                          <p:spTgt spid="5">
                                            <p:txEl>
                                              <p:pRg st="6" end="6"/>
                                            </p:txEl>
                                          </p:spTgt>
                                        </p:tgtEl>
                                      </p:cBhvr>
                                    </p:animEffect>
                                  </p:childTnLst>
                                </p:cTn>
                              </p:par>
                              <p:par>
                                <p:cTn id="38" presetID="10" presetClass="entr" presetSubtype="0" fill="hold" nodeType="withEffect">
                                  <p:stCondLst>
                                    <p:cond delay="0"/>
                                  </p:stCondLst>
                                  <p:childTnLst>
                                    <p:set>
                                      <p:cBhvr>
                                        <p:cTn id="39" dur="1" fill="hold">
                                          <p:stCondLst>
                                            <p:cond delay="0"/>
                                          </p:stCondLst>
                                        </p:cTn>
                                        <p:tgtEl>
                                          <p:spTgt spid="5">
                                            <p:txEl>
                                              <p:pRg st="7" end="7"/>
                                            </p:txEl>
                                          </p:spTgt>
                                        </p:tgtEl>
                                        <p:attrNameLst>
                                          <p:attrName>style.visibility</p:attrName>
                                        </p:attrNameLst>
                                      </p:cBhvr>
                                      <p:to>
                                        <p:strVal val="visible"/>
                                      </p:to>
                                    </p:set>
                                    <p:animEffect transition="in" filter="fade">
                                      <p:cBhvr>
                                        <p:cTn id="40" dur="500"/>
                                        <p:tgtEl>
                                          <p:spTgt spid="5">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F9D98065-DF7B-49AD-8ADA-67533AC884CC}"/>
              </a:ext>
            </a:extLst>
          </p:cNvPr>
          <p:cNvSpPr>
            <a:spLocks noGrp="1"/>
          </p:cNvSpPr>
          <p:nvPr>
            <p:ph type="title"/>
          </p:nvPr>
        </p:nvSpPr>
        <p:spPr>
          <a:xfrm>
            <a:off x="508245" y="256466"/>
            <a:ext cx="7004049" cy="673100"/>
          </a:xfrm>
        </p:spPr>
        <p:txBody>
          <a:bodyPr/>
          <a:lstStyle/>
          <a:p>
            <a:r>
              <a:rPr lang="en-US" dirty="0">
                <a:solidFill>
                  <a:srgbClr val="3679E0"/>
                </a:solidFill>
                <a:latin typeface="Georgia" panose="02040502050405020303" pitchFamily="18" charset="0"/>
              </a:rPr>
              <a:t>Agenda</a:t>
            </a:r>
          </a:p>
        </p:txBody>
      </p:sp>
      <p:sp>
        <p:nvSpPr>
          <p:cNvPr id="13" name="TextBox 12">
            <a:extLst>
              <a:ext uri="{FF2B5EF4-FFF2-40B4-BE49-F238E27FC236}">
                <a16:creationId xmlns:a16="http://schemas.microsoft.com/office/drawing/2014/main" id="{887A40D0-9340-05B6-DC81-57EADABB6CFC}"/>
              </a:ext>
            </a:extLst>
          </p:cNvPr>
          <p:cNvSpPr txBox="1"/>
          <p:nvPr/>
        </p:nvSpPr>
        <p:spPr>
          <a:xfrm>
            <a:off x="508245" y="1501360"/>
            <a:ext cx="5587755" cy="4276171"/>
          </a:xfrm>
          <a:prstGeom prst="rect">
            <a:avLst/>
          </a:prstGeom>
          <a:noFill/>
        </p:spPr>
        <p:txBody>
          <a:bodyPr wrap="square" anchor="ctr">
            <a:spAutoFit/>
          </a:bodyPr>
          <a:lstStyle/>
          <a:p>
            <a:pPr lvl="0"/>
            <a:r>
              <a:rPr lang="en-GB" sz="1600" kern="100" dirty="0">
                <a:effectLst/>
                <a:latin typeface="+mj-lt"/>
                <a:ea typeface="Calibri" panose="020F0502020204030204" pitchFamily="34" charset="0"/>
                <a:cs typeface="Times New Roman" panose="02020603050405020304" pitchFamily="18" charset="0"/>
              </a:rPr>
              <a:t>1</a:t>
            </a:r>
            <a:r>
              <a:rPr lang="en-GB" sz="1600" kern="100" dirty="0">
                <a:latin typeface="+mj-lt"/>
                <a:ea typeface="Calibri" panose="020F0502020204030204" pitchFamily="34" charset="0"/>
                <a:cs typeface="Times New Roman" panose="02020603050405020304" pitchFamily="18" charset="0"/>
              </a:rPr>
              <a:t>. </a:t>
            </a:r>
            <a:r>
              <a:rPr lang="en-GB" sz="1600" kern="100" dirty="0">
                <a:effectLst/>
                <a:latin typeface="+mj-lt"/>
                <a:ea typeface="Calibri" panose="020F0502020204030204" pitchFamily="34" charset="0"/>
                <a:cs typeface="Times New Roman" panose="02020603050405020304" pitchFamily="18" charset="0"/>
              </a:rPr>
              <a:t>Finding the right journal</a:t>
            </a:r>
          </a:p>
          <a:p>
            <a:pPr marL="914400">
              <a:buNone/>
            </a:pPr>
            <a:r>
              <a:rPr lang="en-GB" sz="1600" kern="100" dirty="0">
                <a:effectLst/>
                <a:latin typeface="+mj-lt"/>
                <a:ea typeface="Calibri" panose="020F0502020204030204" pitchFamily="34" charset="0"/>
                <a:cs typeface="Times New Roman" panose="02020603050405020304" pitchFamily="18" charset="0"/>
              </a:rPr>
              <a:t> </a:t>
            </a:r>
          </a:p>
          <a:p>
            <a:pPr lvl="0"/>
            <a:r>
              <a:rPr lang="en-GB" sz="1600" kern="100" dirty="0">
                <a:effectLst/>
                <a:latin typeface="+mj-lt"/>
                <a:ea typeface="Calibri" panose="020F0502020204030204" pitchFamily="34" charset="0"/>
                <a:cs typeface="Times New Roman" panose="02020603050405020304" pitchFamily="18" charset="0"/>
              </a:rPr>
              <a:t>2</a:t>
            </a:r>
            <a:r>
              <a:rPr lang="en-GB" sz="1600" kern="100" dirty="0">
                <a:latin typeface="+mj-lt"/>
                <a:ea typeface="Calibri" panose="020F0502020204030204" pitchFamily="34" charset="0"/>
                <a:cs typeface="Times New Roman" panose="02020603050405020304" pitchFamily="18" charset="0"/>
              </a:rPr>
              <a:t>. </a:t>
            </a:r>
            <a:r>
              <a:rPr lang="en-GB" sz="1600" kern="100" dirty="0">
                <a:effectLst/>
                <a:latin typeface="+mj-lt"/>
                <a:ea typeface="Calibri" panose="020F0502020204030204" pitchFamily="34" charset="0"/>
                <a:cs typeface="Times New Roman" panose="02020603050405020304" pitchFamily="18" charset="0"/>
              </a:rPr>
              <a:t>Before writing up your research </a:t>
            </a:r>
          </a:p>
          <a:p>
            <a:pPr marL="914400">
              <a:buNone/>
            </a:pPr>
            <a:r>
              <a:rPr lang="en-GB" sz="1600" kern="100" dirty="0">
                <a:effectLst/>
                <a:latin typeface="+mj-lt"/>
                <a:ea typeface="Calibri" panose="020F0502020204030204" pitchFamily="34" charset="0"/>
                <a:cs typeface="Times New Roman" panose="02020603050405020304" pitchFamily="18" charset="0"/>
              </a:rPr>
              <a:t> </a:t>
            </a:r>
          </a:p>
          <a:p>
            <a:pPr lvl="0"/>
            <a:r>
              <a:rPr lang="en-GB" sz="1600" kern="100" dirty="0">
                <a:effectLst/>
                <a:latin typeface="+mj-lt"/>
                <a:ea typeface="Calibri" panose="020F0502020204030204" pitchFamily="34" charset="0"/>
                <a:cs typeface="Times New Roman" panose="02020603050405020304" pitchFamily="18" charset="0"/>
              </a:rPr>
              <a:t>3. Structuring the article </a:t>
            </a:r>
          </a:p>
          <a:p>
            <a:pPr marL="457200">
              <a:buNone/>
            </a:pPr>
            <a:r>
              <a:rPr lang="en-GB" sz="1600" kern="100" dirty="0">
                <a:effectLst/>
                <a:latin typeface="+mj-lt"/>
                <a:ea typeface="Calibri" panose="020F0502020204030204" pitchFamily="34" charset="0"/>
                <a:cs typeface="Times New Roman" panose="02020603050405020304" pitchFamily="18" charset="0"/>
              </a:rPr>
              <a:t> </a:t>
            </a:r>
          </a:p>
          <a:p>
            <a:pPr lvl="0"/>
            <a:r>
              <a:rPr lang="en-GB" sz="1600" kern="100" dirty="0">
                <a:effectLst/>
                <a:latin typeface="+mj-lt"/>
                <a:ea typeface="Calibri" panose="020F0502020204030204" pitchFamily="34" charset="0"/>
                <a:cs typeface="Times New Roman" panose="02020603050405020304" pitchFamily="18" charset="0"/>
              </a:rPr>
              <a:t>4. Submitting your article</a:t>
            </a:r>
          </a:p>
          <a:p>
            <a:pPr lvl="0"/>
            <a:endParaRPr lang="en-GB" sz="1600" kern="100" dirty="0">
              <a:effectLst/>
              <a:latin typeface="+mj-lt"/>
              <a:ea typeface="Calibri" panose="020F0502020204030204" pitchFamily="34" charset="0"/>
              <a:cs typeface="Times New Roman" panose="02020603050405020304" pitchFamily="18" charset="0"/>
            </a:endParaRPr>
          </a:p>
          <a:p>
            <a:pPr lvl="0"/>
            <a:r>
              <a:rPr lang="en-GB" sz="1600" kern="100" dirty="0">
                <a:effectLst/>
                <a:latin typeface="+mj-lt"/>
                <a:ea typeface="Calibri" panose="020F0502020204030204" pitchFamily="34" charset="0"/>
                <a:cs typeface="Times New Roman" panose="02020603050405020304" pitchFamily="18" charset="0"/>
              </a:rPr>
              <a:t>5. Common pitfalls </a:t>
            </a:r>
          </a:p>
          <a:p>
            <a:pPr marL="1371600">
              <a:buNone/>
            </a:pPr>
            <a:r>
              <a:rPr lang="en-GB" sz="1600" kern="100" dirty="0">
                <a:effectLst/>
                <a:latin typeface="+mj-lt"/>
                <a:ea typeface="Calibri" panose="020F0502020204030204" pitchFamily="34" charset="0"/>
                <a:cs typeface="Times New Roman" panose="02020603050405020304" pitchFamily="18" charset="0"/>
              </a:rPr>
              <a:t> </a:t>
            </a:r>
          </a:p>
          <a:p>
            <a:pPr lvl="0"/>
            <a:r>
              <a:rPr lang="en-GB" sz="1600" kern="100" dirty="0">
                <a:effectLst/>
                <a:latin typeface="+mj-lt"/>
                <a:ea typeface="Calibri" panose="020F0502020204030204" pitchFamily="34" charset="0"/>
                <a:cs typeface="Times New Roman" panose="02020603050405020304" pitchFamily="18" charset="0"/>
              </a:rPr>
              <a:t>6. Ethical issues </a:t>
            </a:r>
          </a:p>
          <a:p>
            <a:pPr marL="457200">
              <a:buNone/>
            </a:pPr>
            <a:r>
              <a:rPr lang="en-GB" sz="1600" kern="100" dirty="0">
                <a:effectLst/>
                <a:latin typeface="+mj-lt"/>
                <a:ea typeface="Calibri" panose="020F0502020204030204" pitchFamily="34" charset="0"/>
                <a:cs typeface="Times New Roman" panose="02020603050405020304" pitchFamily="18" charset="0"/>
              </a:rPr>
              <a:t> </a:t>
            </a:r>
          </a:p>
          <a:p>
            <a:pPr lvl="0"/>
            <a:r>
              <a:rPr lang="en-GB" sz="1600" kern="100" dirty="0">
                <a:effectLst/>
                <a:latin typeface="+mj-lt"/>
                <a:ea typeface="Calibri" panose="020F0502020204030204" pitchFamily="34" charset="0"/>
                <a:cs typeface="Times New Roman" panose="02020603050405020304" pitchFamily="18" charset="0"/>
              </a:rPr>
              <a:t>7. Submission Journey: The assessment and review process </a:t>
            </a:r>
          </a:p>
          <a:p>
            <a:pPr lvl="0"/>
            <a:endParaRPr lang="en-GB" sz="1600" kern="100" dirty="0">
              <a:effectLst/>
              <a:latin typeface="+mj-lt"/>
              <a:ea typeface="Calibri" panose="020F0502020204030204" pitchFamily="34" charset="0"/>
              <a:cs typeface="Times New Roman" panose="02020603050405020304" pitchFamily="18" charset="0"/>
            </a:endParaRPr>
          </a:p>
          <a:p>
            <a:pPr lvl="0"/>
            <a:r>
              <a:rPr lang="en-GB" sz="1600" kern="100" dirty="0">
                <a:effectLst/>
                <a:latin typeface="+mj-lt"/>
                <a:ea typeface="Calibri" panose="020F0502020204030204" pitchFamily="34" charset="0"/>
                <a:cs typeface="Times New Roman" panose="02020603050405020304" pitchFamily="18" charset="0"/>
              </a:rPr>
              <a:t>8. Resources </a:t>
            </a:r>
          </a:p>
          <a:p>
            <a:pPr lvl="0">
              <a:lnSpc>
                <a:spcPct val="107000"/>
              </a:lnSpc>
              <a:spcAft>
                <a:spcPts val="800"/>
              </a:spcAft>
            </a:pPr>
            <a:endParaRPr lang="en-GB" sz="1600" kern="100" dirty="0">
              <a:effectLst/>
              <a:latin typeface="+mj-lt"/>
              <a:ea typeface="Calibri" panose="020F0502020204030204" pitchFamily="34" charset="0"/>
              <a:cs typeface="Times New Roman" panose="02020603050405020304" pitchFamily="18" charset="0"/>
            </a:endParaRPr>
          </a:p>
        </p:txBody>
      </p:sp>
      <p:grpSp>
        <p:nvGrpSpPr>
          <p:cNvPr id="4" name="Group 3">
            <a:extLst>
              <a:ext uri="{FF2B5EF4-FFF2-40B4-BE49-F238E27FC236}">
                <a16:creationId xmlns:a16="http://schemas.microsoft.com/office/drawing/2014/main" id="{97D2EDD1-6F51-9C37-E677-D4D3DE09E5E1}"/>
              </a:ext>
            </a:extLst>
          </p:cNvPr>
          <p:cNvGrpSpPr/>
          <p:nvPr/>
        </p:nvGrpSpPr>
        <p:grpSpPr>
          <a:xfrm>
            <a:off x="6426020" y="1073562"/>
            <a:ext cx="4929552" cy="5399758"/>
            <a:chOff x="6426020" y="1073562"/>
            <a:chExt cx="4929552" cy="5399758"/>
          </a:xfrm>
        </p:grpSpPr>
        <p:sp>
          <p:nvSpPr>
            <p:cNvPr id="3" name="TextBox 2">
              <a:extLst>
                <a:ext uri="{FF2B5EF4-FFF2-40B4-BE49-F238E27FC236}">
                  <a16:creationId xmlns:a16="http://schemas.microsoft.com/office/drawing/2014/main" id="{2417AF54-C804-2F2B-C44B-E00E8DB39DA7}"/>
                </a:ext>
              </a:extLst>
            </p:cNvPr>
            <p:cNvSpPr txBox="1"/>
            <p:nvPr/>
          </p:nvSpPr>
          <p:spPr>
            <a:xfrm>
              <a:off x="6426020" y="1073562"/>
              <a:ext cx="4929552" cy="1390509"/>
            </a:xfrm>
            <a:prstGeom prst="rect">
              <a:avLst/>
            </a:prstGeom>
            <a:noFill/>
          </p:spPr>
          <p:txBody>
            <a:bodyPr wrap="square">
              <a:spAutoFit/>
            </a:bodyPr>
            <a:lstStyle/>
            <a:p>
              <a:pPr algn="just">
                <a:lnSpc>
                  <a:spcPct val="107000"/>
                </a:lnSpc>
                <a:spcAft>
                  <a:spcPts val="800"/>
                </a:spcAft>
                <a:buNone/>
              </a:pPr>
              <a:r>
                <a:rPr lang="en-GB" sz="1600" i="1" kern="100" dirty="0">
                  <a:effectLst/>
                  <a:latin typeface="+mj-lt"/>
                  <a:ea typeface="Calibri" panose="020F0502020204030204" pitchFamily="34" charset="0"/>
                  <a:cs typeface="Times New Roman" panose="02020603050405020304" pitchFamily="18" charset="0"/>
                </a:rPr>
                <a:t>By the end of the session, attendees will have a clearer understanding of the publication process, know where to find useful resources and be better equipped to successfully publish their research with Elsevier Open Access.</a:t>
              </a:r>
            </a:p>
          </p:txBody>
        </p:sp>
        <p:pic>
          <p:nvPicPr>
            <p:cNvPr id="2" name="Picture Placeholder 14" descr="A picture containing text&#10;&#10;Description automatically generated">
              <a:extLst>
                <a:ext uri="{FF2B5EF4-FFF2-40B4-BE49-F238E27FC236}">
                  <a16:creationId xmlns:a16="http://schemas.microsoft.com/office/drawing/2014/main" id="{22B6E9A6-435B-F346-A121-6C9855A2549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7177104" y="2627770"/>
              <a:ext cx="3418267" cy="3845550"/>
            </a:xfrm>
            <a:prstGeom prst="rect">
              <a:avLst/>
            </a:prstGeom>
          </p:spPr>
        </p:pic>
      </p:grpSp>
    </p:spTree>
    <p:extLst>
      <p:ext uri="{BB962C8B-B14F-4D97-AF65-F5344CB8AC3E}">
        <p14:creationId xmlns:p14="http://schemas.microsoft.com/office/powerpoint/2010/main" val="1779097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inVertical)">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1E17E611-10F6-FE53-8F12-E99229A4772F}"/>
            </a:ext>
          </a:extLst>
        </p:cNvPr>
        <p:cNvGrpSpPr/>
        <p:nvPr/>
      </p:nvGrpSpPr>
      <p:grpSpPr>
        <a:xfrm>
          <a:off x="0" y="0"/>
          <a:ext cx="0" cy="0"/>
          <a:chOff x="0" y="0"/>
          <a:chExt cx="0" cy="0"/>
        </a:xfrm>
      </p:grpSpPr>
      <p:grpSp>
        <p:nvGrpSpPr>
          <p:cNvPr id="8" name="Group 7">
            <a:extLst>
              <a:ext uri="{FF2B5EF4-FFF2-40B4-BE49-F238E27FC236}">
                <a16:creationId xmlns:a16="http://schemas.microsoft.com/office/drawing/2014/main" id="{0A03250C-5062-5D58-C9A3-56CA6ED63F3E}"/>
              </a:ext>
            </a:extLst>
          </p:cNvPr>
          <p:cNvGrpSpPr>
            <a:grpSpLocks noChangeAspect="1"/>
          </p:cNvGrpSpPr>
          <p:nvPr/>
        </p:nvGrpSpPr>
        <p:grpSpPr>
          <a:xfrm>
            <a:off x="10845469" y="190059"/>
            <a:ext cx="1079408" cy="1188245"/>
            <a:chOff x="0" y="-2994"/>
            <a:chExt cx="896785" cy="987208"/>
          </a:xfrm>
        </p:grpSpPr>
        <p:sp>
          <p:nvSpPr>
            <p:cNvPr id="9" name="Rectangle 8">
              <a:extLst>
                <a:ext uri="{FF2B5EF4-FFF2-40B4-BE49-F238E27FC236}">
                  <a16:creationId xmlns:a16="http://schemas.microsoft.com/office/drawing/2014/main" id="{3323B393-7D67-6797-3533-BF1B0D9FD3BA}"/>
                </a:ext>
              </a:extLst>
            </p:cNvPr>
            <p:cNvSpPr/>
            <p:nvPr/>
          </p:nvSpPr>
          <p:spPr>
            <a:xfrm>
              <a:off x="0" y="-2994"/>
              <a:ext cx="896785" cy="98720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LID4096"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 name="Picture 9">
              <a:extLst>
                <a:ext uri="{FF2B5EF4-FFF2-40B4-BE49-F238E27FC236}">
                  <a16:creationId xmlns:a16="http://schemas.microsoft.com/office/drawing/2014/main" id="{B374D119-791A-503E-9A7C-7257FB9DF5CF}"/>
                </a:ext>
              </a:extLst>
            </p:cNvPr>
            <p:cNvPicPr>
              <a:picLocks noChangeAspect="1"/>
            </p:cNvPicPr>
            <p:nvPr/>
          </p:nvPicPr>
          <p:blipFill>
            <a:blip r:embed="rId3"/>
            <a:stretch>
              <a:fillRect/>
            </a:stretch>
          </p:blipFill>
          <p:spPr>
            <a:xfrm>
              <a:off x="56562" y="47135"/>
              <a:ext cx="786452" cy="865707"/>
            </a:xfrm>
            <a:prstGeom prst="rect">
              <a:avLst/>
            </a:prstGeom>
          </p:spPr>
        </p:pic>
      </p:grpSp>
      <p:sp>
        <p:nvSpPr>
          <p:cNvPr id="11" name="Text Placeholder 1">
            <a:extLst>
              <a:ext uri="{FF2B5EF4-FFF2-40B4-BE49-F238E27FC236}">
                <a16:creationId xmlns:a16="http://schemas.microsoft.com/office/drawing/2014/main" id="{50052154-0B00-14D2-58E9-C7DDFD8786E1}"/>
              </a:ext>
            </a:extLst>
          </p:cNvPr>
          <p:cNvSpPr txBox="1">
            <a:spLocks/>
          </p:cNvSpPr>
          <p:nvPr/>
        </p:nvSpPr>
        <p:spPr>
          <a:xfrm>
            <a:off x="331844" y="465380"/>
            <a:ext cx="8605316" cy="912924"/>
          </a:xfrm>
          <a:prstGeom prst="rect">
            <a:avLst/>
          </a:prstGeom>
        </p:spPr>
        <p:txBody>
          <a:bodyPr anchor="ctr">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ct val="20000"/>
              </a:spcBef>
              <a:spcAft>
                <a:spcPts val="0"/>
              </a:spcAft>
              <a:buClrTx/>
              <a:buSzTx/>
              <a:buFont typeface="Arial"/>
              <a:buNone/>
              <a:tabLst/>
              <a:defRPr/>
            </a:pPr>
            <a:r>
              <a:rPr kumimoji="0" lang="en-US" sz="4600" b="0" i="0" u="none" strike="noStrike" kern="1200" cap="none" spc="0" normalizeH="0" baseline="0" noProof="0" dirty="0">
                <a:ln>
                  <a:noFill/>
                </a:ln>
                <a:solidFill>
                  <a:srgbClr val="ED7D31"/>
                </a:solidFill>
                <a:effectLst/>
                <a:uLnTx/>
                <a:uFillTx/>
                <a:latin typeface="Georgia" panose="02040502050405020303" pitchFamily="18" charset="0"/>
                <a:ea typeface="+mn-ea"/>
                <a:cs typeface="+mn-cs"/>
              </a:rPr>
              <a:t>6. Ethical considerations </a:t>
            </a:r>
            <a:endParaRPr kumimoji="0" lang="en-US" sz="4600" b="1" i="0" u="none" strike="noStrike" kern="1200" cap="none" spc="0" normalizeH="0" baseline="0" noProof="0" dirty="0">
              <a:ln>
                <a:noFill/>
              </a:ln>
              <a:solidFill>
                <a:srgbClr val="ED7D31"/>
              </a:solidFill>
              <a:effectLst/>
              <a:uLnTx/>
              <a:uFillTx/>
              <a:latin typeface="Georgia" panose="02040502050405020303" pitchFamily="18" charset="0"/>
              <a:ea typeface="+mn-ea"/>
              <a:cs typeface="+mn-cs"/>
            </a:endParaRPr>
          </a:p>
        </p:txBody>
      </p:sp>
      <p:pic>
        <p:nvPicPr>
          <p:cNvPr id="2" name="Picture Placeholder 38">
            <a:extLst>
              <a:ext uri="{FF2B5EF4-FFF2-40B4-BE49-F238E27FC236}">
                <a16:creationId xmlns:a16="http://schemas.microsoft.com/office/drawing/2014/main" id="{DBF96BC3-8717-8C8E-351B-5FFE81E41679}"/>
              </a:ext>
            </a:extLst>
          </p:cNvPr>
          <p:cNvPicPr>
            <a:picLocks noChangeAspect="1"/>
          </p:cNvPicPr>
          <p:nvPr/>
        </p:nvPicPr>
        <p:blipFill>
          <a:blip r:embed="rId4" cstate="print">
            <a:extLst>
              <a:ext uri="{28A0092B-C50C-407E-A947-70E740481C1C}">
                <a14:useLocalDpi xmlns:a14="http://schemas.microsoft.com/office/drawing/2010/main"/>
              </a:ext>
            </a:extLst>
          </a:blip>
          <a:srcRect l="22268" t="26721" r="22268"/>
          <a:stretch>
            <a:fillRect/>
          </a:stretch>
        </p:blipFill>
        <p:spPr>
          <a:xfrm>
            <a:off x="331843" y="1507745"/>
            <a:ext cx="5536693" cy="4884875"/>
          </a:xfrm>
          <a:prstGeom prst="rect">
            <a:avLst/>
          </a:prstGeom>
        </p:spPr>
      </p:pic>
    </p:spTree>
    <p:extLst>
      <p:ext uri="{BB962C8B-B14F-4D97-AF65-F5344CB8AC3E}">
        <p14:creationId xmlns:p14="http://schemas.microsoft.com/office/powerpoint/2010/main" val="3552638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5">
            <a:extLst>
              <a:ext uri="{FF2B5EF4-FFF2-40B4-BE49-F238E27FC236}">
                <a16:creationId xmlns:a16="http://schemas.microsoft.com/office/drawing/2014/main" id="{3C881F58-D00F-D657-F1C0-CDC14C35AE64}"/>
              </a:ext>
            </a:extLst>
          </p:cNvPr>
          <p:cNvSpPr>
            <a:spLocks noGrp="1"/>
          </p:cNvSpPr>
          <p:nvPr>
            <p:ph idx="1"/>
          </p:nvPr>
        </p:nvSpPr>
        <p:spPr>
          <a:xfrm>
            <a:off x="242888" y="2029579"/>
            <a:ext cx="7566165" cy="4574707"/>
          </a:xfrm>
        </p:spPr>
        <p:txBody>
          <a:bodyPr>
            <a:noAutofit/>
          </a:bodyPr>
          <a:lstStyle/>
          <a:p>
            <a:pPr>
              <a:buClr>
                <a:srgbClr val="92D050"/>
              </a:buClr>
              <a:buSzPct val="150000"/>
            </a:pPr>
            <a:r>
              <a:rPr lang="en-GB" sz="1800" b="1" dirty="0">
                <a:solidFill>
                  <a:schemeClr val="tx1"/>
                </a:solidFill>
                <a:ea typeface="Calibri" panose="020F0502020204030204" pitchFamily="34" charset="0"/>
                <a:cs typeface="Calibri" panose="020F0502020204030204" pitchFamily="34" charset="0"/>
              </a:rPr>
              <a:t>Dos</a:t>
            </a:r>
            <a:endParaRPr lang="en-GB" sz="1800" dirty="0">
              <a:solidFill>
                <a:schemeClr val="tx1"/>
              </a:solidFill>
              <a:ea typeface="Calibri" panose="020F0502020204030204" pitchFamily="34" charset="0"/>
              <a:cs typeface="Calibri" panose="020F0502020204030204" pitchFamily="34" charset="0"/>
            </a:endParaRPr>
          </a:p>
          <a:p>
            <a:pPr marL="457189" indent="-457189">
              <a:buClr>
                <a:srgbClr val="92D050"/>
              </a:buClr>
              <a:buSzPct val="150000"/>
              <a:buFont typeface="Wingdings" panose="05000000000000000000" pitchFamily="2" charset="2"/>
              <a:buChar char=""/>
            </a:pPr>
            <a:r>
              <a:rPr lang="en-GB" sz="1800" b="1" dirty="0">
                <a:solidFill>
                  <a:schemeClr val="tx1"/>
                </a:solidFill>
                <a:ea typeface="Calibri" panose="020F0502020204030204" pitchFamily="34" charset="0"/>
                <a:cs typeface="Calibri" panose="020F0502020204030204" pitchFamily="34" charset="0"/>
              </a:rPr>
              <a:t>First Author</a:t>
            </a:r>
          </a:p>
          <a:p>
            <a:pPr lvl="1">
              <a:lnSpc>
                <a:spcPct val="110000"/>
              </a:lnSpc>
            </a:pPr>
            <a:r>
              <a:rPr lang="en-US" sz="1800" dirty="0">
                <a:ea typeface="Calibri" panose="020F0502020204030204" pitchFamily="34" charset="0"/>
                <a:cs typeface="Calibri" panose="020F0502020204030204" pitchFamily="34" charset="0"/>
              </a:rPr>
              <a:t>Conducts and/or supervises the data generation and analysis and the proper presentation and interpretation of the results</a:t>
            </a:r>
          </a:p>
          <a:p>
            <a:pPr lvl="1">
              <a:lnSpc>
                <a:spcPct val="110000"/>
              </a:lnSpc>
            </a:pPr>
            <a:r>
              <a:rPr lang="en-GB" sz="1800" dirty="0">
                <a:ea typeface="Calibri" panose="020F0502020204030204" pitchFamily="34" charset="0"/>
                <a:cs typeface="Calibri" panose="020F0502020204030204" pitchFamily="34" charset="0"/>
              </a:rPr>
              <a:t>Performs the bulk of the writing and organises the team </a:t>
            </a:r>
          </a:p>
          <a:p>
            <a:pPr lvl="1">
              <a:lnSpc>
                <a:spcPct val="110000"/>
              </a:lnSpc>
            </a:pPr>
            <a:r>
              <a:rPr lang="en-GB" sz="1800" dirty="0">
                <a:ea typeface="Calibri" panose="020F0502020204030204" pitchFamily="34" charset="0"/>
                <a:cs typeface="Calibri" panose="020F0502020204030204" pitchFamily="34" charset="0"/>
              </a:rPr>
              <a:t>If the article is based on a PhD thesis, the Author of the thesis must be the first Author </a:t>
            </a:r>
          </a:p>
          <a:p>
            <a:pPr marL="457189" indent="-457189">
              <a:buClr>
                <a:srgbClr val="92D050"/>
              </a:buClr>
              <a:buSzPct val="150000"/>
              <a:buFont typeface="Wingdings" panose="05000000000000000000" pitchFamily="2" charset="2"/>
              <a:buChar char=""/>
            </a:pPr>
            <a:r>
              <a:rPr lang="en-GB" sz="1800" b="1" dirty="0">
                <a:solidFill>
                  <a:schemeClr val="tx1"/>
                </a:solidFill>
                <a:ea typeface="Calibri" panose="020F0502020204030204" pitchFamily="34" charset="0"/>
                <a:cs typeface="Calibri" panose="020F0502020204030204" pitchFamily="34" charset="0"/>
              </a:rPr>
              <a:t>Corresponding Author</a:t>
            </a:r>
          </a:p>
          <a:p>
            <a:pPr lvl="1">
              <a:lnSpc>
                <a:spcPct val="110000"/>
              </a:lnSpc>
            </a:pPr>
            <a:r>
              <a:rPr lang="en-GB" sz="1800" dirty="0">
                <a:ea typeface="Calibri" panose="020F0502020204030204" pitchFamily="34" charset="0"/>
                <a:cs typeface="Calibri" panose="020F0502020204030204" pitchFamily="34" charset="0"/>
              </a:rPr>
              <a:t>This should be the first Author or a more senior Author (with permanent contract)</a:t>
            </a:r>
          </a:p>
          <a:p>
            <a:pPr lvl="1">
              <a:lnSpc>
                <a:spcPct val="110000"/>
              </a:lnSpc>
            </a:pPr>
            <a:r>
              <a:rPr lang="en-GB" sz="1800" dirty="0">
                <a:ea typeface="Calibri" panose="020F0502020204030204" pitchFamily="34" charset="0"/>
                <a:cs typeface="Calibri" panose="020F0502020204030204" pitchFamily="34" charset="0"/>
              </a:rPr>
              <a:t>Particularly when the first Author is a PhD or postdoc (will move to another institution and change email address)</a:t>
            </a:r>
            <a:endParaRPr lang="en-US" sz="1800" u="sng" dirty="0">
              <a:ea typeface="Calibri" panose="020F0502020204030204" pitchFamily="34" charset="0"/>
              <a:cs typeface="Calibri" panose="020F0502020204030204" pitchFamily="34" charset="0"/>
            </a:endParaRPr>
          </a:p>
          <a:p>
            <a:pPr lvl="1" indent="-457189">
              <a:buClr>
                <a:srgbClr val="92D050"/>
              </a:buClr>
              <a:buSzPct val="150000"/>
              <a:buFont typeface="Wingdings" panose="05000000000000000000" pitchFamily="2" charset="2"/>
              <a:buChar char=""/>
            </a:pPr>
            <a:endParaRPr lang="en-GB" sz="1867" dirty="0"/>
          </a:p>
          <a:p>
            <a:pPr marL="457189" indent="-457189">
              <a:buClr>
                <a:srgbClr val="92D050"/>
              </a:buClr>
              <a:buSzPct val="150000"/>
              <a:buFont typeface="Wingdings" panose="05000000000000000000" pitchFamily="2" charset="2"/>
              <a:buChar char=""/>
            </a:pPr>
            <a:endParaRPr lang="en-GB" sz="1867" dirty="0"/>
          </a:p>
        </p:txBody>
      </p:sp>
      <p:sp>
        <p:nvSpPr>
          <p:cNvPr id="5" name="Titel 7">
            <a:extLst>
              <a:ext uri="{FF2B5EF4-FFF2-40B4-BE49-F238E27FC236}">
                <a16:creationId xmlns:a16="http://schemas.microsoft.com/office/drawing/2014/main" id="{3F700130-0E85-070A-2373-D62A5BE1BD45}"/>
              </a:ext>
            </a:extLst>
          </p:cNvPr>
          <p:cNvSpPr>
            <a:spLocks noGrp="1"/>
          </p:cNvSpPr>
          <p:nvPr>
            <p:ph type="title"/>
          </p:nvPr>
        </p:nvSpPr>
        <p:spPr>
          <a:xfrm>
            <a:off x="128772" y="108739"/>
            <a:ext cx="10429267" cy="673100"/>
          </a:xfrm>
        </p:spPr>
        <p:txBody>
          <a:bodyPr/>
          <a:lstStyle/>
          <a:p>
            <a:r>
              <a:rPr lang="en-US" dirty="0">
                <a:solidFill>
                  <a:schemeClr val="accent2"/>
                </a:solidFill>
                <a:latin typeface="Georgia" panose="02040502050405020303" pitchFamily="18" charset="0"/>
              </a:rPr>
              <a:t>Authorship </a:t>
            </a:r>
          </a:p>
        </p:txBody>
      </p:sp>
      <p:sp>
        <p:nvSpPr>
          <p:cNvPr id="3" name="TextBox 2">
            <a:extLst>
              <a:ext uri="{FF2B5EF4-FFF2-40B4-BE49-F238E27FC236}">
                <a16:creationId xmlns:a16="http://schemas.microsoft.com/office/drawing/2014/main" id="{56FEFDC7-5015-E33F-48C3-5ACBEFFF126E}"/>
              </a:ext>
            </a:extLst>
          </p:cNvPr>
          <p:cNvSpPr txBox="1"/>
          <p:nvPr/>
        </p:nvSpPr>
        <p:spPr>
          <a:xfrm>
            <a:off x="242888" y="878265"/>
            <a:ext cx="11706224" cy="954300"/>
          </a:xfrm>
          <a:prstGeom prst="rect">
            <a:avLst/>
          </a:prstGeom>
          <a:noFill/>
        </p:spPr>
        <p:txBody>
          <a:bodyPr wrap="square">
            <a:spAutoFit/>
          </a:bodyPr>
          <a:lstStyle/>
          <a:p>
            <a:pPr marL="380990" indent="-380990" defTabSz="1219170">
              <a:buFont typeface="Wingdings" panose="05000000000000000000" pitchFamily="2" charset="2"/>
              <a:buChar char="§"/>
            </a:pPr>
            <a:r>
              <a:rPr lang="en-US" sz="1867" dirty="0">
                <a:solidFill>
                  <a:srgbClr val="53565A"/>
                </a:solidFill>
                <a:ea typeface="Calibri" panose="020F0502020204030204" pitchFamily="34" charset="0"/>
                <a:cs typeface="Calibri" panose="020F0502020204030204" pitchFamily="34" charset="0"/>
              </a:rPr>
              <a:t>An “Author” is generally considered to be someone who has made </a:t>
            </a:r>
            <a:r>
              <a:rPr lang="en-US" sz="1867" b="1" i="1" dirty="0">
                <a:solidFill>
                  <a:srgbClr val="53565A"/>
                </a:solidFill>
                <a:ea typeface="Calibri" panose="020F0502020204030204" pitchFamily="34" charset="0"/>
                <a:cs typeface="Calibri" panose="020F0502020204030204" pitchFamily="34" charset="0"/>
              </a:rPr>
              <a:t>substantial intellectual</a:t>
            </a:r>
            <a:r>
              <a:rPr lang="en-US" sz="1867" dirty="0">
                <a:solidFill>
                  <a:srgbClr val="53565A"/>
                </a:solidFill>
                <a:ea typeface="Calibri" panose="020F0502020204030204" pitchFamily="34" charset="0"/>
                <a:cs typeface="Calibri" panose="020F0502020204030204" pitchFamily="34" charset="0"/>
              </a:rPr>
              <a:t> contributions to a published study.</a:t>
            </a:r>
          </a:p>
          <a:p>
            <a:pPr marL="380990" indent="-380990" defTabSz="1219170">
              <a:buFont typeface="Wingdings" panose="05000000000000000000" pitchFamily="2" charset="2"/>
              <a:buChar char="§"/>
            </a:pPr>
            <a:r>
              <a:rPr lang="en-US" sz="1867" dirty="0">
                <a:solidFill>
                  <a:srgbClr val="53565A"/>
                </a:solidFill>
                <a:ea typeface="Calibri" panose="020F0502020204030204" pitchFamily="34" charset="0"/>
                <a:cs typeface="Calibri" panose="020F0502020204030204" pitchFamily="34" charset="0"/>
              </a:rPr>
              <a:t>The Author list and the order of Authors should </a:t>
            </a:r>
            <a:r>
              <a:rPr lang="en-US" sz="1867" dirty="0">
                <a:solidFill>
                  <a:srgbClr val="3679E0"/>
                </a:solidFill>
                <a:ea typeface="Calibri" panose="020F0502020204030204" pitchFamily="34" charset="0"/>
                <a:cs typeface="Calibri" panose="020F0502020204030204" pitchFamily="34" charset="0"/>
              </a:rPr>
              <a:t>NOT</a:t>
            </a:r>
            <a:r>
              <a:rPr lang="en-US" sz="1867" dirty="0">
                <a:solidFill>
                  <a:srgbClr val="53565A"/>
                </a:solidFill>
                <a:ea typeface="Calibri" panose="020F0502020204030204" pitchFamily="34" charset="0"/>
                <a:cs typeface="Calibri" panose="020F0502020204030204" pitchFamily="34" charset="0"/>
              </a:rPr>
              <a:t> be changed once the manuscript is submitted</a:t>
            </a:r>
          </a:p>
        </p:txBody>
      </p:sp>
      <p:sp>
        <p:nvSpPr>
          <p:cNvPr id="6" name="Content Placeholder 5">
            <a:extLst>
              <a:ext uri="{FF2B5EF4-FFF2-40B4-BE49-F238E27FC236}">
                <a16:creationId xmlns:a16="http://schemas.microsoft.com/office/drawing/2014/main" id="{C3547D99-C457-769D-8B36-C87743955CBC}"/>
              </a:ext>
            </a:extLst>
          </p:cNvPr>
          <p:cNvSpPr txBox="1">
            <a:spLocks/>
          </p:cNvSpPr>
          <p:nvPr/>
        </p:nvSpPr>
        <p:spPr>
          <a:xfrm>
            <a:off x="7918642" y="2029579"/>
            <a:ext cx="4273359" cy="3617242"/>
          </a:xfrm>
          <a:prstGeom prst="rect">
            <a:avLst/>
          </a:prstGeom>
        </p:spPr>
        <p:txBody>
          <a:bodyPr vert="horz" lIns="121920" tIns="60960" rIns="121920" bIns="60960" rtlCol="0">
            <a:noAutofit/>
          </a:bodyPr>
          <a:lstStyle>
            <a:lvl1pPr marL="0" indent="0" algn="l" defTabSz="457200" rtl="0" eaLnBrk="1" latinLnBrk="0" hangingPunct="1">
              <a:spcBef>
                <a:spcPct val="20000"/>
              </a:spcBef>
              <a:buFont typeface="Arial"/>
              <a:buNone/>
              <a:defRPr sz="2000" kern="1200">
                <a:solidFill>
                  <a:srgbClr val="53565A"/>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457189" indent="-457189" defTabSz="609585">
              <a:buClr>
                <a:srgbClr val="C00000"/>
              </a:buClr>
              <a:buSzPct val="130000"/>
            </a:pPr>
            <a:r>
              <a:rPr lang="en-GB" sz="1800" b="1" dirty="0">
                <a:solidFill>
                  <a:schemeClr val="tx1"/>
                </a:solidFill>
                <a:latin typeface="+mn-lt"/>
                <a:ea typeface="Calibri" panose="020F0502020204030204" pitchFamily="34" charset="0"/>
                <a:cs typeface="Calibri" panose="020F0502020204030204" pitchFamily="34" charset="0"/>
              </a:rPr>
              <a:t>Don’ts</a:t>
            </a:r>
            <a:endParaRPr lang="en-GB" sz="1800" dirty="0">
              <a:solidFill>
                <a:schemeClr val="tx1"/>
              </a:solidFill>
              <a:latin typeface="+mn-lt"/>
              <a:ea typeface="Calibri" panose="020F0502020204030204" pitchFamily="34" charset="0"/>
              <a:cs typeface="Calibri" panose="020F0502020204030204" pitchFamily="34" charset="0"/>
            </a:endParaRPr>
          </a:p>
          <a:p>
            <a:pPr marL="457189" indent="-457189" defTabSz="609585">
              <a:buClr>
                <a:srgbClr val="C00000"/>
              </a:buClr>
              <a:buSzPct val="130000"/>
              <a:buFont typeface="Wingdings" panose="05000000000000000000" pitchFamily="2" charset="2"/>
              <a:buChar char=""/>
            </a:pPr>
            <a:r>
              <a:rPr lang="en-GB" sz="1800" b="1" dirty="0">
                <a:solidFill>
                  <a:schemeClr val="tx1"/>
                </a:solidFill>
                <a:latin typeface="+mn-lt"/>
              </a:rPr>
              <a:t>Ghost Authorship</a:t>
            </a:r>
          </a:p>
          <a:p>
            <a:pPr marL="990575" lvl="1" indent="0" defTabSz="609585">
              <a:buSzPct val="130000"/>
              <a:buNone/>
            </a:pPr>
            <a:r>
              <a:rPr lang="en-US" dirty="0">
                <a:ea typeface="Calibri" panose="020F0502020204030204" pitchFamily="34" charset="0"/>
                <a:cs typeface="Calibri" panose="020F0502020204030204" pitchFamily="34" charset="0"/>
              </a:rPr>
              <a:t>Leaving out Authors who should be included </a:t>
            </a:r>
            <a:endParaRPr lang="en-GB" dirty="0">
              <a:ea typeface="Calibri" panose="020F0502020204030204" pitchFamily="34" charset="0"/>
              <a:cs typeface="Calibri" panose="020F0502020204030204" pitchFamily="34" charset="0"/>
            </a:endParaRPr>
          </a:p>
          <a:p>
            <a:pPr marL="457189" indent="-457189" defTabSz="609585">
              <a:buClr>
                <a:srgbClr val="C00000"/>
              </a:buClr>
              <a:buSzPct val="130000"/>
              <a:buFont typeface="Wingdings" panose="05000000000000000000" pitchFamily="2" charset="2"/>
              <a:buChar char=""/>
            </a:pPr>
            <a:r>
              <a:rPr lang="en-GB" sz="1800" b="1" dirty="0">
                <a:solidFill>
                  <a:schemeClr val="tx1"/>
                </a:solidFill>
                <a:latin typeface="+mn-lt"/>
                <a:ea typeface="Calibri" panose="020F0502020204030204" pitchFamily="34" charset="0"/>
                <a:cs typeface="Calibri" panose="020F0502020204030204" pitchFamily="34" charset="0"/>
              </a:rPr>
              <a:t>Gift Authorship</a:t>
            </a:r>
          </a:p>
          <a:p>
            <a:pPr marL="990575" lvl="1" indent="0" defTabSz="609585">
              <a:buClr>
                <a:srgbClr val="C00000"/>
              </a:buClr>
              <a:buSzPct val="130000"/>
              <a:buNone/>
            </a:pPr>
            <a:r>
              <a:rPr lang="en-US" dirty="0">
                <a:ea typeface="Calibri" panose="020F0502020204030204" pitchFamily="34" charset="0"/>
                <a:cs typeface="Calibri" panose="020F0502020204030204" pitchFamily="34" charset="0"/>
              </a:rPr>
              <a:t>Including Authors who did not contribute significantly</a:t>
            </a:r>
          </a:p>
          <a:p>
            <a:pPr marL="247625" defTabSz="609585">
              <a:buClr>
                <a:srgbClr val="C00000"/>
              </a:buClr>
              <a:buSzPct val="130000"/>
            </a:pPr>
            <a:r>
              <a:rPr lang="en-US" sz="1800" b="1" dirty="0">
                <a:ea typeface="Calibri" panose="020F0502020204030204" pitchFamily="34" charset="0"/>
                <a:cs typeface="Calibri" panose="020F0502020204030204" pitchFamily="34" charset="0"/>
              </a:rPr>
              <a:t>Change authors </a:t>
            </a:r>
          </a:p>
          <a:p>
            <a:pPr marL="990575" lvl="1" indent="0" defTabSz="609585">
              <a:buClr>
                <a:srgbClr val="C00000"/>
              </a:buClr>
              <a:buSzPct val="130000"/>
              <a:buNone/>
            </a:pPr>
            <a:r>
              <a:rPr lang="en-US" dirty="0">
                <a:ea typeface="Calibri" panose="020F0502020204030204" pitchFamily="34" charset="0"/>
                <a:cs typeface="Calibri" panose="020F0502020204030204" pitchFamily="34" charset="0"/>
              </a:rPr>
              <a:t>Add in or remove authors once in manuscript is sent to review</a:t>
            </a:r>
          </a:p>
          <a:p>
            <a:pPr marL="990575" lvl="1" indent="0" defTabSz="609585">
              <a:buClr>
                <a:srgbClr val="C00000"/>
              </a:buClr>
              <a:buSzPct val="130000"/>
              <a:buNone/>
            </a:pPr>
            <a:r>
              <a:rPr lang="en-US" dirty="0">
                <a:ea typeface="Calibri" panose="020F0502020204030204" pitchFamily="34" charset="0"/>
                <a:cs typeface="Calibri" panose="020F0502020204030204" pitchFamily="34" charset="0"/>
              </a:rPr>
              <a:t> </a:t>
            </a:r>
          </a:p>
          <a:p>
            <a:pPr marL="990575" lvl="1" indent="0" defTabSz="609585">
              <a:buClr>
                <a:srgbClr val="C00000"/>
              </a:buClr>
              <a:buSzPct val="130000"/>
              <a:buNone/>
            </a:pPr>
            <a:endParaRPr lang="en-US" dirty="0">
              <a:ea typeface="Calibri" panose="020F0502020204030204" pitchFamily="34" charset="0"/>
              <a:cs typeface="Calibri" panose="020F0502020204030204" pitchFamily="34" charset="0"/>
            </a:endParaRPr>
          </a:p>
          <a:p>
            <a:pPr marL="990575" lvl="1" indent="0" defTabSz="609585">
              <a:buClr>
                <a:srgbClr val="C00000"/>
              </a:buClr>
              <a:buSzPct val="130000"/>
              <a:buNone/>
            </a:pPr>
            <a:endParaRPr lang="en-US" dirty="0">
              <a:ea typeface="Calibri" panose="020F0502020204030204" pitchFamily="34" charset="0"/>
              <a:cs typeface="Calibri" panose="020F0502020204030204" pitchFamily="34" charset="0"/>
            </a:endParaRPr>
          </a:p>
          <a:p>
            <a:pPr marL="990575" lvl="1" indent="0" defTabSz="609585">
              <a:buClr>
                <a:srgbClr val="C00000"/>
              </a:buClr>
              <a:buSzPct val="130000"/>
              <a:buNone/>
            </a:pPr>
            <a:endParaRPr lang="en-GB" sz="1867" dirty="0">
              <a:solidFill>
                <a:srgbClr val="53565A"/>
              </a:solidFill>
              <a:latin typeface="Arial" panose="020B0604020202020204"/>
            </a:endParaRPr>
          </a:p>
        </p:txBody>
      </p:sp>
    </p:spTree>
    <p:custDataLst>
      <p:tags r:id="rId1"/>
    </p:custDataLst>
    <p:extLst>
      <p:ext uri="{BB962C8B-B14F-4D97-AF65-F5344CB8AC3E}">
        <p14:creationId xmlns:p14="http://schemas.microsoft.com/office/powerpoint/2010/main" val="862387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
                                            <p:txEl>
                                              <p:pRg st="6" end="6"/>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P spid="6"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F06B66-7768-6C32-7949-19EFCC02FDAC}"/>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824FDC00-6586-7682-13B3-88E005581F46}"/>
              </a:ext>
            </a:extLst>
          </p:cNvPr>
          <p:cNvSpPr>
            <a:spLocks noGrp="1"/>
          </p:cNvSpPr>
          <p:nvPr>
            <p:ph type="title"/>
          </p:nvPr>
        </p:nvSpPr>
        <p:spPr>
          <a:xfrm>
            <a:off x="404364" y="372112"/>
            <a:ext cx="6466898" cy="1205441"/>
          </a:xfrm>
        </p:spPr>
        <p:txBody>
          <a:bodyPr>
            <a:noAutofit/>
          </a:bodyPr>
          <a:lstStyle/>
          <a:p>
            <a:pPr lvl="1"/>
            <a:r>
              <a:rPr lang="en-GB" sz="4600" kern="1200" dirty="0">
                <a:solidFill>
                  <a:schemeClr val="accent5"/>
                </a:solidFill>
                <a:latin typeface="Georgia" panose="02040502050405020303" pitchFamily="18" charset="0"/>
              </a:rPr>
              <a:t>Avoiding plagiarism </a:t>
            </a:r>
            <a:endParaRPr lang="en-GB" sz="4600" dirty="0">
              <a:solidFill>
                <a:schemeClr val="accent5"/>
              </a:solidFill>
              <a:latin typeface="Georgia" panose="02040502050405020303" pitchFamily="18" charset="0"/>
              <a:cs typeface="Arial" panose="020B0604020202020204" pitchFamily="34" charset="0"/>
            </a:endParaRPr>
          </a:p>
        </p:txBody>
      </p:sp>
      <p:sp>
        <p:nvSpPr>
          <p:cNvPr id="2" name="Title 1">
            <a:extLst>
              <a:ext uri="{FF2B5EF4-FFF2-40B4-BE49-F238E27FC236}">
                <a16:creationId xmlns:a16="http://schemas.microsoft.com/office/drawing/2014/main" id="{7A1E0A3E-560B-9A77-E19A-776E35D5C814}"/>
              </a:ext>
            </a:extLst>
          </p:cNvPr>
          <p:cNvSpPr txBox="1">
            <a:spLocks/>
          </p:cNvSpPr>
          <p:nvPr/>
        </p:nvSpPr>
        <p:spPr>
          <a:xfrm>
            <a:off x="357279" y="1577553"/>
            <a:ext cx="8761435" cy="4908332"/>
          </a:xfrm>
          <a:prstGeom prst="rect">
            <a:avLst/>
          </a:prstGeom>
          <a:noFill/>
        </p:spPr>
        <p:txBody>
          <a:bodyPr vert="horz" lIns="0" tIns="0" rIns="0" bIns="0" rtlCol="0" anchor="t" anchorCtr="0">
            <a:noAutofit/>
          </a:bodyPr>
          <a:lstStyle>
            <a:lvl1pPr algn="l" defTabSz="914377" rtl="0" eaLnBrk="1" latinLnBrk="0" hangingPunct="1">
              <a:lnSpc>
                <a:spcPct val="100000"/>
              </a:lnSpc>
              <a:spcBef>
                <a:spcPct val="0"/>
              </a:spcBef>
              <a:buNone/>
              <a:defRPr sz="3200" kern="1200">
                <a:solidFill>
                  <a:schemeClr val="tx1"/>
                </a:solidFill>
                <a:latin typeface="+mj-lt"/>
                <a:ea typeface="+mj-ea"/>
                <a:cs typeface="+mj-cs"/>
              </a:defRPr>
            </a:lvl1pPr>
          </a:lstStyle>
          <a:p>
            <a:pPr lvl="0"/>
            <a:r>
              <a:rPr lang="en-US" sz="2400" dirty="0">
                <a:latin typeface="Georgia" panose="02040502050405020303" pitchFamily="18" charset="0"/>
                <a:cs typeface="Arial" panose="020B0604020202020204" pitchFamily="34" charset="0"/>
              </a:rPr>
              <a:t>All manuscripts are checked for this </a:t>
            </a:r>
            <a:endParaRPr lang="en-GB" sz="2400" dirty="0">
              <a:latin typeface="Georgia" panose="02040502050405020303" pitchFamily="18" charset="0"/>
              <a:cs typeface="Arial" panose="020B0604020202020204" pitchFamily="34" charset="0"/>
            </a:endParaRPr>
          </a:p>
          <a:p>
            <a:pPr marL="742950" lvl="1"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Your work </a:t>
            </a:r>
            <a:r>
              <a:rPr lang="en-US" sz="1600" i="1" dirty="0">
                <a:latin typeface="Arial" panose="020B0604020202020204" pitchFamily="34" charset="0"/>
                <a:cs typeface="Arial" panose="020B0604020202020204" pitchFamily="34" charset="0"/>
              </a:rPr>
              <a:t>will</a:t>
            </a:r>
            <a:r>
              <a:rPr lang="en-US" sz="1600" dirty="0">
                <a:latin typeface="Arial" panose="020B0604020202020204" pitchFamily="34" charset="0"/>
                <a:cs typeface="Arial" panose="020B0604020202020204" pitchFamily="34" charset="0"/>
              </a:rPr>
              <a:t> desk rejected if this is found </a:t>
            </a:r>
            <a:endParaRPr lang="en-GB" sz="1600" dirty="0">
              <a:latin typeface="Arial" panose="020B0604020202020204" pitchFamily="34" charset="0"/>
              <a:cs typeface="Arial" panose="020B0604020202020204" pitchFamily="34" charset="0"/>
            </a:endParaRPr>
          </a:p>
          <a:p>
            <a:r>
              <a:rPr lang="en-US" sz="1600" b="1" i="1" dirty="0">
                <a:latin typeface="Arial" panose="020B0604020202020204" pitchFamily="34" charset="0"/>
                <a:cs typeface="Arial" panose="020B0604020202020204" pitchFamily="34" charset="0"/>
              </a:rPr>
              <a:t> </a:t>
            </a:r>
          </a:p>
          <a:p>
            <a:endParaRPr lang="en-GB" sz="1600" dirty="0">
              <a:latin typeface="Arial" panose="020B0604020202020204" pitchFamily="34" charset="0"/>
              <a:cs typeface="Arial" panose="020B0604020202020204" pitchFamily="34" charset="0"/>
            </a:endParaRPr>
          </a:p>
          <a:p>
            <a:pPr lvl="0"/>
            <a:r>
              <a:rPr lang="en-US" sz="2400" dirty="0">
                <a:latin typeface="Georgia" panose="02040502050405020303" pitchFamily="18" charset="0"/>
                <a:cs typeface="Arial" panose="020B0604020202020204" pitchFamily="34" charset="0"/>
              </a:rPr>
              <a:t>There are many sources which explain:</a:t>
            </a:r>
            <a:endParaRPr lang="en-GB" sz="2400" dirty="0">
              <a:latin typeface="Georgia" panose="02040502050405020303" pitchFamily="18" charset="0"/>
              <a:cs typeface="Arial" panose="020B0604020202020204" pitchFamily="34" charset="0"/>
            </a:endParaRPr>
          </a:p>
          <a:p>
            <a:pPr marL="742950" lvl="1"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What plagiarism is</a:t>
            </a:r>
            <a:endParaRPr lang="en-GB" sz="1600" dirty="0">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That explain how to cite, how to reference </a:t>
            </a:r>
            <a:endParaRPr lang="en-GB" sz="1600" dirty="0">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Please </a:t>
            </a:r>
            <a:r>
              <a:rPr lang="en-US" sz="1600" b="1" dirty="0">
                <a:latin typeface="Arial" panose="020B0604020202020204" pitchFamily="34" charset="0"/>
                <a:cs typeface="Arial" panose="020B0604020202020204" pitchFamily="34" charset="0"/>
              </a:rPr>
              <a:t>consult these </a:t>
            </a:r>
          </a:p>
          <a:p>
            <a:pPr lvl="1"/>
            <a:endParaRPr lang="en-US" sz="1600" b="1" i="1" dirty="0">
              <a:latin typeface="Arial" panose="020B0604020202020204" pitchFamily="34" charset="0"/>
              <a:cs typeface="Arial" panose="020B0604020202020204" pitchFamily="34" charset="0"/>
            </a:endParaRPr>
          </a:p>
          <a:p>
            <a:pPr lvl="1"/>
            <a:endParaRPr lang="en-US" sz="1600" b="1" i="1" dirty="0">
              <a:latin typeface="Arial" panose="020B0604020202020204" pitchFamily="34" charset="0"/>
              <a:cs typeface="Arial" panose="020B0604020202020204" pitchFamily="34" charset="0"/>
            </a:endParaRPr>
          </a:p>
          <a:p>
            <a:pPr lvl="1"/>
            <a:endParaRPr lang="en-US" sz="1600" b="1" i="1" dirty="0">
              <a:latin typeface="Arial" panose="020B0604020202020204" pitchFamily="34" charset="0"/>
              <a:cs typeface="Arial" panose="020B0604020202020204" pitchFamily="34" charset="0"/>
            </a:endParaRPr>
          </a:p>
          <a:p>
            <a:pPr lvl="1"/>
            <a:endParaRPr lang="en-US" sz="1600" b="1" i="1" dirty="0">
              <a:latin typeface="Arial" panose="020B0604020202020204" pitchFamily="34" charset="0"/>
              <a:cs typeface="Arial" panose="020B0604020202020204" pitchFamily="34" charset="0"/>
            </a:endParaRPr>
          </a:p>
          <a:p>
            <a:pPr lvl="1"/>
            <a:r>
              <a:rPr lang="en-US" sz="1600" b="1" i="1" dirty="0">
                <a:latin typeface="Arial" panose="020B0604020202020204" pitchFamily="34" charset="0"/>
                <a:cs typeface="Arial" panose="020B0604020202020204" pitchFamily="34" charset="0"/>
              </a:rPr>
              <a:t> </a:t>
            </a:r>
            <a:endParaRPr lang="en-GB" sz="1600" dirty="0">
              <a:latin typeface="Arial" panose="020B0604020202020204" pitchFamily="34" charset="0"/>
              <a:cs typeface="Arial" panose="020B0604020202020204" pitchFamily="34" charset="0"/>
            </a:endParaRPr>
          </a:p>
          <a:p>
            <a:pPr lvl="0"/>
            <a:r>
              <a:rPr lang="en-US" sz="2400" dirty="0">
                <a:latin typeface="Georgia" panose="02040502050405020303" pitchFamily="18" charset="0"/>
                <a:cs typeface="Arial" panose="020B0604020202020204" pitchFamily="34" charset="0"/>
              </a:rPr>
              <a:t>When you research and take notes use quotation marks or your own words </a:t>
            </a:r>
            <a:endParaRPr lang="en-GB" sz="2400" dirty="0">
              <a:latin typeface="Georgia" panose="02040502050405020303" pitchFamily="18" charset="0"/>
              <a:cs typeface="Arial" panose="020B0604020202020204" pitchFamily="34" charset="0"/>
            </a:endParaRPr>
          </a:p>
          <a:p>
            <a:pPr marL="742950" lvl="1"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Always write the full source details, including page number next to the notes </a:t>
            </a:r>
            <a:endParaRPr lang="en-GB" sz="1600" dirty="0">
              <a:latin typeface="Arial" panose="020B0604020202020204" pitchFamily="34" charset="0"/>
              <a:cs typeface="Arial" panose="020B0604020202020204" pitchFamily="34" charset="0"/>
            </a:endParaRPr>
          </a:p>
          <a:p>
            <a:r>
              <a:rPr lang="en-US" sz="1600" dirty="0">
                <a:latin typeface="Arial" panose="020B0604020202020204" pitchFamily="34" charset="0"/>
                <a:cs typeface="Arial" panose="020B0604020202020204" pitchFamily="34" charset="0"/>
              </a:rPr>
              <a:t> </a:t>
            </a:r>
            <a:endParaRPr lang="en-GB" sz="1600" dirty="0">
              <a:latin typeface="Arial" panose="020B0604020202020204" pitchFamily="34" charset="0"/>
              <a:cs typeface="Arial" panose="020B0604020202020204" pitchFamily="34" charset="0"/>
            </a:endParaRPr>
          </a:p>
          <a:p>
            <a:pPr lvl="1"/>
            <a:br>
              <a:rPr lang="en-GB" sz="1600" dirty="0">
                <a:latin typeface="Arial" panose="020B0604020202020204" pitchFamily="34" charset="0"/>
                <a:cs typeface="Arial" panose="020B0604020202020204" pitchFamily="34" charset="0"/>
              </a:rPr>
            </a:br>
            <a:endParaRPr lang="en-GB" sz="1600" dirty="0">
              <a:latin typeface="Arial" panose="020B0604020202020204" pitchFamily="34" charset="0"/>
              <a:cs typeface="Arial" panose="020B0604020202020204" pitchFamily="34" charset="0"/>
            </a:endParaRPr>
          </a:p>
        </p:txBody>
      </p:sp>
      <p:grpSp>
        <p:nvGrpSpPr>
          <p:cNvPr id="13" name="Group 12">
            <a:extLst>
              <a:ext uri="{FF2B5EF4-FFF2-40B4-BE49-F238E27FC236}">
                <a16:creationId xmlns:a16="http://schemas.microsoft.com/office/drawing/2014/main" id="{08F024FC-56A5-F59E-906C-3BBBCA7D0185}"/>
              </a:ext>
            </a:extLst>
          </p:cNvPr>
          <p:cNvGrpSpPr/>
          <p:nvPr/>
        </p:nvGrpSpPr>
        <p:grpSpPr>
          <a:xfrm>
            <a:off x="5694837" y="2782994"/>
            <a:ext cx="4077646" cy="1751084"/>
            <a:chOff x="6753616" y="2751430"/>
            <a:chExt cx="4077646" cy="1751084"/>
          </a:xfrm>
        </p:grpSpPr>
        <p:sp>
          <p:nvSpPr>
            <p:cNvPr id="9" name="Rectangle 8">
              <a:extLst>
                <a:ext uri="{FF2B5EF4-FFF2-40B4-BE49-F238E27FC236}">
                  <a16:creationId xmlns:a16="http://schemas.microsoft.com/office/drawing/2014/main" id="{0D2C7871-457A-E4C3-F4D9-D002CEC5E5E3}"/>
                </a:ext>
              </a:extLst>
            </p:cNvPr>
            <p:cNvSpPr/>
            <p:nvPr/>
          </p:nvSpPr>
          <p:spPr>
            <a:xfrm>
              <a:off x="6753616" y="2751430"/>
              <a:ext cx="4072026" cy="1685539"/>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EBAD060F-DFD6-2182-C4BA-7B55436AAFF8}"/>
                </a:ext>
              </a:extLst>
            </p:cNvPr>
            <p:cNvSpPr txBox="1"/>
            <p:nvPr/>
          </p:nvSpPr>
          <p:spPr>
            <a:xfrm>
              <a:off x="6871262" y="2903257"/>
              <a:ext cx="3960000" cy="646331"/>
            </a:xfrm>
            <a:prstGeom prst="rect">
              <a:avLst/>
            </a:prstGeom>
            <a:noFill/>
          </p:spPr>
          <p:txBody>
            <a:bodyPr wrap="square">
              <a:spAutoFit/>
            </a:bodyPr>
            <a:lstStyle/>
            <a:p>
              <a:r>
                <a:rPr lang="en-GB" dirty="0">
                  <a:solidFill>
                    <a:srgbClr val="3AABF0"/>
                  </a:solidFill>
                  <a:latin typeface="Arial" panose="020B0604020202020204" pitchFamily="34" charset="0"/>
                  <a:cs typeface="Arial" panose="020B0604020202020204" pitchFamily="34" charset="0"/>
                  <a:hlinkClick r:id="rId3"/>
                </a:rPr>
                <a:t>What is plagiarism? How to avoid it </a:t>
              </a:r>
              <a:endParaRPr lang="en-GB" b="0" i="0" dirty="0">
                <a:solidFill>
                  <a:srgbClr val="3AABF0"/>
                </a:solidFill>
                <a:effectLst/>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65B716D0-8109-7418-2279-193FC68C515A}"/>
                </a:ext>
              </a:extLst>
            </p:cNvPr>
            <p:cNvSpPr txBox="1"/>
            <p:nvPr/>
          </p:nvSpPr>
          <p:spPr>
            <a:xfrm>
              <a:off x="6871262" y="3379720"/>
              <a:ext cx="3960000" cy="646331"/>
            </a:xfrm>
            <a:prstGeom prst="rect">
              <a:avLst/>
            </a:prstGeom>
            <a:noFill/>
          </p:spPr>
          <p:txBody>
            <a:bodyPr wrap="square">
              <a:spAutoFit/>
            </a:bodyPr>
            <a:lstStyle/>
            <a:p>
              <a:r>
                <a:rPr lang="en-GB" dirty="0">
                  <a:latin typeface="Arial" panose="020B0604020202020204" pitchFamily="34" charset="0"/>
                  <a:cs typeface="Arial" panose="020B0604020202020204" pitchFamily="34" charset="0"/>
                  <a:hlinkClick r:id="rId4"/>
                </a:rPr>
                <a:t>7 ways to avoid academic plagiarism</a:t>
              </a:r>
              <a:endParaRPr lang="en-GB" dirty="0">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C5F362B8-80C8-2EB0-440A-103A428D4286}"/>
                </a:ext>
              </a:extLst>
            </p:cNvPr>
            <p:cNvSpPr txBox="1"/>
            <p:nvPr/>
          </p:nvSpPr>
          <p:spPr>
            <a:xfrm>
              <a:off x="6871262" y="3856183"/>
              <a:ext cx="3960000" cy="646331"/>
            </a:xfrm>
            <a:prstGeom prst="rect">
              <a:avLst/>
            </a:prstGeom>
            <a:noFill/>
          </p:spPr>
          <p:txBody>
            <a:bodyPr wrap="square">
              <a:spAutoFit/>
            </a:bodyPr>
            <a:lstStyle/>
            <a:p>
              <a:r>
                <a:rPr lang="en-GB" dirty="0">
                  <a:latin typeface="Arial" panose="020B0604020202020204" pitchFamily="34" charset="0"/>
                  <a:cs typeface="Arial" panose="020B0604020202020204" pitchFamily="34" charset="0"/>
                  <a:hlinkClick r:id="rId5"/>
                </a:rPr>
                <a:t>APA guide to avoiding plagiarism</a:t>
              </a:r>
              <a:endParaRPr lang="en-GB" dirty="0">
                <a:latin typeface="Arial" panose="020B0604020202020204" pitchFamily="34" charset="0"/>
                <a:cs typeface="Arial" panose="020B0604020202020204" pitchFamily="34" charset="0"/>
              </a:endParaRPr>
            </a:p>
            <a:p>
              <a:endParaRPr lang="en-GB" dirty="0">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909374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5207EE-CDBE-A7D5-BB1D-46A3454B55A2}"/>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5E9E0267-97B0-5541-E0CC-57CCA319CDED}"/>
              </a:ext>
            </a:extLst>
          </p:cNvPr>
          <p:cNvSpPr>
            <a:spLocks noGrp="1"/>
          </p:cNvSpPr>
          <p:nvPr>
            <p:ph type="title"/>
          </p:nvPr>
        </p:nvSpPr>
        <p:spPr>
          <a:xfrm>
            <a:off x="338852" y="521727"/>
            <a:ext cx="11362698" cy="1205441"/>
          </a:xfrm>
        </p:spPr>
        <p:txBody>
          <a:bodyPr>
            <a:noAutofit/>
          </a:bodyPr>
          <a:lstStyle/>
          <a:p>
            <a:pPr lvl="1"/>
            <a:r>
              <a:rPr lang="en-GB" sz="4600" kern="1200" dirty="0">
                <a:solidFill>
                  <a:schemeClr val="accent5"/>
                </a:solidFill>
                <a:latin typeface="Georgia" panose="02040502050405020303" pitchFamily="18" charset="0"/>
              </a:rPr>
              <a:t>Studies involving people:</a:t>
            </a:r>
            <a:br>
              <a:rPr lang="en-GB" sz="4600" kern="1200" dirty="0">
                <a:solidFill>
                  <a:schemeClr val="accent5"/>
                </a:solidFill>
                <a:latin typeface="Georgia" panose="02040502050405020303" pitchFamily="18" charset="0"/>
              </a:rPr>
            </a:br>
            <a:endParaRPr lang="en-GB" sz="4600" dirty="0">
              <a:solidFill>
                <a:schemeClr val="accent5"/>
              </a:solidFill>
              <a:latin typeface="Georgia" panose="02040502050405020303" pitchFamily="18" charset="0"/>
              <a:cs typeface="Arial" panose="020B0604020202020204" pitchFamily="34" charset="0"/>
            </a:endParaRPr>
          </a:p>
        </p:txBody>
      </p:sp>
      <p:sp>
        <p:nvSpPr>
          <p:cNvPr id="2" name="Title 1">
            <a:extLst>
              <a:ext uri="{FF2B5EF4-FFF2-40B4-BE49-F238E27FC236}">
                <a16:creationId xmlns:a16="http://schemas.microsoft.com/office/drawing/2014/main" id="{2A08EF59-6A24-1BDC-BC87-CC12FB6E2FB6}"/>
              </a:ext>
            </a:extLst>
          </p:cNvPr>
          <p:cNvSpPr txBox="1">
            <a:spLocks/>
          </p:cNvSpPr>
          <p:nvPr/>
        </p:nvSpPr>
        <p:spPr>
          <a:xfrm>
            <a:off x="0" y="1496876"/>
            <a:ext cx="5608242" cy="3905303"/>
          </a:xfrm>
          <a:prstGeom prst="rect">
            <a:avLst/>
          </a:prstGeom>
          <a:noFill/>
        </p:spPr>
        <p:txBody>
          <a:bodyPr vert="horz" lIns="0" tIns="0" rIns="0" bIns="0" rtlCol="0" anchor="t" anchorCtr="0">
            <a:noAutofit/>
          </a:bodyPr>
          <a:lstStyle>
            <a:lvl1pPr algn="l" defTabSz="914377" rtl="0" eaLnBrk="1" latinLnBrk="0" hangingPunct="1">
              <a:lnSpc>
                <a:spcPct val="100000"/>
              </a:lnSpc>
              <a:spcBef>
                <a:spcPct val="0"/>
              </a:spcBef>
              <a:buNone/>
              <a:defRPr sz="3200" kern="1200">
                <a:solidFill>
                  <a:schemeClr val="tx1"/>
                </a:solidFill>
                <a:latin typeface="+mj-lt"/>
                <a:ea typeface="+mj-ea"/>
                <a:cs typeface="+mj-cs"/>
              </a:defRPr>
            </a:lvl1pPr>
          </a:lstStyle>
          <a:p>
            <a:pPr marL="742950" lvl="1" indent="-285750">
              <a:buFont typeface="Arial" panose="020B0604020202020204" pitchFamily="34" charset="0"/>
              <a:buChar char="•"/>
            </a:pPr>
            <a:r>
              <a:rPr lang="en-GB" sz="1600" dirty="0">
                <a:latin typeface="Arial" panose="020B0604020202020204" pitchFamily="34" charset="0"/>
                <a:cs typeface="Arial" panose="020B0604020202020204" pitchFamily="34" charset="0"/>
              </a:rPr>
              <a:t>Including but not limited to:</a:t>
            </a:r>
          </a:p>
          <a:p>
            <a:pPr lvl="1"/>
            <a:endParaRPr lang="en-GB" sz="1600" dirty="0">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endParaRPr lang="en-GB" sz="1600" dirty="0">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endParaRPr lang="en-GB" sz="1600" dirty="0">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endParaRPr lang="en-GB" sz="1600" dirty="0">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r>
              <a:rPr lang="en-GB" sz="1600" dirty="0">
                <a:latin typeface="Arial" panose="020B0604020202020204" pitchFamily="34" charset="0"/>
                <a:cs typeface="Arial" panose="020B0604020202020204" pitchFamily="34" charset="0"/>
              </a:rPr>
              <a:t>Need approval from or to have been exempted from needing approval, by institutional review board </a:t>
            </a:r>
            <a:r>
              <a:rPr lang="en-GB" sz="1600" b="1" dirty="0">
                <a:latin typeface="Arial" panose="020B0604020202020204" pitchFamily="34" charset="0"/>
                <a:cs typeface="Arial" panose="020B0604020202020204" pitchFamily="34" charset="0"/>
              </a:rPr>
              <a:t>before </a:t>
            </a:r>
            <a:r>
              <a:rPr lang="en-GB" sz="1600" dirty="0">
                <a:latin typeface="Arial" panose="020B0604020202020204" pitchFamily="34" charset="0"/>
                <a:cs typeface="Arial" panose="020B0604020202020204" pitchFamily="34" charset="0"/>
              </a:rPr>
              <a:t>research is carried out </a:t>
            </a:r>
          </a:p>
          <a:p>
            <a:pPr lvl="1"/>
            <a:endParaRPr lang="en-GB" sz="1600" dirty="0">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r>
              <a:rPr lang="en-GB" sz="1600" dirty="0">
                <a:latin typeface="Arial" panose="020B0604020202020204" pitchFamily="34" charset="0"/>
                <a:cs typeface="Arial" panose="020B0604020202020204" pitchFamily="34" charset="0"/>
              </a:rPr>
              <a:t>Participants need to have been informed the purpose of the research, their rights, and to have consented to participate </a:t>
            </a:r>
          </a:p>
          <a:p>
            <a:pPr lvl="1"/>
            <a:endParaRPr lang="en-GB" sz="1600" dirty="0">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r>
              <a:rPr lang="en-GB" sz="1600" dirty="0">
                <a:latin typeface="Arial" panose="020B0604020202020204" pitchFamily="34" charset="0"/>
                <a:cs typeface="Arial" panose="020B0604020202020204" pitchFamily="34" charset="0"/>
              </a:rPr>
              <a:t>Always check with your institution, and national and international guidelines </a:t>
            </a:r>
            <a:r>
              <a:rPr lang="en-GB" sz="1600" b="1" dirty="0">
                <a:latin typeface="Arial" panose="020B0604020202020204" pitchFamily="34" charset="0"/>
                <a:cs typeface="Arial" panose="020B0604020202020204" pitchFamily="34" charset="0"/>
              </a:rPr>
              <a:t>before</a:t>
            </a:r>
            <a:r>
              <a:rPr lang="en-GB" sz="1600" dirty="0">
                <a:latin typeface="Arial" panose="020B0604020202020204" pitchFamily="34" charset="0"/>
                <a:cs typeface="Arial" panose="020B0604020202020204" pitchFamily="34" charset="0"/>
              </a:rPr>
              <a:t> beginning any study involving people (or animals) </a:t>
            </a:r>
          </a:p>
          <a:p>
            <a:pPr marL="742950" lvl="1" indent="-285750">
              <a:buFont typeface="Arial" panose="020B0604020202020204" pitchFamily="34" charset="0"/>
              <a:buChar char="•"/>
            </a:pPr>
            <a:endParaRPr lang="en-GB" sz="1600" dirty="0">
              <a:latin typeface="Arial" panose="020B0604020202020204" pitchFamily="34" charset="0"/>
              <a:cs typeface="Arial" panose="020B0604020202020204" pitchFamily="34" charset="0"/>
            </a:endParaRPr>
          </a:p>
        </p:txBody>
      </p:sp>
      <p:sp>
        <p:nvSpPr>
          <p:cNvPr id="3" name="Content Placeholder 2">
            <a:extLst>
              <a:ext uri="{FF2B5EF4-FFF2-40B4-BE49-F238E27FC236}">
                <a16:creationId xmlns:a16="http://schemas.microsoft.com/office/drawing/2014/main" id="{BB335B38-6517-EDEB-84FE-8E24D8AE6C52}"/>
              </a:ext>
            </a:extLst>
          </p:cNvPr>
          <p:cNvSpPr txBox="1">
            <a:spLocks/>
          </p:cNvSpPr>
          <p:nvPr/>
        </p:nvSpPr>
        <p:spPr>
          <a:xfrm>
            <a:off x="338852" y="2066626"/>
            <a:ext cx="11198629" cy="3751244"/>
          </a:xfrm>
          <a:prstGeom prst="rect">
            <a:avLst/>
          </a:prstGeom>
        </p:spPr>
        <p:txBody>
          <a:bodyPr>
            <a:normAutofit/>
          </a:bodyPr>
          <a:lstStyle>
            <a:lvl1pPr marL="383990" indent="-383990" algn="l" defTabSz="914377" rtl="0" eaLnBrk="1" latinLnBrk="0" hangingPunct="1">
              <a:lnSpc>
                <a:spcPct val="100000"/>
              </a:lnSpc>
              <a:spcBef>
                <a:spcPts val="0"/>
              </a:spcBef>
              <a:spcAft>
                <a:spcPts val="800"/>
              </a:spcAft>
              <a:buClr>
                <a:srgbClr val="FF6C00"/>
              </a:buClr>
              <a:buFont typeface="Arial" panose="020B0604020202020204" pitchFamily="34" charset="0"/>
              <a:buChar char="•"/>
              <a:tabLst>
                <a:tab pos="355591" algn="l"/>
              </a:tabLst>
              <a:defRPr lang="nl-NL" sz="2400" kern="1200" dirty="0" smtClean="0">
                <a:solidFill>
                  <a:schemeClr val="tx1"/>
                </a:solidFill>
                <a:latin typeface="+mn-lt"/>
                <a:ea typeface="+mn-ea"/>
                <a:cs typeface="+mn-cs"/>
              </a:defRPr>
            </a:lvl1pPr>
            <a:lvl2pPr marL="623984" indent="-239994" algn="l" defTabSz="914377" rtl="0" eaLnBrk="1" latinLnBrk="0" hangingPunct="1">
              <a:lnSpc>
                <a:spcPct val="100000"/>
              </a:lnSpc>
              <a:spcBef>
                <a:spcPts val="500"/>
              </a:spcBef>
              <a:spcAft>
                <a:spcPts val="800"/>
              </a:spcAft>
              <a:buClr>
                <a:srgbClr val="FF6C00"/>
              </a:buClr>
              <a:buFont typeface="Arial" panose="020B0604020202020204" pitchFamily="34" charset="0"/>
              <a:buChar char="−"/>
              <a:defRPr lang="nl-NL" sz="2133" kern="1200" dirty="0" smtClean="0">
                <a:solidFill>
                  <a:schemeClr val="tx1"/>
                </a:solidFill>
                <a:latin typeface="+mn-lt"/>
                <a:ea typeface="+mn-ea"/>
                <a:cs typeface="+mn-cs"/>
              </a:defRPr>
            </a:lvl2pPr>
            <a:lvl3pPr marL="863978" indent="-239994" algn="l" defTabSz="914377" rtl="0" eaLnBrk="1" latinLnBrk="0" hangingPunct="1">
              <a:lnSpc>
                <a:spcPct val="100000"/>
              </a:lnSpc>
              <a:spcBef>
                <a:spcPts val="500"/>
              </a:spcBef>
              <a:spcAft>
                <a:spcPts val="800"/>
              </a:spcAft>
              <a:buClr>
                <a:srgbClr val="FF6C00"/>
              </a:buClr>
              <a:buFont typeface="Courier New" panose="02070309020205020404" pitchFamily="49" charset="0"/>
              <a:buChar char="o"/>
              <a:defRPr lang="nl-NL" sz="2133" kern="1200" dirty="0" smtClean="0">
                <a:solidFill>
                  <a:schemeClr val="tx1"/>
                </a:solidFill>
                <a:latin typeface="+mn-lt"/>
                <a:ea typeface="+mn-ea"/>
                <a:cs typeface="+mn-cs"/>
              </a:defRPr>
            </a:lvl3pPr>
            <a:lvl4pPr marL="1103972" indent="-239994" algn="l" defTabSz="914377" rtl="0" eaLnBrk="1" latinLnBrk="0" hangingPunct="1">
              <a:lnSpc>
                <a:spcPct val="100000"/>
              </a:lnSpc>
              <a:spcBef>
                <a:spcPts val="500"/>
              </a:spcBef>
              <a:spcAft>
                <a:spcPts val="800"/>
              </a:spcAft>
              <a:buClr>
                <a:srgbClr val="FF6C00"/>
              </a:buClr>
              <a:buFont typeface="Courier New" panose="02070309020205020404" pitchFamily="49" charset="0"/>
              <a:buChar char="o"/>
              <a:defRPr lang="nl-NL" sz="2133" kern="1200" dirty="0" smtClean="0">
                <a:solidFill>
                  <a:schemeClr val="tx1"/>
                </a:solidFill>
                <a:latin typeface="+mn-lt"/>
                <a:ea typeface="+mn-ea"/>
                <a:cs typeface="+mn-cs"/>
              </a:defRPr>
            </a:lvl4pPr>
            <a:lvl5pPr marL="1343966" indent="-239994" algn="l" defTabSz="914377" rtl="0" eaLnBrk="1" latinLnBrk="0" hangingPunct="1">
              <a:lnSpc>
                <a:spcPct val="100000"/>
              </a:lnSpc>
              <a:spcBef>
                <a:spcPts val="500"/>
              </a:spcBef>
              <a:spcAft>
                <a:spcPts val="800"/>
              </a:spcAft>
              <a:buClr>
                <a:srgbClr val="FF6C00"/>
              </a:buClr>
              <a:buFont typeface="Courier New" panose="02070309020205020404" pitchFamily="49" charset="0"/>
              <a:buChar char="o"/>
              <a:defRPr lang="de-DE" sz="2133" kern="1200" dirty="0">
                <a:solidFill>
                  <a:schemeClr val="tx1"/>
                </a:solidFill>
                <a:latin typeface="+mn-lt"/>
                <a:ea typeface="+mn-ea"/>
                <a:cs typeface="+mn-cs"/>
              </a:defRPr>
            </a:lvl5pPr>
            <a:lvl6pPr marL="2412940" indent="-260344" algn="l" defTabSz="914377" rtl="0" eaLnBrk="1" latinLnBrk="0" hangingPunct="1">
              <a:lnSpc>
                <a:spcPct val="90000"/>
              </a:lnSpc>
              <a:spcBef>
                <a:spcPts val="500"/>
              </a:spcBef>
              <a:buClr>
                <a:srgbClr val="FF6C00"/>
              </a:buClr>
              <a:buFont typeface="Courier New" panose="02070309020205020404" pitchFamily="49" charset="0"/>
              <a:buChar char="o"/>
              <a:defRPr sz="1800" kern="1200">
                <a:solidFill>
                  <a:schemeClr val="tx1"/>
                </a:solidFill>
                <a:latin typeface="+mn-lt"/>
                <a:ea typeface="+mn-ea"/>
                <a:cs typeface="+mn-cs"/>
              </a:defRPr>
            </a:lvl6pPr>
            <a:lvl7pPr marL="2749482" indent="-234945" algn="l" defTabSz="914377" rtl="0" eaLnBrk="1" latinLnBrk="0" hangingPunct="1">
              <a:lnSpc>
                <a:spcPct val="90000"/>
              </a:lnSpc>
              <a:spcBef>
                <a:spcPts val="500"/>
              </a:spcBef>
              <a:buClr>
                <a:srgbClr val="FF6C00"/>
              </a:buClr>
              <a:buFont typeface="Courier New" panose="02070309020205020404" pitchFamily="49" charset="0"/>
              <a:buChar char="o"/>
              <a:defRPr sz="1800" kern="1200">
                <a:solidFill>
                  <a:schemeClr val="tx1"/>
                </a:solidFill>
                <a:latin typeface="+mn-lt"/>
                <a:ea typeface="+mn-ea"/>
                <a:cs typeface="+mn-cs"/>
              </a:defRPr>
            </a:lvl7pPr>
            <a:lvl8pPr marL="3111422" indent="-243411" algn="l" defTabSz="914377" rtl="0" eaLnBrk="1" latinLnBrk="0" hangingPunct="1">
              <a:lnSpc>
                <a:spcPct val="90000"/>
              </a:lnSpc>
              <a:spcBef>
                <a:spcPts val="500"/>
              </a:spcBef>
              <a:buClr>
                <a:srgbClr val="FF6C00"/>
              </a:buClr>
              <a:buFont typeface="Courier New" panose="02070309020205020404" pitchFamily="49" charset="0"/>
              <a:buChar char="o"/>
              <a:defRPr sz="1800" kern="1200">
                <a:solidFill>
                  <a:schemeClr val="tx1"/>
                </a:solidFill>
                <a:latin typeface="+mn-lt"/>
                <a:ea typeface="+mn-ea"/>
                <a:cs typeface="+mn-cs"/>
              </a:defRPr>
            </a:lvl8pPr>
            <a:lvl9pPr marL="3464897" indent="-237061" algn="l" defTabSz="914377" rtl="0" eaLnBrk="1" latinLnBrk="0" hangingPunct="1">
              <a:lnSpc>
                <a:spcPct val="90000"/>
              </a:lnSpc>
              <a:spcBef>
                <a:spcPts val="500"/>
              </a:spcBef>
              <a:buClr>
                <a:srgbClr val="FF6C00"/>
              </a:buClr>
              <a:buFont typeface="Courier New" panose="02070309020205020404" pitchFamily="49" charset="0"/>
              <a:buChar char="o"/>
              <a:defRPr sz="1800" kern="1200">
                <a:solidFill>
                  <a:schemeClr val="tx1"/>
                </a:solidFill>
                <a:latin typeface="+mn-lt"/>
                <a:ea typeface="+mn-ea"/>
                <a:cs typeface="+mn-cs"/>
              </a:defRPr>
            </a:lvl9pPr>
          </a:lstStyle>
          <a:p>
            <a:pPr lvl="1"/>
            <a:endParaRPr lang="en-GB" altLang="en-US" sz="1600" dirty="0">
              <a:latin typeface="Arial" panose="020B0604020202020204" pitchFamily="34" charset="0"/>
              <a:cs typeface="Arial" panose="020B0604020202020204" pitchFamily="34" charset="0"/>
            </a:endParaRPr>
          </a:p>
          <a:p>
            <a:endParaRPr lang="en-GB" altLang="en-US" sz="1600" u="sng" dirty="0">
              <a:latin typeface="Arial" panose="020B0604020202020204" pitchFamily="34" charset="0"/>
              <a:cs typeface="Arial" panose="020B0604020202020204" pitchFamily="34" charset="0"/>
            </a:endParaRPr>
          </a:p>
          <a:p>
            <a:endParaRPr lang="en-GB" sz="1600" dirty="0">
              <a:latin typeface="Arial" panose="020B0604020202020204" pitchFamily="34" charset="0"/>
              <a:cs typeface="Arial" panose="020B0604020202020204" pitchFamily="34" charset="0"/>
            </a:endParaRPr>
          </a:p>
        </p:txBody>
      </p:sp>
      <p:pic>
        <p:nvPicPr>
          <p:cNvPr id="5" name="Picture 4" descr="A screenshot of a computer&#10;&#10;AI-generated content may be incorrect.">
            <a:extLst>
              <a:ext uri="{FF2B5EF4-FFF2-40B4-BE49-F238E27FC236}">
                <a16:creationId xmlns:a16="http://schemas.microsoft.com/office/drawing/2014/main" id="{D7D98650-EF80-DFF9-1B24-77144CBA6070}"/>
              </a:ext>
            </a:extLst>
          </p:cNvPr>
          <p:cNvPicPr>
            <a:picLocks noChangeAspect="1"/>
          </p:cNvPicPr>
          <p:nvPr/>
        </p:nvPicPr>
        <p:blipFill>
          <a:blip r:embed="rId3">
            <a:extLst>
              <a:ext uri="{28A0092B-C50C-407E-A947-70E740481C1C}">
                <a14:useLocalDpi xmlns:a14="http://schemas.microsoft.com/office/drawing/2010/main" val="0"/>
              </a:ext>
            </a:extLst>
          </a:blip>
          <a:srcRect l="36229" t="22206"/>
          <a:stretch>
            <a:fillRect/>
          </a:stretch>
        </p:blipFill>
        <p:spPr>
          <a:xfrm>
            <a:off x="6093308" y="2623949"/>
            <a:ext cx="5608242" cy="3874327"/>
          </a:xfrm>
          <a:prstGeom prst="rect">
            <a:avLst/>
          </a:prstGeom>
        </p:spPr>
      </p:pic>
      <p:pic>
        <p:nvPicPr>
          <p:cNvPr id="8" name="Picture Placeholder 4" descr="cover_photo.jpeg">
            <a:extLst>
              <a:ext uri="{FF2B5EF4-FFF2-40B4-BE49-F238E27FC236}">
                <a16:creationId xmlns:a16="http://schemas.microsoft.com/office/drawing/2014/main" id="{3C1ED601-3BE1-EF72-5C9A-F6FE37EF1A3F}"/>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40000" contrast="40000"/>
                    </a14:imgEffect>
                  </a14:imgLayer>
                </a14:imgProps>
              </a:ext>
            </a:extLst>
          </a:blip>
          <a:srcRect t="74" b="74"/>
          <a:stretch>
            <a:fillRect/>
          </a:stretch>
        </p:blipFill>
        <p:spPr>
          <a:xfrm>
            <a:off x="9669740" y="349628"/>
            <a:ext cx="1723419" cy="2294495"/>
          </a:xfrm>
          <a:prstGeom prst="rect">
            <a:avLst/>
          </a:prstGeom>
        </p:spPr>
      </p:pic>
      <p:sp>
        <p:nvSpPr>
          <p:cNvPr id="10" name="TextBox 9">
            <a:extLst>
              <a:ext uri="{FF2B5EF4-FFF2-40B4-BE49-F238E27FC236}">
                <a16:creationId xmlns:a16="http://schemas.microsoft.com/office/drawing/2014/main" id="{E8C7AC94-5C13-A3BF-2468-553C668F84E8}"/>
              </a:ext>
            </a:extLst>
          </p:cNvPr>
          <p:cNvSpPr txBox="1"/>
          <p:nvPr/>
        </p:nvSpPr>
        <p:spPr>
          <a:xfrm>
            <a:off x="5305926" y="6498277"/>
            <a:ext cx="6701590" cy="261610"/>
          </a:xfrm>
          <a:prstGeom prst="rect">
            <a:avLst/>
          </a:prstGeom>
          <a:noFill/>
        </p:spPr>
        <p:txBody>
          <a:bodyPr wrap="square">
            <a:spAutoFit/>
          </a:bodyPr>
          <a:lstStyle/>
          <a:p>
            <a:pPr algn="r"/>
            <a:r>
              <a:rPr lang="en-GB" sz="1100" dirty="0">
                <a:latin typeface="Arial" panose="020B0604020202020204" pitchFamily="34" charset="0"/>
                <a:cs typeface="Arial" panose="020B0604020202020204" pitchFamily="34" charset="0"/>
              </a:rPr>
              <a:t>https://www.sciencedirect.com/journal/social-sciences-and-humanities-open/publish/guide-for-authors</a:t>
            </a:r>
          </a:p>
        </p:txBody>
      </p:sp>
      <p:sp>
        <p:nvSpPr>
          <p:cNvPr id="6" name="TextBox 5">
            <a:extLst>
              <a:ext uri="{FF2B5EF4-FFF2-40B4-BE49-F238E27FC236}">
                <a16:creationId xmlns:a16="http://schemas.microsoft.com/office/drawing/2014/main" id="{35C9B079-28CD-FAF1-3899-8827D695C777}"/>
              </a:ext>
            </a:extLst>
          </p:cNvPr>
          <p:cNvSpPr txBox="1"/>
          <p:nvPr/>
        </p:nvSpPr>
        <p:spPr>
          <a:xfrm>
            <a:off x="345191" y="1806226"/>
            <a:ext cx="5117792" cy="738664"/>
          </a:xfrm>
          <a:prstGeom prst="rect">
            <a:avLst/>
          </a:prstGeom>
          <a:noFill/>
        </p:spPr>
        <p:txBody>
          <a:bodyPr wrap="square" numCol="2">
            <a:spAutoFit/>
          </a:bodyPr>
          <a:lstStyle/>
          <a:p>
            <a:pPr marL="1200150" lvl="2" indent="-285750">
              <a:buFont typeface="Arial" panose="020B0604020202020204" pitchFamily="34" charset="0"/>
              <a:buChar char="•"/>
            </a:pPr>
            <a:r>
              <a:rPr lang="en-GB" sz="1400" dirty="0">
                <a:latin typeface="Arial" panose="020B0604020202020204" pitchFamily="34" charset="0"/>
                <a:cs typeface="Arial" panose="020B0604020202020204" pitchFamily="34" charset="0"/>
              </a:rPr>
              <a:t>Ethnographic studies</a:t>
            </a:r>
          </a:p>
          <a:p>
            <a:pPr marL="1200150" lvl="2" indent="-285750">
              <a:buFont typeface="Arial" panose="020B0604020202020204" pitchFamily="34" charset="0"/>
              <a:buChar char="•"/>
            </a:pPr>
            <a:r>
              <a:rPr lang="en-GB" sz="1400" dirty="0">
                <a:latin typeface="Arial" panose="020B0604020202020204" pitchFamily="34" charset="0"/>
                <a:cs typeface="Arial" panose="020B0604020202020204" pitchFamily="34" charset="0"/>
              </a:rPr>
              <a:t>Interviews</a:t>
            </a:r>
          </a:p>
          <a:p>
            <a:pPr marL="1200150" lvl="2" indent="-285750">
              <a:buFont typeface="Arial" panose="020B0604020202020204" pitchFamily="34" charset="0"/>
              <a:buChar char="•"/>
            </a:pPr>
            <a:r>
              <a:rPr lang="en-GB" sz="1400" dirty="0">
                <a:latin typeface="Arial" panose="020B0604020202020204" pitchFamily="34" charset="0"/>
                <a:cs typeface="Arial" panose="020B0604020202020204" pitchFamily="34" charset="0"/>
              </a:rPr>
              <a:t>Observations</a:t>
            </a:r>
          </a:p>
          <a:p>
            <a:pPr marL="1200150" lvl="2" indent="-285750">
              <a:buFont typeface="Arial" panose="020B0604020202020204" pitchFamily="34" charset="0"/>
              <a:buChar char="•"/>
            </a:pPr>
            <a:r>
              <a:rPr lang="en-GB" sz="1400" dirty="0">
                <a:latin typeface="Arial" panose="020B0604020202020204" pitchFamily="34" charset="0"/>
                <a:cs typeface="Arial" panose="020B0604020202020204" pitchFamily="34" charset="0"/>
              </a:rPr>
              <a:t>Questionaries</a:t>
            </a:r>
          </a:p>
        </p:txBody>
      </p:sp>
    </p:spTree>
    <p:extLst>
      <p:ext uri="{BB962C8B-B14F-4D97-AF65-F5344CB8AC3E}">
        <p14:creationId xmlns:p14="http://schemas.microsoft.com/office/powerpoint/2010/main" val="276207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1000"/>
                                        <p:tgtEl>
                                          <p:spTgt spid="5"/>
                                        </p:tgtEl>
                                      </p:cBhvr>
                                    </p:animEffect>
                                    <p:anim calcmode="lin" valueType="num">
                                      <p:cBhvr>
                                        <p:cTn id="13" dur="1000" fill="hold"/>
                                        <p:tgtEl>
                                          <p:spTgt spid="5"/>
                                        </p:tgtEl>
                                        <p:attrNameLst>
                                          <p:attrName>ppt_x</p:attrName>
                                        </p:attrNameLst>
                                      </p:cBhvr>
                                      <p:tavLst>
                                        <p:tav tm="0">
                                          <p:val>
                                            <p:strVal val="#ppt_x"/>
                                          </p:val>
                                        </p:tav>
                                        <p:tav tm="100000">
                                          <p:val>
                                            <p:strVal val="#ppt_x"/>
                                          </p:val>
                                        </p:tav>
                                      </p:tavLst>
                                    </p:anim>
                                    <p:anim calcmode="lin" valueType="num">
                                      <p:cBhvr>
                                        <p:cTn id="14"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1">
            <a:extLst>
              <a:ext uri="{FF2B5EF4-FFF2-40B4-BE49-F238E27FC236}">
                <a16:creationId xmlns:a16="http://schemas.microsoft.com/office/drawing/2014/main" id="{8827BDF4-51F2-6D71-FB9E-9057F2363295}"/>
              </a:ext>
            </a:extLst>
          </p:cNvPr>
          <p:cNvSpPr txBox="1">
            <a:spLocks/>
          </p:cNvSpPr>
          <p:nvPr/>
        </p:nvSpPr>
        <p:spPr>
          <a:xfrm>
            <a:off x="511628" y="1980272"/>
            <a:ext cx="4001943" cy="374304"/>
          </a:xfrm>
          <a:prstGeom prst="rect">
            <a:avLst/>
          </a:prstGeom>
        </p:spPr>
        <p:txBody>
          <a:bodyPr vert="horz" lIns="0" tIns="0" rIns="0" bIns="0" rtlCol="0" anchor="t" anchorCtr="0">
            <a:noAutofit/>
          </a:bodyPr>
          <a:lstStyle>
            <a:lvl1pPr algn="l" defTabSz="685800" rtl="0" eaLnBrk="1" latinLnBrk="0" hangingPunct="1">
              <a:lnSpc>
                <a:spcPct val="100000"/>
              </a:lnSpc>
              <a:spcBef>
                <a:spcPct val="0"/>
              </a:spcBef>
              <a:buNone/>
              <a:defRPr sz="2400" kern="1200">
                <a:solidFill>
                  <a:schemeClr val="tx1"/>
                </a:solidFill>
                <a:latin typeface="+mj-lt"/>
                <a:ea typeface="+mj-ea"/>
                <a:cs typeface="+mj-cs"/>
              </a:defRPr>
            </a:lvl1pPr>
          </a:lstStyle>
          <a:p>
            <a:pPr defTabSz="914126">
              <a:defRPr/>
            </a:pPr>
            <a:r>
              <a:rPr lang="en-GB" b="1" dirty="0">
                <a:solidFill>
                  <a:prstClr val="black"/>
                </a:solidFill>
                <a:latin typeface="Georgia" panose="02040502050405020303" pitchFamily="18" charset="0"/>
                <a:ea typeface="Calibri"/>
                <a:cs typeface="Calibri"/>
              </a:rPr>
              <a:t>What is Generative AI?</a:t>
            </a:r>
            <a:endParaRPr lang="en-GB" b="1" dirty="0">
              <a:solidFill>
                <a:prstClr val="black"/>
              </a:solidFill>
              <a:latin typeface="Georgia" panose="02040502050405020303" pitchFamily="18" charset="0"/>
              <a:cs typeface="Calibri" panose="020F0502020204030204" pitchFamily="34" charset="0"/>
            </a:endParaRPr>
          </a:p>
        </p:txBody>
      </p:sp>
      <p:sp>
        <p:nvSpPr>
          <p:cNvPr id="2" name="Text Placeholder 5">
            <a:extLst>
              <a:ext uri="{FF2B5EF4-FFF2-40B4-BE49-F238E27FC236}">
                <a16:creationId xmlns:a16="http://schemas.microsoft.com/office/drawing/2014/main" id="{D2A987B2-5557-8566-F257-ABF6E95D87F2}"/>
              </a:ext>
            </a:extLst>
          </p:cNvPr>
          <p:cNvSpPr txBox="1">
            <a:spLocks/>
          </p:cNvSpPr>
          <p:nvPr/>
        </p:nvSpPr>
        <p:spPr>
          <a:xfrm>
            <a:off x="935163" y="2485998"/>
            <a:ext cx="10129169" cy="1518206"/>
          </a:xfrm>
          <a:prstGeom prst="rect">
            <a:avLst/>
          </a:prstGeom>
        </p:spPr>
        <p:txBody>
          <a:bodyPr lIns="121920" tIns="60960" rIns="121920" bIns="60960" anchor="t">
            <a:noAutofit/>
          </a:bodyPr>
          <a:lstStyle>
            <a:lvl1pPr marL="171404" indent="-171404" algn="l" defTabSz="685612" rtl="0" eaLnBrk="1" latinLnBrk="0" hangingPunct="1">
              <a:lnSpc>
                <a:spcPct val="90000"/>
              </a:lnSpc>
              <a:spcBef>
                <a:spcPts val="750"/>
              </a:spcBef>
              <a:buFont typeface="Arial" panose="020B0604020202020204" pitchFamily="34" charset="0"/>
              <a:buChar char="•"/>
              <a:defRPr sz="2099" kern="1200">
                <a:solidFill>
                  <a:schemeClr val="tx1"/>
                </a:solidFill>
                <a:latin typeface="+mn-lt"/>
                <a:ea typeface="+mn-ea"/>
                <a:cs typeface="+mn-cs"/>
              </a:defRPr>
            </a:lvl1pPr>
            <a:lvl2pPr marL="514208" indent="-171404" algn="l" defTabSz="685612" rtl="0" eaLnBrk="1" latinLnBrk="0" hangingPunct="1">
              <a:lnSpc>
                <a:spcPct val="90000"/>
              </a:lnSpc>
              <a:spcBef>
                <a:spcPts val="375"/>
              </a:spcBef>
              <a:buFont typeface="Arial" panose="020B0604020202020204" pitchFamily="34" charset="0"/>
              <a:buChar char="•"/>
              <a:defRPr sz="1799" kern="1200">
                <a:solidFill>
                  <a:schemeClr val="tx1"/>
                </a:solidFill>
                <a:latin typeface="+mn-lt"/>
                <a:ea typeface="+mn-ea"/>
                <a:cs typeface="+mn-cs"/>
              </a:defRPr>
            </a:lvl2pPr>
            <a:lvl3pPr marL="857014" indent="-171404" algn="l" defTabSz="685612"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199820" indent="-171404" algn="l" defTabSz="68561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626" indent="-171404" algn="l" defTabSz="68561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432" indent="-171404" algn="l" defTabSz="68561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38" indent="-171404" algn="l" defTabSz="68561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043" indent="-171404" algn="l" defTabSz="68561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848" indent="-171404" algn="l" defTabSz="68561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28594" indent="-228594" defTabSz="914126">
              <a:spcBef>
                <a:spcPts val="0"/>
              </a:spcBef>
              <a:spcAft>
                <a:spcPts val="1600"/>
              </a:spcAft>
              <a:defRPr/>
            </a:pPr>
            <a:r>
              <a:rPr lang="en-US" sz="1600" dirty="0">
                <a:solidFill>
                  <a:prstClr val="black"/>
                </a:solidFill>
                <a:latin typeface="Arial" panose="020B0604020202020204" pitchFamily="34" charset="0"/>
                <a:ea typeface="Calibri"/>
                <a:cs typeface="Arial" panose="020B0604020202020204" pitchFamily="34" charset="0"/>
              </a:rPr>
              <a:t>GenAI is an umbrella term for </a:t>
            </a:r>
            <a:r>
              <a:rPr lang="en-US" sz="1600" b="1" dirty="0">
                <a:solidFill>
                  <a:prstClr val="black"/>
                </a:solidFill>
                <a:latin typeface="Arial" panose="020B0604020202020204" pitchFamily="34" charset="0"/>
                <a:ea typeface="Calibri"/>
                <a:cs typeface="Arial" panose="020B0604020202020204" pitchFamily="34" charset="0"/>
              </a:rPr>
              <a:t>learning algorithms </a:t>
            </a:r>
            <a:r>
              <a:rPr lang="en-US" sz="1600" dirty="0">
                <a:solidFill>
                  <a:prstClr val="black"/>
                </a:solidFill>
                <a:latin typeface="Arial" panose="020B0604020202020204" pitchFamily="34" charset="0"/>
                <a:ea typeface="Calibri"/>
                <a:cs typeface="Arial" panose="020B0604020202020204" pitchFamily="34" charset="0"/>
              </a:rPr>
              <a:t>that make predictions and that can produce new content based on a given input (prompt).</a:t>
            </a:r>
          </a:p>
          <a:p>
            <a:pPr marL="571398" lvl="1" indent="-228594" defTabSz="914126">
              <a:spcBef>
                <a:spcPts val="0"/>
              </a:spcBef>
              <a:spcAft>
                <a:spcPts val="1600"/>
              </a:spcAft>
              <a:defRPr/>
            </a:pPr>
            <a:r>
              <a:rPr lang="en-US" sz="1600" dirty="0">
                <a:solidFill>
                  <a:prstClr val="black"/>
                </a:solidFill>
                <a:latin typeface="Arial" panose="020B0604020202020204" pitchFamily="34" charset="0"/>
                <a:ea typeface="Calibri"/>
                <a:cs typeface="Arial" panose="020B0604020202020204" pitchFamily="34" charset="0"/>
              </a:rPr>
              <a:t>Generative AI can use that same data to </a:t>
            </a:r>
            <a:r>
              <a:rPr lang="en-US" sz="1600" b="1" dirty="0">
                <a:solidFill>
                  <a:prstClr val="black"/>
                </a:solidFill>
                <a:latin typeface="Arial" panose="020B0604020202020204" pitchFamily="34" charset="0"/>
                <a:ea typeface="Calibri"/>
                <a:cs typeface="Arial" panose="020B0604020202020204" pitchFamily="34" charset="0"/>
              </a:rPr>
              <a:t>create something new</a:t>
            </a:r>
            <a:r>
              <a:rPr lang="en-US" sz="1600" dirty="0">
                <a:solidFill>
                  <a:prstClr val="black"/>
                </a:solidFill>
                <a:latin typeface="Arial" panose="020B0604020202020204" pitchFamily="34" charset="0"/>
                <a:ea typeface="Calibri"/>
                <a:cs typeface="Arial" panose="020B0604020202020204" pitchFamily="34" charset="0"/>
              </a:rPr>
              <a:t>.</a:t>
            </a:r>
          </a:p>
          <a:p>
            <a:pPr marL="571398" lvl="1" indent="-228594" defTabSz="914126">
              <a:spcBef>
                <a:spcPts val="0"/>
              </a:spcBef>
              <a:spcAft>
                <a:spcPts val="1600"/>
              </a:spcAft>
              <a:defRPr/>
            </a:pPr>
            <a:r>
              <a:rPr lang="en-US" sz="1600" dirty="0">
                <a:solidFill>
                  <a:prstClr val="black"/>
                </a:solidFill>
                <a:latin typeface="Arial" panose="020B0604020202020204" pitchFamily="34" charset="0"/>
                <a:ea typeface="Calibri"/>
                <a:cs typeface="Arial" panose="020B0604020202020204" pitchFamily="34" charset="0"/>
              </a:rPr>
              <a:t>Text and images can be generated, and the result is often indistinguishable from human text</a:t>
            </a:r>
          </a:p>
        </p:txBody>
      </p:sp>
      <p:sp>
        <p:nvSpPr>
          <p:cNvPr id="8" name="Oval 7">
            <a:extLst>
              <a:ext uri="{FF2B5EF4-FFF2-40B4-BE49-F238E27FC236}">
                <a16:creationId xmlns:a16="http://schemas.microsoft.com/office/drawing/2014/main" id="{66865883-1DB0-B19B-EABB-C51F56701927}"/>
              </a:ext>
            </a:extLst>
          </p:cNvPr>
          <p:cNvSpPr/>
          <p:nvPr/>
        </p:nvSpPr>
        <p:spPr>
          <a:xfrm>
            <a:off x="2766371" y="4245301"/>
            <a:ext cx="1747200" cy="1747200"/>
          </a:xfrm>
          <a:prstGeom prst="ellipse">
            <a:avLst/>
          </a:prstGeom>
          <a:gradFill flip="none" rotWithShape="1">
            <a:gsLst>
              <a:gs pos="0">
                <a:schemeClr val="accent2"/>
              </a:gs>
              <a:gs pos="100000">
                <a:schemeClr val="accent2">
                  <a:lumMod val="75000"/>
                </a:schemeClr>
              </a:gs>
            </a:gsLst>
            <a:lin ang="66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defRPr/>
            </a:pPr>
            <a:r>
              <a:rPr lang="en-GB" sz="2400" b="1" dirty="0">
                <a:solidFill>
                  <a:prstClr val="white"/>
                </a:solidFill>
                <a:latin typeface="Calibri" panose="020F0502020204030204"/>
              </a:rPr>
              <a:t>Input:</a:t>
            </a:r>
          </a:p>
          <a:p>
            <a:pPr algn="ctr" defTabSz="1219170">
              <a:defRPr/>
            </a:pPr>
            <a:r>
              <a:rPr lang="en-GB" sz="1600" b="1" i="1" dirty="0">
                <a:solidFill>
                  <a:prstClr val="white"/>
                </a:solidFill>
                <a:latin typeface="Calibri" panose="020F0502020204030204"/>
              </a:rPr>
              <a:t>Prompt</a:t>
            </a:r>
            <a:endParaRPr lang="en-GB" sz="2400" b="1" i="1" dirty="0">
              <a:solidFill>
                <a:prstClr val="white"/>
              </a:solidFill>
              <a:latin typeface="Calibri" panose="020F0502020204030204"/>
            </a:endParaRPr>
          </a:p>
        </p:txBody>
      </p:sp>
      <p:sp>
        <p:nvSpPr>
          <p:cNvPr id="9" name="Oval 8">
            <a:extLst>
              <a:ext uri="{FF2B5EF4-FFF2-40B4-BE49-F238E27FC236}">
                <a16:creationId xmlns:a16="http://schemas.microsoft.com/office/drawing/2014/main" id="{1ED73F4A-6EA0-447B-1AC9-589E731EE25C}"/>
              </a:ext>
            </a:extLst>
          </p:cNvPr>
          <p:cNvSpPr/>
          <p:nvPr/>
        </p:nvSpPr>
        <p:spPr>
          <a:xfrm>
            <a:off x="5107571" y="4509930"/>
            <a:ext cx="1217943" cy="1217943"/>
          </a:xfrm>
          <a:prstGeom prst="ellipse">
            <a:avLst/>
          </a:prstGeom>
          <a:gradFill flip="none" rotWithShape="1">
            <a:gsLst>
              <a:gs pos="0">
                <a:schemeClr val="accent1"/>
              </a:gs>
              <a:gs pos="100000">
                <a:schemeClr val="accent1">
                  <a:lumMod val="75000"/>
                </a:schemeClr>
              </a:gs>
            </a:gsLst>
            <a:lin ang="66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defRPr/>
            </a:pPr>
            <a:r>
              <a:rPr lang="en-GB" sz="2400" b="1" dirty="0">
                <a:solidFill>
                  <a:prstClr val="white"/>
                </a:solidFill>
                <a:latin typeface="Calibri" panose="020F0502020204030204"/>
              </a:rPr>
              <a:t>LLM</a:t>
            </a:r>
          </a:p>
        </p:txBody>
      </p:sp>
      <p:sp>
        <p:nvSpPr>
          <p:cNvPr id="11" name="Oval 10">
            <a:extLst>
              <a:ext uri="{FF2B5EF4-FFF2-40B4-BE49-F238E27FC236}">
                <a16:creationId xmlns:a16="http://schemas.microsoft.com/office/drawing/2014/main" id="{B09C27E1-DC13-704A-9180-6B4ACBEC17F2}"/>
              </a:ext>
            </a:extLst>
          </p:cNvPr>
          <p:cNvSpPr/>
          <p:nvPr/>
        </p:nvSpPr>
        <p:spPr>
          <a:xfrm>
            <a:off x="6919513" y="4245301"/>
            <a:ext cx="1747200" cy="1747200"/>
          </a:xfrm>
          <a:prstGeom prst="ellipse">
            <a:avLst/>
          </a:prstGeom>
          <a:gradFill flip="none" rotWithShape="1">
            <a:gsLst>
              <a:gs pos="0">
                <a:schemeClr val="accent2"/>
              </a:gs>
              <a:gs pos="100000">
                <a:schemeClr val="accent2">
                  <a:lumMod val="75000"/>
                </a:schemeClr>
              </a:gs>
            </a:gsLst>
            <a:lin ang="66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0" tIns="60960" rIns="0" bIns="60960" rtlCol="0" anchor="ctr"/>
          <a:lstStyle/>
          <a:p>
            <a:pPr algn="ctr" defTabSz="1219170">
              <a:defRPr/>
            </a:pPr>
            <a:r>
              <a:rPr lang="en-GB" sz="2400" b="1" dirty="0">
                <a:solidFill>
                  <a:prstClr val="white"/>
                </a:solidFill>
                <a:latin typeface="Calibri" panose="020F0502020204030204"/>
              </a:rPr>
              <a:t>Output:</a:t>
            </a:r>
          </a:p>
          <a:p>
            <a:pPr algn="ctr" defTabSz="1219170">
              <a:defRPr/>
            </a:pPr>
            <a:r>
              <a:rPr lang="en-GB" sz="1600" b="1" i="1" dirty="0">
                <a:solidFill>
                  <a:prstClr val="white"/>
                </a:solidFill>
                <a:latin typeface="Calibri" panose="020F0502020204030204"/>
              </a:rPr>
              <a:t>Text, code, image, audio</a:t>
            </a:r>
            <a:endParaRPr lang="en-GB" sz="2400" b="1" i="1" dirty="0">
              <a:solidFill>
                <a:prstClr val="white"/>
              </a:solidFill>
              <a:latin typeface="Calibri" panose="020F0502020204030204"/>
            </a:endParaRPr>
          </a:p>
        </p:txBody>
      </p:sp>
      <p:cxnSp>
        <p:nvCxnSpPr>
          <p:cNvPr id="12" name="Straight Arrow Connector 11">
            <a:extLst>
              <a:ext uri="{FF2B5EF4-FFF2-40B4-BE49-F238E27FC236}">
                <a16:creationId xmlns:a16="http://schemas.microsoft.com/office/drawing/2014/main" id="{20A87AE7-7528-69BC-A4B7-D6DCB3B2F6D8}"/>
              </a:ext>
            </a:extLst>
          </p:cNvPr>
          <p:cNvCxnSpPr>
            <a:cxnSpLocks/>
            <a:stCxn id="8" idx="6"/>
            <a:endCxn id="9" idx="2"/>
          </p:cNvCxnSpPr>
          <p:nvPr/>
        </p:nvCxnSpPr>
        <p:spPr>
          <a:xfrm>
            <a:off x="4513571" y="5118901"/>
            <a:ext cx="594000"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6E608D2E-A0E6-573C-2899-0EE09211CC8C}"/>
              </a:ext>
            </a:extLst>
          </p:cNvPr>
          <p:cNvCxnSpPr>
            <a:cxnSpLocks/>
            <a:stCxn id="9" idx="6"/>
            <a:endCxn id="11" idx="2"/>
          </p:cNvCxnSpPr>
          <p:nvPr/>
        </p:nvCxnSpPr>
        <p:spPr>
          <a:xfrm>
            <a:off x="6325513" y="5118901"/>
            <a:ext cx="594000"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28" name="Picture 27" descr="A cartoon of a person pointing&#10;&#10;Description automatically generated">
            <a:extLst>
              <a:ext uri="{FF2B5EF4-FFF2-40B4-BE49-F238E27FC236}">
                <a16:creationId xmlns:a16="http://schemas.microsoft.com/office/drawing/2014/main" id="{0716D26D-0E83-C965-8755-6D6799FEC6A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6147" y="4245301"/>
            <a:ext cx="1294047" cy="2150608"/>
          </a:xfrm>
          <a:prstGeom prst="rect">
            <a:avLst/>
          </a:prstGeom>
        </p:spPr>
      </p:pic>
      <p:sp>
        <p:nvSpPr>
          <p:cNvPr id="4" name="Rectangle: Rounded Corners 21">
            <a:extLst>
              <a:ext uri="{FF2B5EF4-FFF2-40B4-BE49-F238E27FC236}">
                <a16:creationId xmlns:a16="http://schemas.microsoft.com/office/drawing/2014/main" id="{84AD36CD-2F5E-88D2-70F2-1E0CCA3C723D}"/>
              </a:ext>
            </a:extLst>
          </p:cNvPr>
          <p:cNvSpPr/>
          <p:nvPr/>
        </p:nvSpPr>
        <p:spPr>
          <a:xfrm>
            <a:off x="68410" y="6447065"/>
            <a:ext cx="1371047" cy="291785"/>
          </a:xfrm>
          <a:prstGeom prst="roundRect">
            <a:avLst>
              <a:gd name="adj" fmla="val 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824000" rtlCol="0" anchor="ctr" anchorCtr="0"/>
          <a:lstStyle/>
          <a:p>
            <a:pPr algn="ctr" defTabSz="1623610">
              <a:defRPr/>
            </a:pPr>
            <a:endParaRPr lang="en-GB" sz="2400" b="1" dirty="0">
              <a:solidFill>
                <a:prstClr val="black"/>
              </a:solidFill>
              <a:latin typeface="Calibri" panose="020F0502020204030204" pitchFamily="34" charset="0"/>
              <a:cs typeface="Calibri" panose="020F0502020204030204" pitchFamily="34" charset="0"/>
            </a:endParaRPr>
          </a:p>
        </p:txBody>
      </p:sp>
      <p:sp>
        <p:nvSpPr>
          <p:cNvPr id="3" name="Title 1">
            <a:extLst>
              <a:ext uri="{FF2B5EF4-FFF2-40B4-BE49-F238E27FC236}">
                <a16:creationId xmlns:a16="http://schemas.microsoft.com/office/drawing/2014/main" id="{325E3A69-A08E-588B-7BDB-FBB0913148EF}"/>
              </a:ext>
            </a:extLst>
          </p:cNvPr>
          <p:cNvSpPr txBox="1">
            <a:spLocks/>
          </p:cNvSpPr>
          <p:nvPr/>
        </p:nvSpPr>
        <p:spPr>
          <a:xfrm>
            <a:off x="68410" y="269105"/>
            <a:ext cx="11362698" cy="1205441"/>
          </a:xfrm>
          <a:prstGeom prst="rect">
            <a:avLst/>
          </a:prstGeom>
        </p:spPr>
        <p:txBody>
          <a:bodyPr vert="horz" lIns="91440" tIns="45720" rIns="91440" bIns="45720" rtlCol="0" anchor="ctr">
            <a:noAutofit/>
          </a:bodyPr>
          <a:lstStyle>
            <a:lvl1pPr defTabSz="914377">
              <a:lnSpc>
                <a:spcPct val="90000"/>
              </a:lnSpc>
              <a:spcBef>
                <a:spcPct val="0"/>
              </a:spcBef>
              <a:buNone/>
              <a:defRPr sz="4400">
                <a:latin typeface="+mj-lt"/>
                <a:ea typeface="+mj-ea"/>
                <a:cs typeface="+mj-cs"/>
              </a:defRPr>
            </a:lvl1pPr>
            <a:lvl2pPr lvl="1">
              <a:defRPr sz="4600">
                <a:solidFill>
                  <a:schemeClr val="accent5"/>
                </a:solidFill>
                <a:latin typeface="Georgia" panose="02040502050405020303" pitchFamily="18" charset="0"/>
              </a:defRPr>
            </a:lvl2pPr>
          </a:lstStyle>
          <a:p>
            <a:pPr lvl="1"/>
            <a:r>
              <a:rPr lang="en-GB" dirty="0">
                <a:solidFill>
                  <a:schemeClr val="accent1"/>
                </a:solidFill>
              </a:rPr>
              <a:t>Responsible use of AI </a:t>
            </a:r>
          </a:p>
        </p:txBody>
      </p:sp>
    </p:spTree>
    <p:extLst>
      <p:ext uri="{BB962C8B-B14F-4D97-AF65-F5344CB8AC3E}">
        <p14:creationId xmlns:p14="http://schemas.microsoft.com/office/powerpoint/2010/main" val="3231065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ight Triangle 11">
            <a:extLst>
              <a:ext uri="{FF2B5EF4-FFF2-40B4-BE49-F238E27FC236}">
                <a16:creationId xmlns:a16="http://schemas.microsoft.com/office/drawing/2014/main" id="{966B2C76-1F1A-41B1-C878-2AE2F03696B6}"/>
              </a:ext>
            </a:extLst>
          </p:cNvPr>
          <p:cNvSpPr/>
          <p:nvPr/>
        </p:nvSpPr>
        <p:spPr>
          <a:xfrm flipH="1">
            <a:off x="491" y="4727897"/>
            <a:ext cx="12191511" cy="1670175"/>
          </a:xfrm>
          <a:prstGeom prst="rtTriangle">
            <a:avLst/>
          </a:prstGeom>
          <a:pattFill prst="pct5">
            <a:fgClr>
              <a:schemeClr val="tx1">
                <a:lumMod val="95000"/>
                <a:lumOff val="5000"/>
              </a:schemeClr>
            </a:fgClr>
            <a:bgClr>
              <a:schemeClr val="accent2">
                <a:lumMod val="20000"/>
                <a:lumOff val="80000"/>
              </a:schemeClr>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54">
              <a:defRPr/>
            </a:pPr>
            <a:endParaRPr lang="en-GB" sz="2400" dirty="0">
              <a:solidFill>
                <a:prstClr val="black"/>
              </a:solidFill>
              <a:latin typeface="Calibri" panose="020F0502020204030204"/>
            </a:endParaRPr>
          </a:p>
        </p:txBody>
      </p:sp>
      <p:sp>
        <p:nvSpPr>
          <p:cNvPr id="5" name="Speech Bubble: Rectangle 4">
            <a:extLst>
              <a:ext uri="{FF2B5EF4-FFF2-40B4-BE49-F238E27FC236}">
                <a16:creationId xmlns:a16="http://schemas.microsoft.com/office/drawing/2014/main" id="{F3DF6D80-A03E-B3E7-551E-C4391A6F6DB3}"/>
              </a:ext>
            </a:extLst>
          </p:cNvPr>
          <p:cNvSpPr/>
          <p:nvPr/>
        </p:nvSpPr>
        <p:spPr>
          <a:xfrm>
            <a:off x="8342713" y="1300845"/>
            <a:ext cx="3185259" cy="1066800"/>
          </a:xfrm>
          <a:prstGeom prst="wedgeRectCallout">
            <a:avLst>
              <a:gd name="adj1" fmla="val -37536"/>
              <a:gd name="adj2" fmla="val 90168"/>
            </a:avLst>
          </a:prstGeom>
          <a:solidFill>
            <a:schemeClr val="bg1"/>
          </a:solidFill>
          <a:ln w="3175">
            <a:solidFill>
              <a:schemeClr val="tx1"/>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288000" tIns="192000" rIns="288000" bIns="192000"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54">
              <a:defRPr/>
            </a:pPr>
            <a:r>
              <a:rPr lang="en-GB" sz="2400" b="1" i="1" dirty="0">
                <a:solidFill>
                  <a:prstClr val="black"/>
                </a:solidFill>
                <a:latin typeface="Calibri" panose="020F0502020204030204"/>
                <a:ea typeface="Calibri"/>
                <a:cs typeface="Calibri"/>
              </a:rPr>
              <a:t>Am I allowed to use this technology?</a:t>
            </a:r>
          </a:p>
        </p:txBody>
      </p:sp>
      <p:pic>
        <p:nvPicPr>
          <p:cNvPr id="6" name="Picture 5" descr="A person with a hand on their chin&#10;&#10;Description automatically generated">
            <a:extLst>
              <a:ext uri="{FF2B5EF4-FFF2-40B4-BE49-F238E27FC236}">
                <a16:creationId xmlns:a16="http://schemas.microsoft.com/office/drawing/2014/main" id="{CCCC7C7F-3BDB-6074-CFBE-D435D242E6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22128" y="2544046"/>
            <a:ext cx="2420281" cy="3809543"/>
          </a:xfrm>
          <a:prstGeom prst="rect">
            <a:avLst/>
          </a:prstGeom>
        </p:spPr>
      </p:pic>
      <p:sp>
        <p:nvSpPr>
          <p:cNvPr id="7" name="Speech Bubble: Rectangle 6">
            <a:extLst>
              <a:ext uri="{FF2B5EF4-FFF2-40B4-BE49-F238E27FC236}">
                <a16:creationId xmlns:a16="http://schemas.microsoft.com/office/drawing/2014/main" id="{4C44AF93-D18E-0DEC-11AE-C0D6484FDE5F}"/>
              </a:ext>
            </a:extLst>
          </p:cNvPr>
          <p:cNvSpPr/>
          <p:nvPr/>
        </p:nvSpPr>
        <p:spPr>
          <a:xfrm>
            <a:off x="9677401" y="2719795"/>
            <a:ext cx="2164007" cy="1070781"/>
          </a:xfrm>
          <a:prstGeom prst="wedgeRectCallout">
            <a:avLst>
              <a:gd name="adj1" fmla="val -67462"/>
              <a:gd name="adj2" fmla="val -15553"/>
            </a:avLst>
          </a:prstGeom>
          <a:solidFill>
            <a:schemeClr val="bg1"/>
          </a:solidFill>
          <a:ln w="3175">
            <a:solidFill>
              <a:schemeClr val="tx1"/>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288000" tIns="192000" rIns="288000" bIns="192000"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54">
              <a:defRPr/>
            </a:pPr>
            <a:r>
              <a:rPr lang="en-GB" sz="2400" b="1" i="1" dirty="0">
                <a:solidFill>
                  <a:prstClr val="black"/>
                </a:solidFill>
                <a:latin typeface="Calibri"/>
                <a:ea typeface="Calibri"/>
                <a:cs typeface="Calibri"/>
              </a:rPr>
              <a:t>How do I disclose it?</a:t>
            </a:r>
          </a:p>
        </p:txBody>
      </p:sp>
      <p:sp>
        <p:nvSpPr>
          <p:cNvPr id="8" name="Speech Bubble: Rectangle 7">
            <a:extLst>
              <a:ext uri="{FF2B5EF4-FFF2-40B4-BE49-F238E27FC236}">
                <a16:creationId xmlns:a16="http://schemas.microsoft.com/office/drawing/2014/main" id="{5B0CC6E5-6E22-D56C-CA8B-224603D10B52}"/>
              </a:ext>
            </a:extLst>
          </p:cNvPr>
          <p:cNvSpPr/>
          <p:nvPr/>
        </p:nvSpPr>
        <p:spPr>
          <a:xfrm>
            <a:off x="8342714" y="4243575"/>
            <a:ext cx="3631809" cy="1070781"/>
          </a:xfrm>
          <a:prstGeom prst="wedgeRectCallout">
            <a:avLst>
              <a:gd name="adj1" fmla="val -60325"/>
              <a:gd name="adj2" fmla="val -38960"/>
            </a:avLst>
          </a:prstGeom>
          <a:solidFill>
            <a:schemeClr val="bg1"/>
          </a:solidFill>
          <a:ln w="3175">
            <a:solidFill>
              <a:schemeClr val="tx1"/>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288000" tIns="192000" rIns="288000" bIns="192000"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54">
              <a:defRPr/>
            </a:pPr>
            <a:r>
              <a:rPr lang="en-GB" sz="2400" b="1" i="1" dirty="0">
                <a:solidFill>
                  <a:prstClr val="black"/>
                </a:solidFill>
                <a:latin typeface="Calibri"/>
                <a:ea typeface="Calibri"/>
                <a:cs typeface="Calibri"/>
              </a:rPr>
              <a:t>Should I list an AI-system as a co-author?</a:t>
            </a:r>
          </a:p>
        </p:txBody>
      </p:sp>
      <p:sp>
        <p:nvSpPr>
          <p:cNvPr id="2" name="TextBox 1">
            <a:extLst>
              <a:ext uri="{FF2B5EF4-FFF2-40B4-BE49-F238E27FC236}">
                <a16:creationId xmlns:a16="http://schemas.microsoft.com/office/drawing/2014/main" id="{883A6D1F-3E7E-16A4-D4ED-DC763463D333}"/>
              </a:ext>
            </a:extLst>
          </p:cNvPr>
          <p:cNvSpPr txBox="1"/>
          <p:nvPr/>
        </p:nvSpPr>
        <p:spPr>
          <a:xfrm>
            <a:off x="232090" y="1045063"/>
            <a:ext cx="5631709" cy="3365088"/>
          </a:xfrm>
          <a:prstGeom prst="rect">
            <a:avLst/>
          </a:prstGeom>
          <a:noFill/>
        </p:spPr>
        <p:txBody>
          <a:bodyPr wrap="square" lIns="121920" tIns="60960" rIns="121920" bIns="60960" rtlCol="0" anchor="t">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54">
              <a:defRPr/>
            </a:pPr>
            <a:endParaRPr lang="en-US" sz="1867" b="1" dirty="0">
              <a:solidFill>
                <a:prstClr val="black"/>
              </a:solidFill>
              <a:latin typeface="Calibri"/>
              <a:cs typeface="Calibri"/>
            </a:endParaRPr>
          </a:p>
          <a:p>
            <a:pPr marL="228584" indent="-228584" defTabSz="914354">
              <a:buFont typeface="Arial" panose="020B0604020202020204" pitchFamily="34" charset="0"/>
              <a:buChar char="•"/>
              <a:defRPr/>
            </a:pPr>
            <a:r>
              <a:rPr lang="en-US" sz="2400" b="1" dirty="0">
                <a:solidFill>
                  <a:prstClr val="black"/>
                </a:solidFill>
                <a:latin typeface="Calibri"/>
                <a:cs typeface="Calibri"/>
              </a:rPr>
              <a:t>Many researchers have questions about the technology</a:t>
            </a:r>
            <a:r>
              <a:rPr lang="en-US" sz="2400" dirty="0">
                <a:solidFill>
                  <a:prstClr val="black"/>
                </a:solidFill>
                <a:latin typeface="Calibri"/>
                <a:cs typeface="Calibri"/>
              </a:rPr>
              <a:t>, and how it should and shouldn’t be used in the context of scientific publishing.</a:t>
            </a:r>
          </a:p>
          <a:p>
            <a:pPr defTabSz="914354">
              <a:defRPr/>
            </a:pPr>
            <a:endParaRPr lang="en-US" sz="2400" dirty="0">
              <a:solidFill>
                <a:prstClr val="black"/>
              </a:solidFill>
              <a:latin typeface="Calibri" panose="020F0502020204030204" pitchFamily="34" charset="0"/>
              <a:cs typeface="Calibri" panose="020F0502020204030204" pitchFamily="34" charset="0"/>
            </a:endParaRPr>
          </a:p>
          <a:p>
            <a:pPr marL="228584" indent="-228584" defTabSz="914354">
              <a:buFont typeface="Arial" panose="020B0604020202020204" pitchFamily="34" charset="0"/>
              <a:buChar char="•"/>
              <a:defRPr/>
            </a:pPr>
            <a:r>
              <a:rPr lang="en-US" sz="2400" dirty="0">
                <a:solidFill>
                  <a:prstClr val="black"/>
                </a:solidFill>
                <a:latin typeface="Calibri"/>
                <a:cs typeface="Calibri"/>
              </a:rPr>
              <a:t>There are </a:t>
            </a:r>
            <a:r>
              <a:rPr lang="en-US" sz="2400" b="1" dirty="0">
                <a:solidFill>
                  <a:prstClr val="black"/>
                </a:solidFill>
                <a:latin typeface="Calibri"/>
                <a:cs typeface="Calibri"/>
              </a:rPr>
              <a:t>concerns about inaccuracy</a:t>
            </a:r>
            <a:r>
              <a:rPr lang="en-US" sz="2400" dirty="0">
                <a:solidFill>
                  <a:prstClr val="black"/>
                </a:solidFill>
                <a:latin typeface="Calibri"/>
                <a:cs typeface="Calibri"/>
              </a:rPr>
              <a:t>, </a:t>
            </a:r>
            <a:r>
              <a:rPr lang="en-US" sz="2400" b="1" dirty="0">
                <a:solidFill>
                  <a:prstClr val="black"/>
                </a:solidFill>
                <a:latin typeface="Calibri"/>
                <a:cs typeface="Calibri"/>
              </a:rPr>
              <a:t>unreliable</a:t>
            </a:r>
            <a:r>
              <a:rPr lang="en-US" sz="2400" dirty="0">
                <a:solidFill>
                  <a:prstClr val="black"/>
                </a:solidFill>
                <a:latin typeface="Calibri"/>
                <a:cs typeface="Calibri"/>
              </a:rPr>
              <a:t> references, copyright </a:t>
            </a:r>
            <a:r>
              <a:rPr lang="en-US" sz="2400" b="1" dirty="0">
                <a:solidFill>
                  <a:prstClr val="black"/>
                </a:solidFill>
                <a:latin typeface="Calibri"/>
                <a:cs typeface="Calibri"/>
              </a:rPr>
              <a:t>infringement</a:t>
            </a:r>
            <a:r>
              <a:rPr lang="en-US" sz="2400" dirty="0">
                <a:solidFill>
                  <a:prstClr val="black"/>
                </a:solidFill>
                <a:latin typeface="Calibri"/>
                <a:cs typeface="Calibri"/>
              </a:rPr>
              <a:t> and training </a:t>
            </a:r>
            <a:r>
              <a:rPr lang="en-US" sz="2400" b="1" dirty="0">
                <a:solidFill>
                  <a:prstClr val="black"/>
                </a:solidFill>
                <a:latin typeface="Calibri"/>
                <a:cs typeface="Calibri"/>
              </a:rPr>
              <a:t>bias</a:t>
            </a:r>
            <a:r>
              <a:rPr lang="en-US" sz="2400" dirty="0">
                <a:solidFill>
                  <a:prstClr val="black"/>
                </a:solidFill>
                <a:latin typeface="Calibri"/>
                <a:cs typeface="Calibri"/>
              </a:rPr>
              <a:t>.</a:t>
            </a:r>
          </a:p>
        </p:txBody>
      </p:sp>
      <p:sp>
        <p:nvSpPr>
          <p:cNvPr id="4" name="Rectangle: Rounded Corners 21">
            <a:extLst>
              <a:ext uri="{FF2B5EF4-FFF2-40B4-BE49-F238E27FC236}">
                <a16:creationId xmlns:a16="http://schemas.microsoft.com/office/drawing/2014/main" id="{5F9F4B98-9DAC-CBC7-98B9-4113A74C58B1}"/>
              </a:ext>
            </a:extLst>
          </p:cNvPr>
          <p:cNvSpPr/>
          <p:nvPr/>
        </p:nvSpPr>
        <p:spPr>
          <a:xfrm>
            <a:off x="68413" y="6447068"/>
            <a:ext cx="1371047" cy="291785"/>
          </a:xfrm>
          <a:prstGeom prst="roundRect">
            <a:avLst>
              <a:gd name="adj" fmla="val 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824000" rtlCol="0" anchor="ctr" anchorCtr="0"/>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1623530">
              <a:defRPr/>
            </a:pPr>
            <a:endParaRPr lang="en-GB" sz="2400" b="1" dirty="0">
              <a:solidFill>
                <a:prstClr val="black"/>
              </a:solidFill>
              <a:latin typeface="Calibri" panose="020F0502020204030204" pitchFamily="34" charset="0"/>
              <a:cs typeface="Calibri" panose="020F0502020204030204" pitchFamily="34" charset="0"/>
            </a:endParaRPr>
          </a:p>
        </p:txBody>
      </p:sp>
      <p:sp>
        <p:nvSpPr>
          <p:cNvPr id="17" name="Title 1">
            <a:extLst>
              <a:ext uri="{FF2B5EF4-FFF2-40B4-BE49-F238E27FC236}">
                <a16:creationId xmlns:a16="http://schemas.microsoft.com/office/drawing/2014/main" id="{90C1C08C-C76B-B4EF-8D5E-C3B8B655BFA0}"/>
              </a:ext>
            </a:extLst>
          </p:cNvPr>
          <p:cNvSpPr txBox="1">
            <a:spLocks/>
          </p:cNvSpPr>
          <p:nvPr/>
        </p:nvSpPr>
        <p:spPr>
          <a:xfrm>
            <a:off x="152801" y="198438"/>
            <a:ext cx="11919456" cy="485167"/>
          </a:xfrm>
          <a:prstGeom prst="rect">
            <a:avLst/>
          </a:prstGeom>
        </p:spPr>
        <p:txBody>
          <a:bodyPr vert="horz" lIns="0" tIns="0" rIns="0" bIns="0" rtlCol="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104">
              <a:defRPr/>
            </a:pPr>
            <a:r>
              <a:rPr lang="en-GB" sz="2667" b="1" dirty="0">
                <a:solidFill>
                  <a:prstClr val="black"/>
                </a:solidFill>
                <a:latin typeface="Calibri"/>
                <a:ea typeface="Calibri"/>
                <a:cs typeface="Calibri"/>
              </a:rPr>
              <a:t>Why should we think about GenAI in the context of scientific writing and publishing?</a:t>
            </a:r>
          </a:p>
        </p:txBody>
      </p:sp>
    </p:spTree>
    <p:extLst>
      <p:ext uri="{BB962C8B-B14F-4D97-AF65-F5344CB8AC3E}">
        <p14:creationId xmlns:p14="http://schemas.microsoft.com/office/powerpoint/2010/main" val="3019925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8"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1">
            <a:extLst>
              <a:ext uri="{FF2B5EF4-FFF2-40B4-BE49-F238E27FC236}">
                <a16:creationId xmlns:a16="http://schemas.microsoft.com/office/drawing/2014/main" id="{8827BDF4-51F2-6D71-FB9E-9057F2363295}"/>
              </a:ext>
            </a:extLst>
          </p:cNvPr>
          <p:cNvSpPr txBox="1">
            <a:spLocks/>
          </p:cNvSpPr>
          <p:nvPr/>
        </p:nvSpPr>
        <p:spPr>
          <a:xfrm>
            <a:off x="283764" y="727"/>
            <a:ext cx="7777393" cy="865600"/>
          </a:xfrm>
          <a:prstGeom prst="rect">
            <a:avLst/>
          </a:prstGeom>
        </p:spPr>
        <p:txBody>
          <a:bodyPr vert="horz" lIns="0" tIns="0" rIns="0" bIns="0" rtlCol="0" anchor="ctr" anchorCtr="0">
            <a:noAutofit/>
          </a:bodyPr>
          <a:lstStyle>
            <a:lvl1pPr algn="l" defTabSz="685800" rtl="0" eaLnBrk="1" latinLnBrk="0" hangingPunct="1">
              <a:lnSpc>
                <a:spcPct val="100000"/>
              </a:lnSpc>
              <a:spcBef>
                <a:spcPct val="0"/>
              </a:spcBef>
              <a:buNone/>
              <a:defRPr sz="2400" kern="1200">
                <a:solidFill>
                  <a:schemeClr val="tx1"/>
                </a:solidFill>
                <a:latin typeface="+mj-lt"/>
                <a:ea typeface="+mj-ea"/>
                <a:cs typeface="+mj-cs"/>
              </a:defRPr>
            </a:lvl1pPr>
          </a:lstStyle>
          <a:p>
            <a:r>
              <a:rPr lang="en-US" sz="3200" b="1" dirty="0">
                <a:solidFill>
                  <a:schemeClr val="accent2"/>
                </a:solidFill>
                <a:latin typeface="Georgia" panose="02040502050405020303" pitchFamily="18" charset="0"/>
              </a:rPr>
              <a:t> Elsevier Responsible AI Principles </a:t>
            </a:r>
            <a:endParaRPr lang="en-GB" sz="3200" dirty="0">
              <a:solidFill>
                <a:schemeClr val="accent2"/>
              </a:solidFill>
              <a:latin typeface="Georgia" panose="02040502050405020303" pitchFamily="18" charset="0"/>
            </a:endParaRPr>
          </a:p>
        </p:txBody>
      </p:sp>
      <p:sp>
        <p:nvSpPr>
          <p:cNvPr id="22" name="Rectangle: Rounded Corners 21">
            <a:extLst>
              <a:ext uri="{FF2B5EF4-FFF2-40B4-BE49-F238E27FC236}">
                <a16:creationId xmlns:a16="http://schemas.microsoft.com/office/drawing/2014/main" id="{09B3192A-13CB-9338-C147-4A191D31980C}"/>
              </a:ext>
            </a:extLst>
          </p:cNvPr>
          <p:cNvSpPr/>
          <p:nvPr/>
        </p:nvSpPr>
        <p:spPr>
          <a:xfrm>
            <a:off x="1609" y="6439333"/>
            <a:ext cx="1371047" cy="291785"/>
          </a:xfrm>
          <a:prstGeom prst="roundRect">
            <a:avLst>
              <a:gd name="adj" fmla="val 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824000" rtlCol="0" anchor="ctr" anchorCtr="0"/>
          <a:lstStyle/>
          <a:p>
            <a:pPr algn="ctr" defTabSz="1623610">
              <a:defRPr/>
            </a:pPr>
            <a:endParaRPr lang="en-GB" sz="2400" b="1" dirty="0">
              <a:solidFill>
                <a:prstClr val="black"/>
              </a:solidFill>
              <a:latin typeface="Calibri" panose="020F0502020204030204" pitchFamily="34" charset="0"/>
              <a:cs typeface="Calibri" panose="020F0502020204030204" pitchFamily="34" charset="0"/>
            </a:endParaRPr>
          </a:p>
        </p:txBody>
      </p:sp>
      <p:sp>
        <p:nvSpPr>
          <p:cNvPr id="9" name="TextBox 8">
            <a:extLst>
              <a:ext uri="{FF2B5EF4-FFF2-40B4-BE49-F238E27FC236}">
                <a16:creationId xmlns:a16="http://schemas.microsoft.com/office/drawing/2014/main" id="{25611102-D137-9492-5A90-58B4E739780A}"/>
              </a:ext>
            </a:extLst>
          </p:cNvPr>
          <p:cNvSpPr txBox="1"/>
          <p:nvPr/>
        </p:nvSpPr>
        <p:spPr>
          <a:xfrm>
            <a:off x="283764" y="1196593"/>
            <a:ext cx="9439876" cy="5275803"/>
          </a:xfrm>
          <a:prstGeom prst="rect">
            <a:avLst/>
          </a:prstGeom>
          <a:noFill/>
        </p:spPr>
        <p:txBody>
          <a:bodyPr wrap="square" lIns="121920" tIns="60960" rIns="121920" bIns="60960" anchor="t">
            <a:spAutoFit/>
          </a:bodyPr>
          <a:lstStyle/>
          <a:p>
            <a:pPr defTabSz="1219170">
              <a:lnSpc>
                <a:spcPct val="105000"/>
              </a:lnSpc>
              <a:spcAft>
                <a:spcPts val="1067"/>
              </a:spcAft>
              <a:defRPr/>
            </a:pPr>
            <a:r>
              <a:rPr lang="en-US" sz="1600" b="1" dirty="0">
                <a:solidFill>
                  <a:schemeClr val="accent1"/>
                </a:solidFill>
                <a:latin typeface="Arial" panose="020B0604020202020204" pitchFamily="34" charset="0"/>
                <a:cs typeface="Arial" panose="020B0604020202020204" pitchFamily="34" charset="0"/>
              </a:rPr>
              <a:t>Elsevier’s policy states that authors should:</a:t>
            </a:r>
          </a:p>
          <a:p>
            <a:pPr marL="457189" indent="-457189" defTabSz="1219170">
              <a:lnSpc>
                <a:spcPct val="105000"/>
              </a:lnSpc>
              <a:spcAft>
                <a:spcPts val="1067"/>
              </a:spcAft>
              <a:buClr>
                <a:srgbClr val="ED7D31"/>
              </a:buClr>
              <a:buFont typeface="Symbol" panose="05050102010706020507" pitchFamily="18" charset="2"/>
              <a:buChar char=""/>
              <a:defRPr/>
            </a:pPr>
            <a:r>
              <a:rPr lang="en-GB" sz="1600" dirty="0">
                <a:solidFill>
                  <a:prstClr val="black"/>
                </a:solidFill>
                <a:latin typeface="Arial" panose="020B0604020202020204" pitchFamily="34" charset="0"/>
                <a:ea typeface="Times New Roman" panose="02020603050405020304" pitchFamily="18" charset="0"/>
                <a:cs typeface="Arial" panose="020B0604020202020204" pitchFamily="34" charset="0"/>
              </a:rPr>
              <a:t>Only use Generative AI and AI-assisted technologies to improve </a:t>
            </a:r>
            <a:r>
              <a:rPr lang="en-GB" sz="1600" b="1" dirty="0">
                <a:solidFill>
                  <a:srgbClr val="ED7D31"/>
                </a:solidFill>
                <a:latin typeface="Arial" panose="020B0604020202020204" pitchFamily="34" charset="0"/>
                <a:ea typeface="Times New Roman" panose="02020603050405020304" pitchFamily="18" charset="0"/>
                <a:cs typeface="Arial" panose="020B0604020202020204" pitchFamily="34" charset="0"/>
              </a:rPr>
              <a:t>readability</a:t>
            </a:r>
            <a:r>
              <a:rPr lang="en-GB" sz="1600" dirty="0">
                <a:solidFill>
                  <a:srgbClr val="000000"/>
                </a:solidFill>
                <a:latin typeface="Arial" panose="020B0604020202020204" pitchFamily="34" charset="0"/>
                <a:ea typeface="Times New Roman" panose="02020603050405020304" pitchFamily="18" charset="0"/>
                <a:cs typeface="Arial" panose="020B0604020202020204" pitchFamily="34" charset="0"/>
              </a:rPr>
              <a:t> </a:t>
            </a:r>
            <a:r>
              <a:rPr lang="en-GB" sz="1600" dirty="0">
                <a:solidFill>
                  <a:prstClr val="black"/>
                </a:solidFill>
                <a:latin typeface="Arial" panose="020B0604020202020204" pitchFamily="34" charset="0"/>
                <a:ea typeface="Times New Roman" panose="02020603050405020304" pitchFamily="18" charset="0"/>
                <a:cs typeface="Arial" panose="020B0604020202020204" pitchFamily="34" charset="0"/>
              </a:rPr>
              <a:t>and</a:t>
            </a:r>
            <a:r>
              <a:rPr lang="en-GB" sz="1600" dirty="0">
                <a:solidFill>
                  <a:srgbClr val="000000"/>
                </a:solidFill>
                <a:latin typeface="Arial" panose="020B0604020202020204" pitchFamily="34" charset="0"/>
                <a:ea typeface="Times New Roman" panose="02020603050405020304" pitchFamily="18" charset="0"/>
                <a:cs typeface="Arial" panose="020B0604020202020204" pitchFamily="34" charset="0"/>
              </a:rPr>
              <a:t> </a:t>
            </a:r>
            <a:r>
              <a:rPr lang="en-GB" sz="1600" b="1" dirty="0">
                <a:solidFill>
                  <a:srgbClr val="ED7D31"/>
                </a:solidFill>
                <a:latin typeface="Arial" panose="020B0604020202020204" pitchFamily="34" charset="0"/>
                <a:ea typeface="Times New Roman" panose="02020603050405020304" pitchFamily="18" charset="0"/>
                <a:cs typeface="Arial" panose="020B0604020202020204" pitchFamily="34" charset="0"/>
              </a:rPr>
              <a:t>language</a:t>
            </a:r>
            <a:r>
              <a:rPr lang="en-GB" sz="1600" dirty="0">
                <a:solidFill>
                  <a:srgbClr val="000000"/>
                </a:solidFill>
                <a:latin typeface="Arial" panose="020B0604020202020204" pitchFamily="34" charset="0"/>
                <a:ea typeface="Times New Roman" panose="02020603050405020304" pitchFamily="18" charset="0"/>
                <a:cs typeface="Arial" panose="020B0604020202020204" pitchFamily="34" charset="0"/>
              </a:rPr>
              <a:t> </a:t>
            </a:r>
            <a:r>
              <a:rPr lang="en-GB" sz="1600" dirty="0">
                <a:solidFill>
                  <a:prstClr val="black"/>
                </a:solidFill>
                <a:latin typeface="Arial" panose="020B0604020202020204" pitchFamily="34" charset="0"/>
                <a:ea typeface="Times New Roman" panose="02020603050405020304" pitchFamily="18" charset="0"/>
                <a:cs typeface="Arial" panose="020B0604020202020204" pitchFamily="34" charset="0"/>
              </a:rPr>
              <a:t>of the work. </a:t>
            </a:r>
          </a:p>
          <a:p>
            <a:pPr marL="457189" indent="-457189" defTabSz="1219170">
              <a:lnSpc>
                <a:spcPct val="105000"/>
              </a:lnSpc>
              <a:spcAft>
                <a:spcPts val="1067"/>
              </a:spcAft>
              <a:buClr>
                <a:srgbClr val="ED7D31"/>
              </a:buClr>
              <a:buFont typeface="Symbol" panose="05050102010706020507" pitchFamily="18" charset="2"/>
              <a:buChar char=""/>
              <a:defRPr/>
            </a:pPr>
            <a:r>
              <a:rPr lang="en-GB" sz="1600" dirty="0">
                <a:solidFill>
                  <a:prstClr val="black"/>
                </a:solidFill>
                <a:latin typeface="Arial" panose="020B0604020202020204" pitchFamily="34" charset="0"/>
                <a:ea typeface="Times New Roman" panose="02020603050405020304" pitchFamily="18" charset="0"/>
                <a:cs typeface="Arial" panose="020B0604020202020204" pitchFamily="34" charset="0"/>
              </a:rPr>
              <a:t>Apply the technology with </a:t>
            </a:r>
            <a:r>
              <a:rPr lang="en-GB" sz="1600" b="1" dirty="0">
                <a:solidFill>
                  <a:srgbClr val="ED7D31"/>
                </a:solidFill>
                <a:latin typeface="Arial" panose="020B0604020202020204" pitchFamily="34" charset="0"/>
                <a:ea typeface="Times New Roman" panose="02020603050405020304" pitchFamily="18" charset="0"/>
                <a:cs typeface="Arial" panose="020B0604020202020204" pitchFamily="34" charset="0"/>
              </a:rPr>
              <a:t>human oversight </a:t>
            </a:r>
            <a:r>
              <a:rPr lang="en-GB" sz="1600" dirty="0">
                <a:solidFill>
                  <a:prstClr val="black"/>
                </a:solidFill>
                <a:latin typeface="Arial" panose="020B0604020202020204" pitchFamily="34" charset="0"/>
                <a:ea typeface="Times New Roman" panose="02020603050405020304" pitchFamily="18" charset="0"/>
                <a:cs typeface="Arial" panose="020B0604020202020204" pitchFamily="34" charset="0"/>
              </a:rPr>
              <a:t>and control, as it can generate authoritative-sounding text that may be biased, incorrect, or incomplete.</a:t>
            </a:r>
            <a:endParaRPr lang="en-US" sz="1600" dirty="0">
              <a:solidFill>
                <a:prstClr val="black"/>
              </a:solidFill>
              <a:latin typeface="Arial" panose="020B0604020202020204" pitchFamily="34" charset="0"/>
              <a:ea typeface="Calibri" panose="020F0502020204030204" pitchFamily="34" charset="0"/>
              <a:cs typeface="Arial" panose="020B0604020202020204" pitchFamily="34" charset="0"/>
            </a:endParaRPr>
          </a:p>
          <a:p>
            <a:pPr marL="457189" indent="-457189" defTabSz="1219170">
              <a:spcAft>
                <a:spcPts val="1067"/>
              </a:spcAft>
              <a:buClr>
                <a:srgbClr val="ED7D31"/>
              </a:buClr>
              <a:buFont typeface="Symbol" panose="05050102010706020507" pitchFamily="18" charset="2"/>
              <a:buChar char=""/>
              <a:defRPr/>
            </a:pPr>
            <a:r>
              <a:rPr lang="en-GB" sz="1600" b="1" dirty="0">
                <a:solidFill>
                  <a:srgbClr val="ED7D31"/>
                </a:solidFill>
                <a:latin typeface="Arial" panose="020B0604020202020204" pitchFamily="34" charset="0"/>
                <a:cs typeface="Arial" panose="020B0604020202020204" pitchFamily="34" charset="0"/>
              </a:rPr>
              <a:t>Disclose</a:t>
            </a:r>
            <a:r>
              <a:rPr lang="en-GB" sz="1600" dirty="0">
                <a:solidFill>
                  <a:srgbClr val="000000"/>
                </a:solidFill>
                <a:latin typeface="Arial" panose="020B0604020202020204" pitchFamily="34" charset="0"/>
                <a:ea typeface="Times New Roman" panose="02020603050405020304" pitchFamily="18" charset="0"/>
                <a:cs typeface="Arial" panose="020B0604020202020204" pitchFamily="34" charset="0"/>
              </a:rPr>
              <a:t> </a:t>
            </a:r>
            <a:r>
              <a:rPr lang="en-GB" sz="1600" dirty="0">
                <a:solidFill>
                  <a:prstClr val="black"/>
                </a:solidFill>
                <a:latin typeface="Arial" panose="020B0604020202020204" pitchFamily="34" charset="0"/>
                <a:ea typeface="Times New Roman" panose="02020603050405020304" pitchFamily="18" charset="0"/>
                <a:cs typeface="Arial" panose="020B0604020202020204" pitchFamily="34" charset="0"/>
              </a:rPr>
              <a:t>in their manuscript the use of Generative AI and AI-assisted technologies.</a:t>
            </a:r>
          </a:p>
          <a:p>
            <a:pPr marL="457189" indent="-457189" defTabSz="1219170">
              <a:spcAft>
                <a:spcPts val="1067"/>
              </a:spcAft>
              <a:buClr>
                <a:srgbClr val="ED7D31"/>
              </a:buClr>
              <a:buFont typeface="Symbol" panose="05050102010706020507" pitchFamily="18" charset="2"/>
              <a:buChar char=""/>
              <a:defRPr/>
            </a:pPr>
            <a:endParaRPr lang="en-GB" sz="1600" dirty="0">
              <a:solidFill>
                <a:prstClr val="black"/>
              </a:solidFill>
              <a:latin typeface="Arial" panose="020B0604020202020204" pitchFamily="34" charset="0"/>
              <a:ea typeface="Times New Roman" panose="02020603050405020304" pitchFamily="18" charset="0"/>
              <a:cs typeface="Arial" panose="020B0604020202020204" pitchFamily="34" charset="0"/>
            </a:endParaRPr>
          </a:p>
          <a:p>
            <a:pPr defTabSz="1219170">
              <a:spcAft>
                <a:spcPts val="1067"/>
              </a:spcAft>
              <a:buClr>
                <a:srgbClr val="ED7D31"/>
              </a:buClr>
              <a:defRPr/>
            </a:pPr>
            <a:r>
              <a:rPr lang="en-GB" sz="1600" b="1" dirty="0">
                <a:solidFill>
                  <a:schemeClr val="accent1"/>
                </a:solidFill>
                <a:latin typeface="Arial" panose="020B0604020202020204" pitchFamily="34" charset="0"/>
                <a:ea typeface="Calibri" panose="020F0502020204030204" pitchFamily="34" charset="0"/>
                <a:cs typeface="Arial" panose="020B0604020202020204" pitchFamily="34" charset="0"/>
              </a:rPr>
              <a:t>Author's must </a:t>
            </a:r>
            <a:r>
              <a:rPr lang="en-GB" sz="1600" b="1" u="sng" dirty="0">
                <a:solidFill>
                  <a:schemeClr val="accent1"/>
                </a:solidFill>
                <a:latin typeface="Arial" panose="020B0604020202020204" pitchFamily="34" charset="0"/>
                <a:ea typeface="Calibri" panose="020F0502020204030204" pitchFamily="34" charset="0"/>
                <a:cs typeface="Arial" panose="020B0604020202020204" pitchFamily="34" charset="0"/>
              </a:rPr>
              <a:t>not:</a:t>
            </a:r>
            <a:endParaRPr lang="en-US" sz="1600" b="1" dirty="0">
              <a:solidFill>
                <a:schemeClr val="accent1"/>
              </a:solidFill>
              <a:latin typeface="Arial" panose="020B0604020202020204" pitchFamily="34" charset="0"/>
              <a:ea typeface="Calibri" panose="020F0502020204030204" pitchFamily="34" charset="0"/>
              <a:cs typeface="Arial" panose="020B0604020202020204" pitchFamily="34" charset="0"/>
            </a:endParaRPr>
          </a:p>
          <a:p>
            <a:pPr marL="457189" indent="-457189" defTabSz="1219170">
              <a:spcAft>
                <a:spcPts val="1067"/>
              </a:spcAft>
              <a:buClr>
                <a:srgbClr val="ED7D31"/>
              </a:buClr>
              <a:buFont typeface="Symbol" panose="05050102010706020507" pitchFamily="18" charset="2"/>
              <a:buChar char=""/>
              <a:defRPr/>
            </a:pPr>
            <a:r>
              <a:rPr lang="en-GB" sz="1600" dirty="0">
                <a:solidFill>
                  <a:prstClr val="black"/>
                </a:solidFill>
                <a:latin typeface="Arial" panose="020B0604020202020204" pitchFamily="34" charset="0"/>
                <a:ea typeface="Times New Roman" panose="02020603050405020304" pitchFamily="18" charset="0"/>
                <a:cs typeface="Arial" panose="020B0604020202020204" pitchFamily="34" charset="0"/>
              </a:rPr>
              <a:t>List Generative AI and AI-assisted technologies as an </a:t>
            </a:r>
            <a:r>
              <a:rPr lang="en-GB" sz="1600" b="1" dirty="0">
                <a:solidFill>
                  <a:srgbClr val="ED7D31"/>
                </a:solidFill>
                <a:latin typeface="Arial" panose="020B0604020202020204" pitchFamily="34" charset="0"/>
                <a:ea typeface="Times New Roman" panose="02020603050405020304" pitchFamily="18" charset="0"/>
                <a:cs typeface="Arial" panose="020B0604020202020204" pitchFamily="34" charset="0"/>
              </a:rPr>
              <a:t>author or co-author</a:t>
            </a:r>
            <a:r>
              <a:rPr lang="en-GB" sz="1600" b="1" dirty="0">
                <a:solidFill>
                  <a:prstClr val="black"/>
                </a:solidFill>
                <a:latin typeface="Arial" panose="020B0604020202020204" pitchFamily="34" charset="0"/>
                <a:ea typeface="Times New Roman" panose="02020603050405020304" pitchFamily="18" charset="0"/>
                <a:cs typeface="Arial" panose="020B0604020202020204" pitchFamily="34" charset="0"/>
              </a:rPr>
              <a:t> </a:t>
            </a:r>
            <a:r>
              <a:rPr lang="en-GB" sz="1600" dirty="0">
                <a:solidFill>
                  <a:prstClr val="black"/>
                </a:solidFill>
                <a:latin typeface="Arial" panose="020B0604020202020204" pitchFamily="34" charset="0"/>
                <a:ea typeface="Times New Roman" panose="02020603050405020304" pitchFamily="18" charset="0"/>
                <a:cs typeface="Arial" panose="020B0604020202020204" pitchFamily="34" charset="0"/>
              </a:rPr>
              <a:t>or cite AI as an author</a:t>
            </a:r>
            <a:r>
              <a:rPr lang="en-GB" sz="1600" i="1" dirty="0">
                <a:solidFill>
                  <a:prstClr val="black"/>
                </a:solidFill>
                <a:latin typeface="Arial" panose="020B0604020202020204" pitchFamily="34" charset="0"/>
                <a:ea typeface="Times New Roman" panose="02020603050405020304" pitchFamily="18" charset="0"/>
                <a:cs typeface="Arial" panose="020B0604020202020204" pitchFamily="34" charset="0"/>
              </a:rPr>
              <a:t>. </a:t>
            </a:r>
          </a:p>
          <a:p>
            <a:pPr marL="380990" indent="-380990" defTabSz="1219170">
              <a:buClr>
                <a:srgbClr val="ED7D31"/>
              </a:buClr>
              <a:buFont typeface="Arial" panose="020B0604020202020204" pitchFamily="34" charset="0"/>
              <a:buChar char="•"/>
              <a:defRPr/>
            </a:pPr>
            <a:r>
              <a:rPr lang="en-US" sz="1600" dirty="0">
                <a:latin typeface="Arial" panose="020B0604020202020204" pitchFamily="34" charset="0"/>
                <a:cs typeface="Arial" panose="020B0604020202020204" pitchFamily="34" charset="0"/>
              </a:rPr>
              <a:t>Use </a:t>
            </a:r>
            <a:r>
              <a:rPr lang="en-US" sz="1600" dirty="0">
                <a:solidFill>
                  <a:prstClr val="black"/>
                </a:solidFill>
                <a:latin typeface="Arial" panose="020B0604020202020204" pitchFamily="34" charset="0"/>
                <a:cs typeface="Arial" panose="020B0604020202020204" pitchFamily="34" charset="0"/>
              </a:rPr>
              <a:t>generative AI or AI-assisted tools to create or alter images in submitted manuscripts</a:t>
            </a:r>
            <a:endParaRPr lang="en-US" sz="1600" baseline="30000" dirty="0">
              <a:solidFill>
                <a:prstClr val="black"/>
              </a:solidFill>
              <a:latin typeface="Arial" panose="020B0604020202020204" pitchFamily="34" charset="0"/>
              <a:cs typeface="Arial" panose="020B0604020202020204" pitchFamily="34" charset="0"/>
            </a:endParaRPr>
          </a:p>
          <a:p>
            <a:pPr marL="380990" indent="-380990" defTabSz="1219170">
              <a:buClr>
                <a:srgbClr val="ED7D31"/>
              </a:buClr>
              <a:buFont typeface="Arial" panose="020B0604020202020204" pitchFamily="34" charset="0"/>
              <a:buChar char="•"/>
              <a:defRPr/>
            </a:pPr>
            <a:endParaRPr lang="en-US" sz="1600" baseline="30000" dirty="0">
              <a:solidFill>
                <a:prstClr val="black"/>
              </a:solidFill>
              <a:latin typeface="Arial" panose="020B0604020202020204" pitchFamily="34" charset="0"/>
              <a:cs typeface="Arial" panose="020B0604020202020204" pitchFamily="34" charset="0"/>
            </a:endParaRPr>
          </a:p>
          <a:p>
            <a:pPr marL="990575" lvl="1" indent="-380990" defTabSz="1219170">
              <a:buClr>
                <a:srgbClr val="ED7D31"/>
              </a:buClr>
              <a:buFont typeface="Arial" panose="020B0604020202020204" pitchFamily="34" charset="0"/>
              <a:buChar char="•"/>
              <a:defRPr/>
            </a:pPr>
            <a:r>
              <a:rPr lang="en-US" sz="1600" b="1" dirty="0">
                <a:solidFill>
                  <a:prstClr val="black"/>
                </a:solidFill>
                <a:latin typeface="Arial" panose="020B0604020202020204" pitchFamily="34" charset="0"/>
                <a:ea typeface="Calibri" panose="020F0502020204030204" pitchFamily="34" charset="0"/>
                <a:cs typeface="Arial" panose="020B0604020202020204" pitchFamily="34" charset="0"/>
              </a:rPr>
              <a:t>Exception: </a:t>
            </a:r>
            <a:r>
              <a:rPr lang="en-US" sz="1600" dirty="0">
                <a:solidFill>
                  <a:prstClr val="black"/>
                </a:solidFill>
                <a:latin typeface="Arial" panose="020B0604020202020204" pitchFamily="34" charset="0"/>
                <a:ea typeface="Calibri" panose="020F0502020204030204" pitchFamily="34" charset="0"/>
                <a:cs typeface="Arial" panose="020B0604020202020204" pitchFamily="34" charset="0"/>
              </a:rPr>
              <a:t>Where the use of Generative AI or AI-assisted tools is part of the </a:t>
            </a:r>
            <a:r>
              <a:rPr lang="en-US" sz="1600" b="1" dirty="0">
                <a:solidFill>
                  <a:srgbClr val="ED7D31"/>
                </a:solidFill>
                <a:latin typeface="Arial" panose="020B0604020202020204" pitchFamily="34" charset="0"/>
                <a:ea typeface="Calibri" panose="020F0502020204030204" pitchFamily="34" charset="0"/>
                <a:cs typeface="Arial" panose="020B0604020202020204" pitchFamily="34" charset="0"/>
              </a:rPr>
              <a:t>research design or research methods</a:t>
            </a:r>
            <a:r>
              <a:rPr lang="en-US" sz="1600" dirty="0">
                <a:solidFill>
                  <a:srgbClr val="ED7D31"/>
                </a:solidFill>
                <a:latin typeface="Arial" panose="020B0604020202020204" pitchFamily="34" charset="0"/>
                <a:ea typeface="Calibri" panose="020F0502020204030204" pitchFamily="34" charset="0"/>
                <a:cs typeface="Arial" panose="020B0604020202020204" pitchFamily="34" charset="0"/>
              </a:rPr>
              <a:t> </a:t>
            </a:r>
            <a:r>
              <a:rPr lang="en-US" sz="1600" dirty="0">
                <a:solidFill>
                  <a:prstClr val="black"/>
                </a:solidFill>
                <a:latin typeface="Arial" panose="020B0604020202020204" pitchFamily="34" charset="0"/>
                <a:ea typeface="Calibri" panose="020F0502020204030204" pitchFamily="34" charset="0"/>
                <a:cs typeface="Arial" panose="020B0604020202020204" pitchFamily="34" charset="0"/>
              </a:rPr>
              <a:t>(such as in AI-assisted imaging approaches to generate or interpret the underlying research data),</a:t>
            </a:r>
            <a:r>
              <a:rPr lang="en-US" sz="1600" dirty="0">
                <a:solidFill>
                  <a:srgbClr val="000000"/>
                </a:solidFill>
                <a:latin typeface="Arial" panose="020B0604020202020204" pitchFamily="34" charset="0"/>
                <a:ea typeface="Calibri" panose="020F0502020204030204" pitchFamily="34" charset="0"/>
                <a:cs typeface="Arial" panose="020B0604020202020204" pitchFamily="34" charset="0"/>
              </a:rPr>
              <a:t> </a:t>
            </a:r>
            <a:r>
              <a:rPr lang="en-US" sz="1600" dirty="0">
                <a:solidFill>
                  <a:prstClr val="black"/>
                </a:solidFill>
                <a:latin typeface="Arial" panose="020B0604020202020204" pitchFamily="34" charset="0"/>
                <a:ea typeface="Calibri" panose="020F0502020204030204" pitchFamily="34" charset="0"/>
                <a:cs typeface="Arial" panose="020B0604020202020204" pitchFamily="34" charset="0"/>
              </a:rPr>
              <a:t>such use must be described in a reproducible manner in the methods section.</a:t>
            </a:r>
          </a:p>
          <a:p>
            <a:pPr marL="457189" indent="-457189" defTabSz="1219170">
              <a:spcAft>
                <a:spcPts val="1067"/>
              </a:spcAft>
              <a:buClr>
                <a:srgbClr val="ED7D31"/>
              </a:buClr>
              <a:buFont typeface="Symbol" panose="05050102010706020507" pitchFamily="18" charset="2"/>
              <a:buChar char=""/>
              <a:defRPr/>
            </a:pPr>
            <a:endParaRPr lang="en-GB" sz="1600" i="1" dirty="0">
              <a:solidFill>
                <a:prstClr val="black"/>
              </a:solidFill>
              <a:latin typeface="Arial" panose="020B0604020202020204" pitchFamily="34" charset="0"/>
              <a:ea typeface="Times New Roman" panose="02020603050405020304" pitchFamily="18" charset="0"/>
              <a:cs typeface="Arial" panose="020B0604020202020204" pitchFamily="34" charset="0"/>
            </a:endParaRPr>
          </a:p>
        </p:txBody>
      </p:sp>
      <p:pic>
        <p:nvPicPr>
          <p:cNvPr id="12" name="Picture 11" descr="A cartoon of a person holding a piece of paper&#10;&#10;Description automatically generated">
            <a:extLst>
              <a:ext uri="{FF2B5EF4-FFF2-40B4-BE49-F238E27FC236}">
                <a16:creationId xmlns:a16="http://schemas.microsoft.com/office/drawing/2014/main" id="{E2E37B4D-900C-7BAF-1A39-3A41F3A7327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32870" y="1268123"/>
            <a:ext cx="2204701" cy="1932277"/>
          </a:xfrm>
          <a:prstGeom prst="rect">
            <a:avLst/>
          </a:prstGeom>
        </p:spPr>
      </p:pic>
      <p:sp>
        <p:nvSpPr>
          <p:cNvPr id="3" name="TextBox 2">
            <a:extLst>
              <a:ext uri="{FF2B5EF4-FFF2-40B4-BE49-F238E27FC236}">
                <a16:creationId xmlns:a16="http://schemas.microsoft.com/office/drawing/2014/main" id="{D6ADEE23-8B5E-E66C-72BB-81DA74ACEB2B}"/>
              </a:ext>
            </a:extLst>
          </p:cNvPr>
          <p:cNvSpPr txBox="1"/>
          <p:nvPr/>
        </p:nvSpPr>
        <p:spPr>
          <a:xfrm>
            <a:off x="74533" y="6433330"/>
            <a:ext cx="9225877" cy="369332"/>
          </a:xfrm>
          <a:prstGeom prst="rect">
            <a:avLst/>
          </a:prstGeom>
          <a:noFill/>
        </p:spPr>
        <p:txBody>
          <a:bodyPr wrap="square">
            <a:spAutoFit/>
          </a:bodyPr>
          <a:lstStyle/>
          <a:p>
            <a:r>
              <a:rPr lang="en-US" sz="1800" dirty="0">
                <a:solidFill>
                  <a:schemeClr val="accent1"/>
                </a:solidFill>
                <a:latin typeface="Georgia" panose="02040502050405020303" pitchFamily="18" charset="0"/>
                <a:hlinkClick r:id="rId4">
                  <a:extLst>
                    <a:ext uri="{A12FA001-AC4F-418D-AE19-62706E023703}">
                      <ahyp:hlinkClr xmlns:ahyp="http://schemas.microsoft.com/office/drawing/2018/hyperlinkcolor" val="tx"/>
                    </a:ext>
                  </a:extLst>
                </a:hlinkClick>
              </a:rPr>
              <a:t>Elsevier's full “Responsible AI Principles</a:t>
            </a:r>
            <a:r>
              <a:rPr lang="en-US" sz="1800" dirty="0">
                <a:solidFill>
                  <a:schemeClr val="accent1"/>
                </a:solidFill>
                <a:latin typeface="Georgia" panose="02040502050405020303" pitchFamily="18" charset="0"/>
              </a:rPr>
              <a:t>” and policy can be found </a:t>
            </a:r>
            <a:r>
              <a:rPr lang="en-US" sz="1800" b="1" u="sng" dirty="0">
                <a:solidFill>
                  <a:schemeClr val="accent1"/>
                </a:solidFill>
                <a:latin typeface="Georgia" panose="02040502050405020303" pitchFamily="18" charset="0"/>
              </a:rPr>
              <a:t>here </a:t>
            </a:r>
            <a:endParaRPr lang="en-GB" dirty="0">
              <a:solidFill>
                <a:schemeClr val="accent1"/>
              </a:solidFill>
            </a:endParaRPr>
          </a:p>
        </p:txBody>
      </p:sp>
    </p:spTree>
    <p:extLst>
      <p:ext uri="{BB962C8B-B14F-4D97-AF65-F5344CB8AC3E}">
        <p14:creationId xmlns:p14="http://schemas.microsoft.com/office/powerpoint/2010/main" val="4155316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9">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DB84EFB0-E421-7B38-61F0-83EB1EEC322F}"/>
            </a:ext>
          </a:extLst>
        </p:cNvPr>
        <p:cNvGrpSpPr/>
        <p:nvPr/>
      </p:nvGrpSpPr>
      <p:grpSpPr>
        <a:xfrm>
          <a:off x="0" y="0"/>
          <a:ext cx="0" cy="0"/>
          <a:chOff x="0" y="0"/>
          <a:chExt cx="0" cy="0"/>
        </a:xfrm>
      </p:grpSpPr>
      <p:sp>
        <p:nvSpPr>
          <p:cNvPr id="8" name="Text Placeholder 1">
            <a:extLst>
              <a:ext uri="{FF2B5EF4-FFF2-40B4-BE49-F238E27FC236}">
                <a16:creationId xmlns:a16="http://schemas.microsoft.com/office/drawing/2014/main" id="{70EBBE65-7C5E-F881-8A03-950D2222F71C}"/>
              </a:ext>
            </a:extLst>
          </p:cNvPr>
          <p:cNvSpPr txBox="1">
            <a:spLocks/>
          </p:cNvSpPr>
          <p:nvPr/>
        </p:nvSpPr>
        <p:spPr>
          <a:xfrm>
            <a:off x="303293" y="204586"/>
            <a:ext cx="7825747" cy="1108293"/>
          </a:xfrm>
          <a:prstGeom prst="rect">
            <a:avLst/>
          </a:prstGeom>
        </p:spPr>
        <p:txBody>
          <a:bodyPr anchor="ctr">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609585">
              <a:buNone/>
            </a:pPr>
            <a:r>
              <a:rPr lang="en-US" sz="4600" dirty="0">
                <a:solidFill>
                  <a:schemeClr val="accent2"/>
                </a:solidFill>
                <a:latin typeface="Georgia" panose="02040502050405020303" pitchFamily="18" charset="0"/>
              </a:rPr>
              <a:t>7. The submission journey</a:t>
            </a:r>
            <a:endParaRPr lang="en-US" sz="4600" b="1" dirty="0">
              <a:solidFill>
                <a:schemeClr val="accent2"/>
              </a:solidFill>
              <a:latin typeface="Georgia" panose="02040502050405020303" pitchFamily="18" charset="0"/>
            </a:endParaRPr>
          </a:p>
        </p:txBody>
      </p:sp>
      <p:grpSp>
        <p:nvGrpSpPr>
          <p:cNvPr id="13" name="Group 12">
            <a:extLst>
              <a:ext uri="{FF2B5EF4-FFF2-40B4-BE49-F238E27FC236}">
                <a16:creationId xmlns:a16="http://schemas.microsoft.com/office/drawing/2014/main" id="{57E16137-C03E-5F68-3652-CA053C746C32}"/>
              </a:ext>
            </a:extLst>
          </p:cNvPr>
          <p:cNvGrpSpPr>
            <a:grpSpLocks noChangeAspect="1"/>
          </p:cNvGrpSpPr>
          <p:nvPr/>
        </p:nvGrpSpPr>
        <p:grpSpPr>
          <a:xfrm>
            <a:off x="10845469" y="190059"/>
            <a:ext cx="1079408" cy="1188245"/>
            <a:chOff x="0" y="-2994"/>
            <a:chExt cx="896785" cy="987208"/>
          </a:xfrm>
        </p:grpSpPr>
        <p:sp>
          <p:nvSpPr>
            <p:cNvPr id="14" name="Rectangle 13">
              <a:extLst>
                <a:ext uri="{FF2B5EF4-FFF2-40B4-BE49-F238E27FC236}">
                  <a16:creationId xmlns:a16="http://schemas.microsoft.com/office/drawing/2014/main" id="{3C42167A-BFDE-FD33-6A5B-79B012D7EBC0}"/>
                </a:ext>
              </a:extLst>
            </p:cNvPr>
            <p:cNvSpPr/>
            <p:nvPr/>
          </p:nvSpPr>
          <p:spPr>
            <a:xfrm>
              <a:off x="0" y="-2994"/>
              <a:ext cx="896785" cy="98720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endParaRPr lang="LID4096" sz="2400">
                <a:solidFill>
                  <a:prstClr val="white"/>
                </a:solidFill>
                <a:latin typeface="Calibri" panose="020F0502020204030204"/>
              </a:endParaRPr>
            </a:p>
          </p:txBody>
        </p:sp>
        <p:pic>
          <p:nvPicPr>
            <p:cNvPr id="16" name="Picture 15">
              <a:extLst>
                <a:ext uri="{FF2B5EF4-FFF2-40B4-BE49-F238E27FC236}">
                  <a16:creationId xmlns:a16="http://schemas.microsoft.com/office/drawing/2014/main" id="{9C0D281B-0677-563F-DB91-0147E93B7D04}"/>
                </a:ext>
              </a:extLst>
            </p:cNvPr>
            <p:cNvPicPr>
              <a:picLocks noChangeAspect="1"/>
            </p:cNvPicPr>
            <p:nvPr/>
          </p:nvPicPr>
          <p:blipFill>
            <a:blip r:embed="rId3"/>
            <a:stretch>
              <a:fillRect/>
            </a:stretch>
          </p:blipFill>
          <p:spPr>
            <a:xfrm>
              <a:off x="56562" y="47135"/>
              <a:ext cx="786452" cy="865707"/>
            </a:xfrm>
            <a:prstGeom prst="rect">
              <a:avLst/>
            </a:prstGeom>
          </p:spPr>
        </p:pic>
      </p:grpSp>
      <p:pic>
        <p:nvPicPr>
          <p:cNvPr id="2" name="Picture Placeholder 13" descr="A group of people in a meeting&#10;&#10;Description automatically generated with low confidence">
            <a:extLst>
              <a:ext uri="{FF2B5EF4-FFF2-40B4-BE49-F238E27FC236}">
                <a16:creationId xmlns:a16="http://schemas.microsoft.com/office/drawing/2014/main" id="{0C2C87DC-BA5E-67AD-B07B-36C85B36FA33}"/>
              </a:ext>
            </a:extLst>
          </p:cNvPr>
          <p:cNvPicPr>
            <a:picLocks noChangeAspect="1"/>
          </p:cNvPicPr>
          <p:nvPr/>
        </p:nvPicPr>
        <p:blipFill rotWithShape="1">
          <a:blip r:embed="rId4">
            <a:extLst>
              <a:ext uri="{28A0092B-C50C-407E-A947-70E740481C1C}">
                <a14:useLocalDpi xmlns:a14="http://schemas.microsoft.com/office/drawing/2010/main" val="0"/>
              </a:ext>
            </a:extLst>
          </a:blip>
          <a:srcRect t="20" b="20"/>
          <a:stretch/>
        </p:blipFill>
        <p:spPr>
          <a:xfrm>
            <a:off x="303293" y="2598821"/>
            <a:ext cx="6798869" cy="3824364"/>
          </a:xfrm>
          <a:prstGeom prst="rect">
            <a:avLst/>
          </a:prstGeom>
        </p:spPr>
      </p:pic>
    </p:spTree>
    <p:extLst>
      <p:ext uri="{BB962C8B-B14F-4D97-AF65-F5344CB8AC3E}">
        <p14:creationId xmlns:p14="http://schemas.microsoft.com/office/powerpoint/2010/main" val="1989757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4341451" y="2084754"/>
            <a:ext cx="2622431" cy="1043796"/>
          </a:xfrm>
          <a:prstGeom prst="rect">
            <a:avLst/>
          </a:prstGeom>
          <a:solidFill>
            <a:schemeClr val="accent2">
              <a:lumMod val="60000"/>
              <a:lumOff val="40000"/>
            </a:schemeClr>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1219170"/>
            <a:r>
              <a:rPr lang="en-GB" dirty="0">
                <a:solidFill>
                  <a:prstClr val="white"/>
                </a:solidFill>
                <a:latin typeface="Arial" panose="020B0604020202020204" pitchFamily="34" charset="0"/>
                <a:cs typeface="Arial" panose="020B0604020202020204" pitchFamily="34" charset="0"/>
              </a:rPr>
              <a:t>Screened by Editorial Team</a:t>
            </a:r>
          </a:p>
        </p:txBody>
      </p:sp>
      <p:sp>
        <p:nvSpPr>
          <p:cNvPr id="8" name="Rectangle 7"/>
          <p:cNvSpPr/>
          <p:nvPr/>
        </p:nvSpPr>
        <p:spPr>
          <a:xfrm>
            <a:off x="312985" y="1146959"/>
            <a:ext cx="2034348" cy="1043796"/>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1219170"/>
            <a:r>
              <a:rPr lang="en-GB" dirty="0">
                <a:solidFill>
                  <a:prstClr val="white"/>
                </a:solidFill>
                <a:latin typeface="Arial" panose="020B0604020202020204" pitchFamily="34" charset="0"/>
                <a:cs typeface="Arial" panose="020B0604020202020204" pitchFamily="34" charset="0"/>
              </a:rPr>
              <a:t>Desk Reject</a:t>
            </a:r>
          </a:p>
        </p:txBody>
      </p:sp>
      <p:sp>
        <p:nvSpPr>
          <p:cNvPr id="10" name="Rectangle 9"/>
          <p:cNvSpPr/>
          <p:nvPr/>
        </p:nvSpPr>
        <p:spPr>
          <a:xfrm>
            <a:off x="8642459" y="1668857"/>
            <a:ext cx="2358107" cy="1043796"/>
          </a:xfrm>
          <a:prstGeom prst="rect">
            <a:avLst/>
          </a:prstGeom>
          <a:solidFill>
            <a:schemeClr val="accent4"/>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1219170"/>
            <a:r>
              <a:rPr lang="en-GB" dirty="0">
                <a:solidFill>
                  <a:schemeClr val="tx2"/>
                </a:solidFill>
                <a:latin typeface="Arial" panose="020B0604020202020204" pitchFamily="34" charset="0"/>
                <a:cs typeface="Arial" panose="020B0604020202020204" pitchFamily="34" charset="0"/>
              </a:rPr>
              <a:t>Sent to specialist Editor for assessment &amp; peer review</a:t>
            </a:r>
          </a:p>
        </p:txBody>
      </p:sp>
      <p:sp>
        <p:nvSpPr>
          <p:cNvPr id="11" name="Rectangle 10"/>
          <p:cNvSpPr/>
          <p:nvPr/>
        </p:nvSpPr>
        <p:spPr>
          <a:xfrm>
            <a:off x="8788103" y="3487090"/>
            <a:ext cx="2066820" cy="1043796"/>
          </a:xfrm>
          <a:prstGeom prst="rect">
            <a:avLst/>
          </a:prstGeom>
          <a:solidFill>
            <a:schemeClr val="accent6"/>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1219170"/>
            <a:r>
              <a:rPr lang="en-GB" dirty="0">
                <a:solidFill>
                  <a:prstClr val="white"/>
                </a:solidFill>
                <a:latin typeface="Arial" panose="020B0604020202020204" pitchFamily="34" charset="0"/>
                <a:cs typeface="Arial" panose="020B0604020202020204" pitchFamily="34" charset="0"/>
              </a:rPr>
              <a:t>Reviewers’</a:t>
            </a:r>
          </a:p>
          <a:p>
            <a:pPr algn="ctr" defTabSz="1219170"/>
            <a:r>
              <a:rPr lang="en-GB" dirty="0">
                <a:solidFill>
                  <a:prstClr val="white"/>
                </a:solidFill>
                <a:latin typeface="Arial" panose="020B0604020202020204" pitchFamily="34" charset="0"/>
                <a:cs typeface="Arial" panose="020B0604020202020204" pitchFamily="34" charset="0"/>
              </a:rPr>
              <a:t>Comments</a:t>
            </a:r>
          </a:p>
        </p:txBody>
      </p:sp>
      <p:sp>
        <p:nvSpPr>
          <p:cNvPr id="12" name="Rectangle 11"/>
          <p:cNvSpPr/>
          <p:nvPr/>
        </p:nvSpPr>
        <p:spPr>
          <a:xfrm>
            <a:off x="9081079" y="5305323"/>
            <a:ext cx="1480868" cy="985510"/>
          </a:xfrm>
          <a:prstGeom prst="rect">
            <a:avLst/>
          </a:prstGeom>
          <a:solidFill>
            <a:schemeClr val="accent6">
              <a:lumMod val="60000"/>
              <a:lumOff val="40000"/>
            </a:schemeClr>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1219170"/>
            <a:r>
              <a:rPr lang="en-GB" dirty="0">
                <a:solidFill>
                  <a:schemeClr val="tx2"/>
                </a:solidFill>
                <a:latin typeface="Arial" panose="020B0604020202020204" pitchFamily="34" charset="0"/>
                <a:cs typeface="Arial" panose="020B0604020202020204" pitchFamily="34" charset="0"/>
              </a:rPr>
              <a:t>Editorial Decision</a:t>
            </a:r>
          </a:p>
        </p:txBody>
      </p:sp>
      <p:sp>
        <p:nvSpPr>
          <p:cNvPr id="13" name="Rectangle 12"/>
          <p:cNvSpPr/>
          <p:nvPr/>
        </p:nvSpPr>
        <p:spPr>
          <a:xfrm>
            <a:off x="5982657" y="6105005"/>
            <a:ext cx="1480868" cy="576533"/>
          </a:xfrm>
          <a:prstGeom prst="rect">
            <a:avLst/>
          </a:prstGeom>
          <a:solidFill>
            <a:schemeClr val="accent2"/>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1219170"/>
            <a:r>
              <a:rPr lang="en-GB" dirty="0">
                <a:solidFill>
                  <a:prstClr val="white"/>
                </a:solidFill>
                <a:latin typeface="Arial" panose="020B0604020202020204" pitchFamily="34" charset="0"/>
                <a:cs typeface="Arial" panose="020B0604020202020204" pitchFamily="34" charset="0"/>
              </a:rPr>
              <a:t>Accept</a:t>
            </a:r>
          </a:p>
        </p:txBody>
      </p:sp>
      <p:sp>
        <p:nvSpPr>
          <p:cNvPr id="15" name="Rectangle 14"/>
          <p:cNvSpPr/>
          <p:nvPr/>
        </p:nvSpPr>
        <p:spPr>
          <a:xfrm>
            <a:off x="5982658" y="4594485"/>
            <a:ext cx="1480868" cy="588023"/>
          </a:xfrm>
          <a:prstGeom prst="rect">
            <a:avLst/>
          </a:prstGeom>
          <a:solidFill>
            <a:schemeClr val="accent6"/>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1219170"/>
            <a:r>
              <a:rPr lang="en-GB" dirty="0">
                <a:solidFill>
                  <a:prstClr val="white"/>
                </a:solidFill>
                <a:latin typeface="Arial" panose="020B0604020202020204" pitchFamily="34" charset="0"/>
                <a:cs typeface="Arial" panose="020B0604020202020204" pitchFamily="34" charset="0"/>
              </a:rPr>
              <a:t>Major/Minor Revisions</a:t>
            </a:r>
          </a:p>
        </p:txBody>
      </p:sp>
      <p:sp>
        <p:nvSpPr>
          <p:cNvPr id="16" name="Rectangle 15"/>
          <p:cNvSpPr/>
          <p:nvPr/>
        </p:nvSpPr>
        <p:spPr>
          <a:xfrm>
            <a:off x="5962138" y="5382659"/>
            <a:ext cx="1480868" cy="588023"/>
          </a:xfrm>
          <a:prstGeom prst="rect">
            <a:avLst/>
          </a:prstGeom>
          <a:solidFill>
            <a:schemeClr val="accent3"/>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1219170"/>
            <a:r>
              <a:rPr lang="en-GB" dirty="0">
                <a:solidFill>
                  <a:prstClr val="white"/>
                </a:solidFill>
                <a:latin typeface="Arial" panose="020B0604020202020204" pitchFamily="34" charset="0"/>
                <a:cs typeface="Arial" panose="020B0604020202020204" pitchFamily="34" charset="0"/>
              </a:rPr>
              <a:t>Reject</a:t>
            </a:r>
          </a:p>
        </p:txBody>
      </p:sp>
      <p:cxnSp>
        <p:nvCxnSpPr>
          <p:cNvPr id="20" name="Straight Arrow Connector 19"/>
          <p:cNvCxnSpPr>
            <a:cxnSpLocks/>
          </p:cNvCxnSpPr>
          <p:nvPr/>
        </p:nvCxnSpPr>
        <p:spPr>
          <a:xfrm flipH="1" flipV="1">
            <a:off x="7564527" y="4786194"/>
            <a:ext cx="1498709" cy="847081"/>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cxnSpLocks/>
          </p:cNvCxnSpPr>
          <p:nvPr/>
        </p:nvCxnSpPr>
        <p:spPr>
          <a:xfrm flipH="1">
            <a:off x="7513814" y="5698545"/>
            <a:ext cx="1567265" cy="0"/>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cxnSpLocks/>
            <a:stCxn id="12" idx="1"/>
          </p:cNvCxnSpPr>
          <p:nvPr/>
        </p:nvCxnSpPr>
        <p:spPr>
          <a:xfrm flipH="1">
            <a:off x="7472183" y="5798078"/>
            <a:ext cx="1608896" cy="799878"/>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a:xfrm>
            <a:off x="4341451" y="222659"/>
            <a:ext cx="2622431" cy="1043796"/>
          </a:xfrm>
          <a:prstGeom prst="rect">
            <a:avLst/>
          </a:prstGeom>
          <a:solidFill>
            <a:schemeClr val="accent2"/>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1219170"/>
            <a:r>
              <a:rPr lang="en-GB" dirty="0">
                <a:solidFill>
                  <a:prstClr val="white"/>
                </a:solidFill>
                <a:latin typeface="Arial" panose="020B0604020202020204" pitchFamily="34" charset="0"/>
                <a:cs typeface="Arial" panose="020B0604020202020204" pitchFamily="34" charset="0"/>
              </a:rPr>
              <a:t>Submit manuscript to Journal</a:t>
            </a:r>
          </a:p>
        </p:txBody>
      </p:sp>
      <p:sp>
        <p:nvSpPr>
          <p:cNvPr id="21" name="Rectangle 20">
            <a:extLst>
              <a:ext uri="{FF2B5EF4-FFF2-40B4-BE49-F238E27FC236}">
                <a16:creationId xmlns:a16="http://schemas.microsoft.com/office/drawing/2014/main" id="{EFDC687D-D4F1-A5D1-9437-B73D417949CA}"/>
              </a:ext>
            </a:extLst>
          </p:cNvPr>
          <p:cNvSpPr/>
          <p:nvPr/>
        </p:nvSpPr>
        <p:spPr>
          <a:xfrm>
            <a:off x="310826" y="2471119"/>
            <a:ext cx="2034348" cy="1309229"/>
          </a:xfrm>
          <a:prstGeom prst="rect">
            <a:avLst/>
          </a:prstGeom>
          <a:solidFill>
            <a:schemeClr val="accent2">
              <a:lumMod val="40000"/>
              <a:lumOff val="60000"/>
            </a:schemeClr>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1219170"/>
            <a:r>
              <a:rPr lang="en-GB" dirty="0">
                <a:solidFill>
                  <a:schemeClr val="tx2"/>
                </a:solidFill>
                <a:latin typeface="Arial" panose="020B0604020202020204" pitchFamily="34" charset="0"/>
                <a:cs typeface="Arial" panose="020B0604020202020204" pitchFamily="34" charset="0"/>
              </a:rPr>
              <a:t>Returned for minor improvements</a:t>
            </a:r>
          </a:p>
        </p:txBody>
      </p:sp>
      <p:cxnSp>
        <p:nvCxnSpPr>
          <p:cNvPr id="4" name="Connector: Elbow 3">
            <a:extLst>
              <a:ext uri="{FF2B5EF4-FFF2-40B4-BE49-F238E27FC236}">
                <a16:creationId xmlns:a16="http://schemas.microsoft.com/office/drawing/2014/main" id="{926D8CD3-8736-C040-E6A7-E98F0B8DCB97}"/>
              </a:ext>
            </a:extLst>
          </p:cNvPr>
          <p:cNvCxnSpPr>
            <a:cxnSpLocks/>
            <a:stCxn id="15" idx="1"/>
            <a:endCxn id="11" idx="1"/>
          </p:cNvCxnSpPr>
          <p:nvPr/>
        </p:nvCxnSpPr>
        <p:spPr>
          <a:xfrm rot="10800000" flipH="1">
            <a:off x="5982657" y="4008989"/>
            <a:ext cx="2805445" cy="879509"/>
          </a:xfrm>
          <a:prstGeom prst="bentConnector3">
            <a:avLst>
              <a:gd name="adj1" fmla="val -8148"/>
            </a:avLst>
          </a:prstGeom>
          <a:ln w="38100">
            <a:solidFill>
              <a:schemeClr val="accent1"/>
            </a:solidFill>
            <a:prstDash val="sysDash"/>
            <a:tailEnd type="triangle"/>
          </a:ln>
        </p:spPr>
        <p:style>
          <a:lnRef idx="2">
            <a:schemeClr val="accent1"/>
          </a:lnRef>
          <a:fillRef idx="0">
            <a:schemeClr val="accent1"/>
          </a:fillRef>
          <a:effectRef idx="1">
            <a:schemeClr val="accent1"/>
          </a:effectRef>
          <a:fontRef idx="minor">
            <a:schemeClr val="tx1"/>
          </a:fontRef>
        </p:style>
      </p:cxnSp>
      <p:grpSp>
        <p:nvGrpSpPr>
          <p:cNvPr id="14" name="Group 13">
            <a:extLst>
              <a:ext uri="{FF2B5EF4-FFF2-40B4-BE49-F238E27FC236}">
                <a16:creationId xmlns:a16="http://schemas.microsoft.com/office/drawing/2014/main" id="{2855E27D-DA39-E70D-C348-644D71C27828}"/>
              </a:ext>
            </a:extLst>
          </p:cNvPr>
          <p:cNvGrpSpPr>
            <a:grpSpLocks noChangeAspect="1"/>
          </p:cNvGrpSpPr>
          <p:nvPr/>
        </p:nvGrpSpPr>
        <p:grpSpPr>
          <a:xfrm>
            <a:off x="11096787" y="87983"/>
            <a:ext cx="971448" cy="1069400"/>
            <a:chOff x="0" y="-2994"/>
            <a:chExt cx="896785" cy="987208"/>
          </a:xfrm>
        </p:grpSpPr>
        <p:sp>
          <p:nvSpPr>
            <p:cNvPr id="22" name="Rectangle 21">
              <a:extLst>
                <a:ext uri="{FF2B5EF4-FFF2-40B4-BE49-F238E27FC236}">
                  <a16:creationId xmlns:a16="http://schemas.microsoft.com/office/drawing/2014/main" id="{D013E38F-0E97-455F-8611-A67C588C3FA6}"/>
                </a:ext>
              </a:extLst>
            </p:cNvPr>
            <p:cNvSpPr/>
            <p:nvPr/>
          </p:nvSpPr>
          <p:spPr>
            <a:xfrm>
              <a:off x="0" y="-2994"/>
              <a:ext cx="896785" cy="98720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endParaRPr lang="LID4096">
                <a:solidFill>
                  <a:prstClr val="white"/>
                </a:solidFill>
                <a:latin typeface="Arial" panose="020B0604020202020204" pitchFamily="34" charset="0"/>
                <a:cs typeface="Arial" panose="020B0604020202020204" pitchFamily="34" charset="0"/>
              </a:endParaRPr>
            </a:p>
          </p:txBody>
        </p:sp>
        <p:pic>
          <p:nvPicPr>
            <p:cNvPr id="23" name="Picture 22">
              <a:extLst>
                <a:ext uri="{FF2B5EF4-FFF2-40B4-BE49-F238E27FC236}">
                  <a16:creationId xmlns:a16="http://schemas.microsoft.com/office/drawing/2014/main" id="{3119351A-4A5D-282F-09BE-D295BF2B307E}"/>
                </a:ext>
              </a:extLst>
            </p:cNvPr>
            <p:cNvPicPr>
              <a:picLocks noChangeAspect="1"/>
            </p:cNvPicPr>
            <p:nvPr/>
          </p:nvPicPr>
          <p:blipFill>
            <a:blip r:embed="rId3"/>
            <a:stretch>
              <a:fillRect/>
            </a:stretch>
          </p:blipFill>
          <p:spPr>
            <a:xfrm>
              <a:off x="56562" y="47135"/>
              <a:ext cx="786452" cy="865707"/>
            </a:xfrm>
            <a:prstGeom prst="rect">
              <a:avLst/>
            </a:prstGeom>
          </p:spPr>
        </p:pic>
      </p:grpSp>
      <p:cxnSp>
        <p:nvCxnSpPr>
          <p:cNvPr id="2" name="Straight Arrow Connector 1">
            <a:extLst>
              <a:ext uri="{FF2B5EF4-FFF2-40B4-BE49-F238E27FC236}">
                <a16:creationId xmlns:a16="http://schemas.microsoft.com/office/drawing/2014/main" id="{81FE467E-3EB6-7960-B2C2-4ACC497E53E4}"/>
              </a:ext>
            </a:extLst>
          </p:cNvPr>
          <p:cNvCxnSpPr>
            <a:cxnSpLocks/>
          </p:cNvCxnSpPr>
          <p:nvPr/>
        </p:nvCxnSpPr>
        <p:spPr>
          <a:xfrm flipH="1" flipV="1">
            <a:off x="2494622" y="1668857"/>
            <a:ext cx="1697636" cy="895392"/>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5DF02E05-F45C-7C04-C2EC-15BF771AECF8}"/>
              </a:ext>
            </a:extLst>
          </p:cNvPr>
          <p:cNvCxnSpPr>
            <a:cxnSpLocks/>
            <a:endCxn id="10" idx="1"/>
          </p:cNvCxnSpPr>
          <p:nvPr/>
        </p:nvCxnSpPr>
        <p:spPr>
          <a:xfrm flipV="1">
            <a:off x="7023188" y="2190755"/>
            <a:ext cx="1619271" cy="373494"/>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4C8127CB-AA7F-8371-27AC-CDC258F53A06}"/>
              </a:ext>
            </a:extLst>
          </p:cNvPr>
          <p:cNvCxnSpPr>
            <a:cxnSpLocks/>
            <a:endCxn id="11" idx="0"/>
          </p:cNvCxnSpPr>
          <p:nvPr/>
        </p:nvCxnSpPr>
        <p:spPr>
          <a:xfrm>
            <a:off x="9821512" y="2838922"/>
            <a:ext cx="1" cy="648168"/>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6675BAFB-4A28-B620-470C-8E16B3D2F679}"/>
              </a:ext>
            </a:extLst>
          </p:cNvPr>
          <p:cNvCxnSpPr>
            <a:cxnSpLocks/>
            <a:endCxn id="12" idx="0"/>
          </p:cNvCxnSpPr>
          <p:nvPr/>
        </p:nvCxnSpPr>
        <p:spPr>
          <a:xfrm>
            <a:off x="9821512" y="4514287"/>
            <a:ext cx="1" cy="791036"/>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93CB664A-75E9-F78B-2D25-ABCB80A2F2A7}"/>
              </a:ext>
            </a:extLst>
          </p:cNvPr>
          <p:cNvCxnSpPr>
            <a:cxnSpLocks/>
            <a:stCxn id="39" idx="2"/>
            <a:endCxn id="5" idx="0"/>
          </p:cNvCxnSpPr>
          <p:nvPr/>
        </p:nvCxnSpPr>
        <p:spPr>
          <a:xfrm>
            <a:off x="5652667" y="1266455"/>
            <a:ext cx="0" cy="818299"/>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BE5DEB5C-BE49-500A-CED9-0CB1946602AC}"/>
              </a:ext>
            </a:extLst>
          </p:cNvPr>
          <p:cNvCxnSpPr>
            <a:cxnSpLocks/>
          </p:cNvCxnSpPr>
          <p:nvPr/>
        </p:nvCxnSpPr>
        <p:spPr>
          <a:xfrm flipH="1">
            <a:off x="2492463" y="2712653"/>
            <a:ext cx="1699795" cy="408420"/>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5870837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6"/>
          <p:cNvSpPr txBox="1">
            <a:spLocks/>
          </p:cNvSpPr>
          <p:nvPr/>
        </p:nvSpPr>
        <p:spPr>
          <a:xfrm>
            <a:off x="1981201" y="705204"/>
            <a:ext cx="8238319" cy="418645"/>
          </a:xfrm>
          <a:prstGeom prst="rect">
            <a:avLst/>
          </a:prstGeom>
        </p:spPr>
        <p:txBody>
          <a:bodyPr vert="horz" lIns="91440" tIns="45720" rIns="91440" bIns="45720" rtlCol="0" anchor="ctr">
            <a:noAutofit/>
          </a:bodyPr>
          <a:lstStyle>
            <a:lvl1pPr algn="l" defTabSz="457200" rtl="0" eaLnBrk="1" latinLnBrk="0" hangingPunct="1">
              <a:spcBef>
                <a:spcPct val="0"/>
              </a:spcBef>
              <a:buNone/>
              <a:defRPr sz="2400" b="0" i="0" kern="1200">
                <a:solidFill>
                  <a:schemeClr val="accent1"/>
                </a:solidFill>
                <a:latin typeface="Arial Bold"/>
                <a:ea typeface="+mj-ea"/>
                <a:cs typeface="Arial Bold"/>
              </a:defRPr>
            </a:lvl1pPr>
          </a:lstStyle>
          <a:p>
            <a:pPr defTabSz="457189">
              <a:defRPr/>
            </a:pPr>
            <a:endParaRPr lang="en-US" dirty="0">
              <a:solidFill>
                <a:srgbClr val="007398"/>
              </a:solidFill>
            </a:endParaRPr>
          </a:p>
        </p:txBody>
      </p:sp>
      <p:sp>
        <p:nvSpPr>
          <p:cNvPr id="4" name="Title 4">
            <a:extLst>
              <a:ext uri="{FF2B5EF4-FFF2-40B4-BE49-F238E27FC236}">
                <a16:creationId xmlns:a16="http://schemas.microsoft.com/office/drawing/2014/main" id="{D2FCC1DD-096C-485B-8D38-F77BF59BAA61}"/>
              </a:ext>
            </a:extLst>
          </p:cNvPr>
          <p:cNvSpPr>
            <a:spLocks noGrp="1"/>
          </p:cNvSpPr>
          <p:nvPr>
            <p:ph type="ctrTitle"/>
          </p:nvPr>
        </p:nvSpPr>
        <p:spPr>
          <a:xfrm>
            <a:off x="372626" y="333132"/>
            <a:ext cx="6816945" cy="744144"/>
          </a:xfrm>
        </p:spPr>
        <p:txBody>
          <a:bodyPr>
            <a:normAutofit/>
          </a:bodyPr>
          <a:lstStyle/>
          <a:p>
            <a:pPr>
              <a:defRPr/>
            </a:pPr>
            <a:r>
              <a:rPr lang="en-GB" altLang="zh-CN" sz="2400" dirty="0">
                <a:solidFill>
                  <a:schemeClr val="accent1"/>
                </a:solidFill>
                <a:latin typeface="Georgia" panose="02040502050405020303" pitchFamily="18" charset="0"/>
                <a:ea typeface="宋体" pitchFamily="2" charset="-122"/>
                <a:cs typeface="Arial Bold" panose="020B0704020202020204" pitchFamily="34" charset="0"/>
              </a:rPr>
              <a:t>First Decision: Major/Minor Revisions</a:t>
            </a:r>
            <a:endParaRPr lang="en-US" altLang="zh-CN" sz="2400" dirty="0">
              <a:solidFill>
                <a:schemeClr val="accent1"/>
              </a:solidFill>
              <a:latin typeface="Georgia" panose="02040502050405020303" pitchFamily="18" charset="0"/>
              <a:ea typeface="宋体" pitchFamily="2" charset="-122"/>
              <a:cs typeface="Arial Bold" panose="020B0704020202020204" pitchFamily="34" charset="0"/>
            </a:endParaRPr>
          </a:p>
        </p:txBody>
      </p:sp>
      <p:sp>
        <p:nvSpPr>
          <p:cNvPr id="2" name="Text Placeholder 1">
            <a:extLst>
              <a:ext uri="{FF2B5EF4-FFF2-40B4-BE49-F238E27FC236}">
                <a16:creationId xmlns:a16="http://schemas.microsoft.com/office/drawing/2014/main" id="{82E77065-BD41-0E22-8006-96850DB85D36}"/>
              </a:ext>
            </a:extLst>
          </p:cNvPr>
          <p:cNvSpPr>
            <a:spLocks noGrp="1"/>
          </p:cNvSpPr>
          <p:nvPr>
            <p:ph type="body" sz="quarter" idx="13"/>
          </p:nvPr>
        </p:nvSpPr>
        <p:spPr>
          <a:xfrm>
            <a:off x="10976567" y="298804"/>
            <a:ext cx="736600" cy="812800"/>
          </a:xfrm>
        </p:spPr>
        <p:txBody>
          <a:bodyPr/>
          <a:lstStyle/>
          <a:p>
            <a:endParaRPr lang="en-US" dirty="0"/>
          </a:p>
        </p:txBody>
      </p:sp>
      <p:sp>
        <p:nvSpPr>
          <p:cNvPr id="5" name="Content Placeholder 9">
            <a:extLst>
              <a:ext uri="{FF2B5EF4-FFF2-40B4-BE49-F238E27FC236}">
                <a16:creationId xmlns:a16="http://schemas.microsoft.com/office/drawing/2014/main" id="{FE1F6FA1-B6D8-4608-BF23-7982FA528C77}"/>
              </a:ext>
            </a:extLst>
          </p:cNvPr>
          <p:cNvSpPr txBox="1">
            <a:spLocks/>
          </p:cNvSpPr>
          <p:nvPr/>
        </p:nvSpPr>
        <p:spPr>
          <a:xfrm>
            <a:off x="220745" y="1197247"/>
            <a:ext cx="7321764" cy="5105400"/>
          </a:xfrm>
          <a:prstGeom prst="rect">
            <a:avLst/>
          </a:prstGeom>
        </p:spPr>
        <p:txBody>
          <a:bodyPr vert="horz" lIns="91440" tIns="45720" rIns="91440" bIns="45720" rtlCol="0" anchor="t">
            <a:normAutofit/>
          </a:bodyPr>
          <a:lstStyle>
            <a:lvl1pPr marL="342900" indent="-256032" algn="l" defTabSz="457200" rtl="0" eaLnBrk="1" latinLnBrk="0" hangingPunct="1">
              <a:spcBef>
                <a:spcPct val="20000"/>
              </a:spcBef>
              <a:buFont typeface="Arial"/>
              <a:buChar char="•"/>
              <a:defRPr sz="2000" kern="1200">
                <a:solidFill>
                  <a:schemeClr val="tx1"/>
                </a:solidFill>
                <a:latin typeface="Calibri" pitchFamily="34" charset="0"/>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Calibri" pitchFamily="34" charset="0"/>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Calibri" pitchFamily="34" charset="0"/>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Calibri" pitchFamily="34" charset="0"/>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Calibri" pitchFamily="34" charset="0"/>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209121" indent="-285320" defTabSz="457189"/>
            <a:r>
              <a:rPr lang="en-GB" sz="1600" dirty="0">
                <a:solidFill>
                  <a:srgbClr val="53565A"/>
                </a:solidFill>
                <a:latin typeface="Arial"/>
              </a:rPr>
              <a:t>The manuscript </a:t>
            </a:r>
            <a:r>
              <a:rPr lang="en-GB" sz="1600" b="1" i="1" dirty="0">
                <a:solidFill>
                  <a:srgbClr val="53565A"/>
                </a:solidFill>
                <a:latin typeface="Arial"/>
              </a:rPr>
              <a:t>may</a:t>
            </a:r>
            <a:r>
              <a:rPr lang="en-GB" sz="1600" dirty="0">
                <a:solidFill>
                  <a:srgbClr val="53565A"/>
                </a:solidFill>
                <a:latin typeface="Arial"/>
              </a:rPr>
              <a:t> eventually be published in the journal, but changes are needed:</a:t>
            </a:r>
          </a:p>
          <a:p>
            <a:pPr marL="742508" lvl="1" indent="-285320" defTabSz="457189"/>
            <a:r>
              <a:rPr lang="en-GB" sz="1600" dirty="0">
                <a:solidFill>
                  <a:srgbClr val="53565A"/>
                </a:solidFill>
                <a:latin typeface="Arial"/>
                <a:cs typeface="Arial"/>
              </a:rPr>
              <a:t>Changes may be  </a:t>
            </a:r>
            <a:r>
              <a:rPr lang="en-GB" sz="1600" b="1" dirty="0">
                <a:solidFill>
                  <a:srgbClr val="53565A"/>
                </a:solidFill>
                <a:latin typeface="Arial"/>
                <a:cs typeface="Arial"/>
              </a:rPr>
              <a:t>major</a:t>
            </a:r>
            <a:r>
              <a:rPr lang="en-GB" sz="1600" dirty="0">
                <a:solidFill>
                  <a:srgbClr val="53565A"/>
                </a:solidFill>
                <a:latin typeface="Arial"/>
                <a:cs typeface="Arial"/>
              </a:rPr>
              <a:t>, requiring additional analysis, review of literature or significant modification of text or restructuring</a:t>
            </a:r>
          </a:p>
          <a:p>
            <a:pPr marL="742508" lvl="1" indent="-285320" defTabSz="457189"/>
            <a:r>
              <a:rPr lang="en-GB" sz="1600" dirty="0">
                <a:solidFill>
                  <a:srgbClr val="53565A"/>
                </a:solidFill>
                <a:latin typeface="Arial"/>
                <a:cs typeface="Arial"/>
              </a:rPr>
              <a:t>Or may be more </a:t>
            </a:r>
            <a:r>
              <a:rPr lang="en-GB" sz="1600" b="1" dirty="0">
                <a:solidFill>
                  <a:srgbClr val="53565A"/>
                </a:solidFill>
                <a:latin typeface="Arial"/>
                <a:cs typeface="Arial"/>
              </a:rPr>
              <a:t>minor</a:t>
            </a:r>
            <a:r>
              <a:rPr lang="en-GB" sz="1600" dirty="0">
                <a:solidFill>
                  <a:srgbClr val="53565A"/>
                </a:solidFill>
                <a:latin typeface="Arial"/>
                <a:cs typeface="Arial"/>
              </a:rPr>
              <a:t>, requiring clarification or smaller text changes</a:t>
            </a:r>
          </a:p>
          <a:p>
            <a:pPr marL="742508" lvl="1" indent="-285320" defTabSz="457189"/>
            <a:endParaRPr lang="en-GB" sz="1600" dirty="0">
              <a:solidFill>
                <a:srgbClr val="53565A"/>
              </a:solidFill>
              <a:latin typeface="Arial"/>
              <a:cs typeface="Arial"/>
            </a:endParaRPr>
          </a:p>
          <a:p>
            <a:pPr marL="209121" indent="-285320" defTabSz="457189"/>
            <a:r>
              <a:rPr lang="en-GB" sz="1600" dirty="0">
                <a:solidFill>
                  <a:srgbClr val="53565A"/>
                </a:solidFill>
                <a:latin typeface="Arial"/>
              </a:rPr>
              <a:t>Typically, it means the Editor sees  merit in your work (which is a positive thing!)</a:t>
            </a:r>
          </a:p>
          <a:p>
            <a:pPr marL="209121" indent="-285320" defTabSz="457189"/>
            <a:endParaRPr lang="en-GB" sz="1600" dirty="0">
              <a:solidFill>
                <a:srgbClr val="53565A"/>
              </a:solidFill>
              <a:latin typeface="Arial"/>
            </a:endParaRPr>
          </a:p>
          <a:p>
            <a:pPr marL="209121" indent="-285320" defTabSz="457189"/>
            <a:r>
              <a:rPr lang="en-GB" sz="1600" dirty="0">
                <a:solidFill>
                  <a:srgbClr val="53565A"/>
                </a:solidFill>
                <a:latin typeface="Arial"/>
              </a:rPr>
              <a:t>“Revision” does </a:t>
            </a:r>
            <a:r>
              <a:rPr lang="en-GB" sz="1600" b="1" u="sng" dirty="0">
                <a:solidFill>
                  <a:srgbClr val="53565A"/>
                </a:solidFill>
                <a:latin typeface="Arial"/>
              </a:rPr>
              <a:t>not</a:t>
            </a:r>
            <a:r>
              <a:rPr lang="en-GB" sz="1600" b="1" dirty="0">
                <a:solidFill>
                  <a:srgbClr val="53565A"/>
                </a:solidFill>
                <a:latin typeface="Arial"/>
              </a:rPr>
              <a:t> guarantee </a:t>
            </a:r>
            <a:r>
              <a:rPr lang="en-GB" sz="1600" dirty="0">
                <a:solidFill>
                  <a:srgbClr val="53565A"/>
                </a:solidFill>
                <a:latin typeface="Arial"/>
              </a:rPr>
              <a:t>acceptance after revision, but 	often the article is (eventually) accepted after 2 or more revision rounds </a:t>
            </a:r>
            <a:endParaRPr lang="en-US" sz="1600" dirty="0">
              <a:solidFill>
                <a:srgbClr val="32323E"/>
              </a:solidFill>
              <a:latin typeface="Arial" charset="0"/>
              <a:cs typeface="Arial" charset="0"/>
            </a:endParaRPr>
          </a:p>
        </p:txBody>
      </p:sp>
      <p:grpSp>
        <p:nvGrpSpPr>
          <p:cNvPr id="7" name="Group 6">
            <a:extLst>
              <a:ext uri="{FF2B5EF4-FFF2-40B4-BE49-F238E27FC236}">
                <a16:creationId xmlns:a16="http://schemas.microsoft.com/office/drawing/2014/main" id="{C4B098AC-6E0F-C0F1-F90C-C2B8736E9093}"/>
              </a:ext>
            </a:extLst>
          </p:cNvPr>
          <p:cNvGrpSpPr>
            <a:grpSpLocks noChangeAspect="1"/>
          </p:cNvGrpSpPr>
          <p:nvPr/>
        </p:nvGrpSpPr>
        <p:grpSpPr>
          <a:xfrm>
            <a:off x="10976566" y="190060"/>
            <a:ext cx="948311" cy="1043929"/>
            <a:chOff x="0" y="-2994"/>
            <a:chExt cx="896785" cy="987208"/>
          </a:xfrm>
        </p:grpSpPr>
        <p:sp>
          <p:nvSpPr>
            <p:cNvPr id="8" name="Rectangle 7">
              <a:extLst>
                <a:ext uri="{FF2B5EF4-FFF2-40B4-BE49-F238E27FC236}">
                  <a16:creationId xmlns:a16="http://schemas.microsoft.com/office/drawing/2014/main" id="{BBA3BDC6-71BB-8C7B-8797-F04D0C7F33D7}"/>
                </a:ext>
              </a:extLst>
            </p:cNvPr>
            <p:cNvSpPr/>
            <p:nvPr/>
          </p:nvSpPr>
          <p:spPr>
            <a:xfrm>
              <a:off x="0" y="-2994"/>
              <a:ext cx="896785" cy="98720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endParaRPr lang="LID4096" sz="2400">
                <a:solidFill>
                  <a:prstClr val="white"/>
                </a:solidFill>
                <a:latin typeface="Arial" panose="020B0604020202020204"/>
              </a:endParaRPr>
            </a:p>
          </p:txBody>
        </p:sp>
        <p:pic>
          <p:nvPicPr>
            <p:cNvPr id="9" name="Picture 8">
              <a:extLst>
                <a:ext uri="{FF2B5EF4-FFF2-40B4-BE49-F238E27FC236}">
                  <a16:creationId xmlns:a16="http://schemas.microsoft.com/office/drawing/2014/main" id="{2CB13CDE-4465-4762-69A4-F9F2A1D3F340}"/>
                </a:ext>
              </a:extLst>
            </p:cNvPr>
            <p:cNvPicPr>
              <a:picLocks noChangeAspect="1"/>
            </p:cNvPicPr>
            <p:nvPr/>
          </p:nvPicPr>
          <p:blipFill>
            <a:blip r:embed="rId3"/>
            <a:stretch>
              <a:fillRect/>
            </a:stretch>
          </p:blipFill>
          <p:spPr>
            <a:xfrm>
              <a:off x="56562" y="47135"/>
              <a:ext cx="786452" cy="865707"/>
            </a:xfrm>
            <a:prstGeom prst="rect">
              <a:avLst/>
            </a:prstGeom>
          </p:spPr>
        </p:pic>
      </p:grpSp>
    </p:spTree>
    <p:extLst>
      <p:ext uri="{BB962C8B-B14F-4D97-AF65-F5344CB8AC3E}">
        <p14:creationId xmlns:p14="http://schemas.microsoft.com/office/powerpoint/2010/main" val="1841173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5" name="Title 6"/>
          <p:cNvSpPr txBox="1">
            <a:spLocks/>
          </p:cNvSpPr>
          <p:nvPr/>
        </p:nvSpPr>
        <p:spPr>
          <a:xfrm>
            <a:off x="1981201" y="705204"/>
            <a:ext cx="8238319" cy="418645"/>
          </a:xfrm>
          <a:prstGeom prst="rect">
            <a:avLst/>
          </a:prstGeom>
        </p:spPr>
        <p:txBody>
          <a:bodyPr vert="horz" lIns="91440" tIns="45720" rIns="91440" bIns="45720" rtlCol="0" anchor="ctr">
            <a:noAutofit/>
          </a:bodyPr>
          <a:lstStyle>
            <a:lvl1pPr algn="l" defTabSz="457200" rtl="0" eaLnBrk="1" latinLnBrk="0" hangingPunct="1">
              <a:spcBef>
                <a:spcPct val="0"/>
              </a:spcBef>
              <a:buNone/>
              <a:defRPr sz="2400" b="0" i="0" kern="1200">
                <a:solidFill>
                  <a:schemeClr val="accent1"/>
                </a:solidFill>
                <a:latin typeface="Arial Bold"/>
                <a:ea typeface="+mj-ea"/>
                <a:cs typeface="Arial Bold"/>
              </a:defRPr>
            </a:lvl1pPr>
          </a:lstStyle>
          <a:p>
            <a:pPr defTabSz="457189">
              <a:defRPr/>
            </a:pPr>
            <a:endParaRPr lang="en-US" dirty="0">
              <a:solidFill>
                <a:srgbClr val="007398"/>
              </a:solidFill>
            </a:endParaRPr>
          </a:p>
        </p:txBody>
      </p:sp>
      <p:sp>
        <p:nvSpPr>
          <p:cNvPr id="3" name="TextBox 2">
            <a:extLst>
              <a:ext uri="{FF2B5EF4-FFF2-40B4-BE49-F238E27FC236}">
                <a16:creationId xmlns:a16="http://schemas.microsoft.com/office/drawing/2014/main" id="{6B285F6F-7656-375F-10FE-99B08D462F35}"/>
              </a:ext>
            </a:extLst>
          </p:cNvPr>
          <p:cNvSpPr txBox="1"/>
          <p:nvPr/>
        </p:nvSpPr>
        <p:spPr>
          <a:xfrm>
            <a:off x="-190500" y="177473"/>
            <a:ext cx="9822180" cy="1585627"/>
          </a:xfrm>
          <a:prstGeom prst="rect">
            <a:avLst/>
          </a:prstGeom>
          <a:noFill/>
        </p:spPr>
        <p:txBody>
          <a:bodyPr wrap="square">
            <a:spAutoFit/>
          </a:bodyPr>
          <a:lstStyle/>
          <a:p>
            <a:pPr marL="609584" lvl="1" defTabSz="1219170">
              <a:lnSpc>
                <a:spcPct val="115000"/>
              </a:lnSpc>
              <a:buSzPts val="1000"/>
              <a:tabLst>
                <a:tab pos="609585" algn="l"/>
              </a:tabLst>
            </a:pPr>
            <a:r>
              <a:rPr lang="en-US" sz="4400" kern="100" dirty="0">
                <a:solidFill>
                  <a:schemeClr val="accent2"/>
                </a:solidFill>
                <a:latin typeface="Georgia" panose="02040502050405020303" pitchFamily="18" charset="0"/>
                <a:cs typeface="Arial" panose="020B0604020202020204" pitchFamily="34" charset="0"/>
              </a:rPr>
              <a:t>1. How to find the correct journal for your research </a:t>
            </a:r>
          </a:p>
        </p:txBody>
      </p:sp>
      <p:pic>
        <p:nvPicPr>
          <p:cNvPr id="5" name="Picture 4">
            <a:extLst>
              <a:ext uri="{FF2B5EF4-FFF2-40B4-BE49-F238E27FC236}">
                <a16:creationId xmlns:a16="http://schemas.microsoft.com/office/drawing/2014/main" id="{57795580-1E59-B4FE-1545-190A2F32D54C}"/>
              </a:ext>
            </a:extLst>
          </p:cNvPr>
          <p:cNvPicPr>
            <a:picLocks noChangeAspect="1"/>
          </p:cNvPicPr>
          <p:nvPr/>
        </p:nvPicPr>
        <p:blipFill>
          <a:blip r:embed="rId3"/>
          <a:stretch>
            <a:fillRect/>
          </a:stretch>
        </p:blipFill>
        <p:spPr>
          <a:xfrm>
            <a:off x="217751" y="5863592"/>
            <a:ext cx="737680" cy="816935"/>
          </a:xfrm>
          <a:prstGeom prst="rect">
            <a:avLst/>
          </a:prstGeom>
        </p:spPr>
      </p:pic>
      <p:pic>
        <p:nvPicPr>
          <p:cNvPr id="6" name="Tijdelijke aanduiding voor afbeelding 23" descr="Afbeelding met persoon, binnen, eettafel&#10;&#10;Automatisch gegenereerde beschrijving">
            <a:extLst>
              <a:ext uri="{FF2B5EF4-FFF2-40B4-BE49-F238E27FC236}">
                <a16:creationId xmlns:a16="http://schemas.microsoft.com/office/drawing/2014/main" id="{553958B1-FE7B-4AD4-55ED-2AD2643F6E04}"/>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3" b="3"/>
          <a:stretch/>
        </p:blipFill>
        <p:spPr>
          <a:xfrm>
            <a:off x="217751" y="2737177"/>
            <a:ext cx="7010399" cy="3943350"/>
          </a:xfrm>
          <a:prstGeom prst="rect">
            <a:avLst/>
          </a:prstGeom>
        </p:spPr>
      </p:pic>
      <p:sp>
        <p:nvSpPr>
          <p:cNvPr id="4" name="Text Placeholder 3">
            <a:extLst>
              <a:ext uri="{FF2B5EF4-FFF2-40B4-BE49-F238E27FC236}">
                <a16:creationId xmlns:a16="http://schemas.microsoft.com/office/drawing/2014/main" id="{D13F5969-F2EF-9ACA-D062-140D98AAF8C9}"/>
              </a:ext>
            </a:extLst>
          </p:cNvPr>
          <p:cNvSpPr>
            <a:spLocks noGrp="1"/>
          </p:cNvSpPr>
          <p:nvPr>
            <p:ph type="body" sz="quarter" idx="13"/>
          </p:nvPr>
        </p:nvSpPr>
        <p:spPr>
          <a:xfrm>
            <a:off x="11066781" y="311049"/>
            <a:ext cx="736600" cy="812800"/>
          </a:xfrm>
        </p:spPr>
        <p:txBody>
          <a:bodyPr/>
          <a:lstStyle/>
          <a:p>
            <a:endParaRPr lang="en-GB" dirty="0"/>
          </a:p>
        </p:txBody>
      </p:sp>
    </p:spTree>
    <p:extLst>
      <p:ext uri="{BB962C8B-B14F-4D97-AF65-F5344CB8AC3E}">
        <p14:creationId xmlns:p14="http://schemas.microsoft.com/office/powerpoint/2010/main" val="13141314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6"/>
          <p:cNvSpPr txBox="1">
            <a:spLocks/>
          </p:cNvSpPr>
          <p:nvPr/>
        </p:nvSpPr>
        <p:spPr>
          <a:xfrm>
            <a:off x="1981201" y="705204"/>
            <a:ext cx="8238319" cy="418645"/>
          </a:xfrm>
          <a:prstGeom prst="rect">
            <a:avLst/>
          </a:prstGeom>
        </p:spPr>
        <p:txBody>
          <a:bodyPr vert="horz" lIns="91440" tIns="45720" rIns="91440" bIns="45720" rtlCol="0" anchor="ctr">
            <a:noAutofit/>
          </a:bodyPr>
          <a:lstStyle>
            <a:lvl1pPr algn="l" defTabSz="457200" rtl="0" eaLnBrk="1" latinLnBrk="0" hangingPunct="1">
              <a:spcBef>
                <a:spcPct val="0"/>
              </a:spcBef>
              <a:buNone/>
              <a:defRPr sz="2400" b="0" i="0" kern="1200">
                <a:solidFill>
                  <a:schemeClr val="accent1"/>
                </a:solidFill>
                <a:latin typeface="Arial Bold"/>
                <a:ea typeface="+mj-ea"/>
                <a:cs typeface="Arial Bold"/>
              </a:defRPr>
            </a:lvl1pPr>
          </a:lstStyle>
          <a:p>
            <a:pPr defTabSz="457189">
              <a:defRPr/>
            </a:pPr>
            <a:endParaRPr lang="en-US" dirty="0">
              <a:solidFill>
                <a:srgbClr val="007398"/>
              </a:solidFill>
            </a:endParaRPr>
          </a:p>
        </p:txBody>
      </p:sp>
      <p:sp>
        <p:nvSpPr>
          <p:cNvPr id="4" name="Title 4">
            <a:extLst>
              <a:ext uri="{FF2B5EF4-FFF2-40B4-BE49-F238E27FC236}">
                <a16:creationId xmlns:a16="http://schemas.microsoft.com/office/drawing/2014/main" id="{5FF3055E-9C03-417B-A2F5-56262162279E}"/>
              </a:ext>
            </a:extLst>
          </p:cNvPr>
          <p:cNvSpPr>
            <a:spLocks noGrp="1"/>
          </p:cNvSpPr>
          <p:nvPr>
            <p:ph type="title" idx="4294967295"/>
          </p:nvPr>
        </p:nvSpPr>
        <p:spPr>
          <a:xfrm>
            <a:off x="413288" y="323215"/>
            <a:ext cx="8238067" cy="381000"/>
          </a:xfrm>
        </p:spPr>
        <p:txBody>
          <a:bodyPr vert="horz" lIns="0" tIns="0" rIns="0" bIns="0" rtlCol="0" anchor="t" anchorCtr="0">
            <a:normAutofit/>
          </a:bodyPr>
          <a:lstStyle/>
          <a:p>
            <a:pPr>
              <a:lnSpc>
                <a:spcPct val="100000"/>
              </a:lnSpc>
            </a:pPr>
            <a:r>
              <a:rPr lang="en-GB" altLang="zh-CN" sz="2400" dirty="0">
                <a:solidFill>
                  <a:schemeClr val="accent5"/>
                </a:solidFill>
                <a:latin typeface="Georgia" panose="02040502050405020303" pitchFamily="18" charset="0"/>
                <a:ea typeface="宋体" pitchFamily="2" charset="-122"/>
                <a:cs typeface="Arial Bold" panose="020B0704020202020204" pitchFamily="34" charset="0"/>
              </a:rPr>
              <a:t>Manuscript Revision</a:t>
            </a:r>
            <a:endParaRPr lang="en-US" altLang="zh-CN" sz="2400" dirty="0">
              <a:solidFill>
                <a:schemeClr val="accent5"/>
              </a:solidFill>
              <a:latin typeface="Georgia" panose="02040502050405020303" pitchFamily="18" charset="0"/>
              <a:ea typeface="宋体" pitchFamily="2" charset="-122"/>
              <a:cs typeface="Arial Bold" panose="020B0704020202020204" pitchFamily="34" charset="0"/>
            </a:endParaRPr>
          </a:p>
        </p:txBody>
      </p:sp>
      <p:sp>
        <p:nvSpPr>
          <p:cNvPr id="5" name="Content Placeholder 8">
            <a:extLst>
              <a:ext uri="{FF2B5EF4-FFF2-40B4-BE49-F238E27FC236}">
                <a16:creationId xmlns:a16="http://schemas.microsoft.com/office/drawing/2014/main" id="{5CD6ACDA-EAE3-4D04-A3C6-BC5B57EDAE26}"/>
              </a:ext>
            </a:extLst>
          </p:cNvPr>
          <p:cNvSpPr txBox="1">
            <a:spLocks/>
          </p:cNvSpPr>
          <p:nvPr/>
        </p:nvSpPr>
        <p:spPr>
          <a:xfrm>
            <a:off x="547926" y="2025691"/>
            <a:ext cx="10488452" cy="4209763"/>
          </a:xfrm>
          <a:prstGeom prst="rect">
            <a:avLst/>
          </a:prstGeom>
          <a:ln w="19050">
            <a:solidFill>
              <a:schemeClr val="accent2"/>
            </a:solidFill>
          </a:ln>
        </p:spPr>
        <p:txBody>
          <a:bodyPr vert="horz" lIns="91440" tIns="45720" rIns="91440" bIns="45720" rtlCol="0">
            <a:noAutofit/>
          </a:bodyPr>
          <a:lstStyle>
            <a:lvl1pPr marL="342900" indent="-256032" algn="l" defTabSz="457200" rtl="0" eaLnBrk="1" latinLnBrk="0" hangingPunct="1">
              <a:spcBef>
                <a:spcPct val="20000"/>
              </a:spcBef>
              <a:buFont typeface="Arial"/>
              <a:buChar char="•"/>
              <a:defRPr sz="2000" kern="1200">
                <a:solidFill>
                  <a:schemeClr val="tx1"/>
                </a:solidFill>
                <a:latin typeface="Calibri" pitchFamily="34" charset="0"/>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Calibri" pitchFamily="34" charset="0"/>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Calibri" pitchFamily="34" charset="0"/>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Calibri" pitchFamily="34" charset="0"/>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Calibri" pitchFamily="34" charset="0"/>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86866" indent="0" defTabSz="457189">
              <a:lnSpc>
                <a:spcPct val="110000"/>
              </a:lnSpc>
              <a:buNone/>
            </a:pPr>
            <a:r>
              <a:rPr lang="en-GB" sz="1600" b="1" dirty="0">
                <a:solidFill>
                  <a:srgbClr val="4D4D4D"/>
                </a:solidFill>
                <a:latin typeface="Arial" charset="0"/>
                <a:cs typeface="Arial" charset="0"/>
              </a:rPr>
              <a:t>Prepare a detailed </a:t>
            </a:r>
            <a:r>
              <a:rPr lang="en-GB" sz="1600" b="1" i="1" dirty="0">
                <a:solidFill>
                  <a:srgbClr val="4D4D4D"/>
                </a:solidFill>
                <a:latin typeface="Arial" charset="0"/>
                <a:cs typeface="Arial" charset="0"/>
              </a:rPr>
              <a:t>Response to Reviewers' Letter</a:t>
            </a:r>
          </a:p>
          <a:p>
            <a:pPr marL="742932" lvl="1" indent="-285744" defTabSz="457189">
              <a:lnSpc>
                <a:spcPct val="110000"/>
              </a:lnSpc>
              <a:buSzPct val="125000"/>
              <a:buBlip>
                <a:blip r:embed="rId3"/>
              </a:buBlip>
            </a:pPr>
            <a:r>
              <a:rPr lang="en-GB" sz="1600" b="1" dirty="0">
                <a:solidFill>
                  <a:srgbClr val="4D4D4D"/>
                </a:solidFill>
                <a:latin typeface="Arial" charset="0"/>
                <a:cs typeface="Arial" charset="0"/>
              </a:rPr>
              <a:t>Copy-paste </a:t>
            </a:r>
            <a:r>
              <a:rPr lang="en-GB" sz="1600" b="1" u="sng" dirty="0">
                <a:solidFill>
                  <a:srgbClr val="4D4D4D"/>
                </a:solidFill>
                <a:latin typeface="Arial" charset="0"/>
                <a:cs typeface="Arial" charset="0"/>
              </a:rPr>
              <a:t>each</a:t>
            </a:r>
            <a:r>
              <a:rPr lang="en-GB" sz="1600" b="1" dirty="0">
                <a:solidFill>
                  <a:srgbClr val="4D4D4D"/>
                </a:solidFill>
                <a:latin typeface="Arial" charset="0"/>
                <a:cs typeface="Arial" charset="0"/>
              </a:rPr>
              <a:t> Reviewer comment, stating the reviewer number and the comment number </a:t>
            </a:r>
          </a:p>
          <a:p>
            <a:pPr marL="1142988" lvl="2" indent="-285750" defTabSz="457189">
              <a:lnSpc>
                <a:spcPct val="110000"/>
              </a:lnSpc>
              <a:buSzPct val="125000"/>
              <a:buFont typeface="Wingdings" panose="05000000000000000000" pitchFamily="2" charset="2"/>
              <a:buChar char="§"/>
            </a:pPr>
            <a:r>
              <a:rPr lang="en-GB" dirty="0">
                <a:solidFill>
                  <a:srgbClr val="4D4D4D"/>
                </a:solidFill>
                <a:latin typeface="Arial" charset="0"/>
                <a:cs typeface="Arial" charset="0"/>
              </a:rPr>
              <a:t>Type your response below it</a:t>
            </a:r>
          </a:p>
          <a:p>
            <a:pPr marL="1142988" lvl="2" indent="-285750" defTabSz="457189">
              <a:lnSpc>
                <a:spcPct val="110000"/>
              </a:lnSpc>
              <a:buSzPct val="125000"/>
              <a:buFont typeface="Wingdings" panose="05000000000000000000" pitchFamily="2" charset="2"/>
              <a:buChar char="§"/>
            </a:pPr>
            <a:r>
              <a:rPr lang="en-GB" b="1" dirty="0">
                <a:solidFill>
                  <a:srgbClr val="4D4D4D"/>
                </a:solidFill>
                <a:latin typeface="Arial" charset="0"/>
                <a:cs typeface="Arial" charset="0"/>
              </a:rPr>
              <a:t>State specifically </a:t>
            </a:r>
            <a:r>
              <a:rPr lang="en-GB" dirty="0">
                <a:solidFill>
                  <a:srgbClr val="4D4D4D"/>
                </a:solidFill>
                <a:latin typeface="Arial" charset="0"/>
                <a:cs typeface="Arial" charset="0"/>
              </a:rPr>
              <a:t>which changes you have made to the manuscript</a:t>
            </a:r>
          </a:p>
          <a:p>
            <a:pPr marL="1657327" lvl="3" indent="-285750" defTabSz="457189">
              <a:lnSpc>
                <a:spcPct val="110000"/>
              </a:lnSpc>
              <a:buSzPct val="125000"/>
              <a:buFont typeface="Wingdings" panose="05000000000000000000" pitchFamily="2" charset="2"/>
              <a:buChar char="§"/>
            </a:pPr>
            <a:r>
              <a:rPr lang="en-GB" dirty="0">
                <a:solidFill>
                  <a:srgbClr val="4D4D4D"/>
                </a:solidFill>
                <a:latin typeface="Arial" charset="0"/>
                <a:cs typeface="Arial" charset="0"/>
              </a:rPr>
              <a:t>Include page/line numbers</a:t>
            </a:r>
          </a:p>
          <a:p>
            <a:pPr marL="1657327" lvl="3" indent="-285750" defTabSz="457189">
              <a:lnSpc>
                <a:spcPct val="110000"/>
              </a:lnSpc>
              <a:buSzPct val="125000"/>
              <a:buFont typeface="Wingdings" panose="05000000000000000000" pitchFamily="2" charset="2"/>
              <a:buChar char="§"/>
            </a:pPr>
            <a:r>
              <a:rPr lang="en-GB" dirty="0">
                <a:solidFill>
                  <a:srgbClr val="4D4D4D"/>
                </a:solidFill>
                <a:latin typeface="Arial" charset="0"/>
                <a:cs typeface="Arial" charset="0"/>
              </a:rPr>
              <a:t>Tell them how they can find the response on the manuscript file (colour or the highlights used for example) </a:t>
            </a:r>
          </a:p>
          <a:p>
            <a:pPr marL="457188" lvl="1" indent="0" defTabSz="457189">
              <a:lnSpc>
                <a:spcPct val="110000"/>
              </a:lnSpc>
              <a:buSzPct val="125000"/>
              <a:buNone/>
            </a:pPr>
            <a:endParaRPr lang="en-GB" sz="1600" dirty="0">
              <a:solidFill>
                <a:srgbClr val="4D4D4D"/>
              </a:solidFill>
              <a:latin typeface="Arial" charset="0"/>
              <a:cs typeface="Arial" charset="0"/>
            </a:endParaRPr>
          </a:p>
          <a:p>
            <a:pPr marL="742932" lvl="1" indent="-285744" defTabSz="457189">
              <a:lnSpc>
                <a:spcPct val="110000"/>
              </a:lnSpc>
              <a:buSzPct val="125000"/>
              <a:buBlip>
                <a:blip r:embed="rId3"/>
              </a:buBlip>
            </a:pPr>
            <a:r>
              <a:rPr lang="en-GB" sz="1600" dirty="0">
                <a:solidFill>
                  <a:srgbClr val="4D4D4D"/>
                </a:solidFill>
                <a:latin typeface="Arial" charset="0"/>
                <a:cs typeface="Arial" charset="0"/>
              </a:rPr>
              <a:t>Provide a </a:t>
            </a:r>
            <a:r>
              <a:rPr lang="en-GB" sz="1600" b="1" i="1" dirty="0">
                <a:solidFill>
                  <a:srgbClr val="4D4D4D"/>
                </a:solidFill>
                <a:latin typeface="Arial" charset="0"/>
                <a:cs typeface="Arial" charset="0"/>
              </a:rPr>
              <a:t>scientific</a:t>
            </a:r>
            <a:r>
              <a:rPr lang="en-GB" sz="1600" b="1" dirty="0">
                <a:solidFill>
                  <a:srgbClr val="4D4D4D"/>
                </a:solidFill>
                <a:latin typeface="Arial" charset="0"/>
                <a:cs typeface="Arial" charset="0"/>
              </a:rPr>
              <a:t> response </a:t>
            </a:r>
            <a:r>
              <a:rPr lang="en-GB" sz="1600" dirty="0">
                <a:solidFill>
                  <a:srgbClr val="4D4D4D"/>
                </a:solidFill>
                <a:latin typeface="Arial" charset="0"/>
                <a:cs typeface="Arial" charset="0"/>
              </a:rPr>
              <a:t>to </a:t>
            </a:r>
            <a:r>
              <a:rPr lang="en-GB" sz="1600" u="sng" dirty="0">
                <a:solidFill>
                  <a:srgbClr val="4D4D4D"/>
                </a:solidFill>
                <a:latin typeface="Arial" charset="0"/>
                <a:cs typeface="Arial" charset="0"/>
              </a:rPr>
              <a:t>all</a:t>
            </a:r>
            <a:r>
              <a:rPr lang="en-GB" sz="1600" dirty="0">
                <a:solidFill>
                  <a:srgbClr val="4D4D4D"/>
                </a:solidFill>
                <a:latin typeface="Arial" charset="0"/>
                <a:cs typeface="Arial" charset="0"/>
              </a:rPr>
              <a:t> comments, even those you disagree with stating you:</a:t>
            </a:r>
          </a:p>
          <a:p>
            <a:pPr marL="1276325" lvl="2" indent="-285750" defTabSz="457189">
              <a:lnSpc>
                <a:spcPct val="110000"/>
              </a:lnSpc>
              <a:buSzPct val="125000"/>
              <a:buFont typeface="Wingdings" panose="05000000000000000000" pitchFamily="2" charset="2"/>
              <a:buChar char="§"/>
            </a:pPr>
            <a:r>
              <a:rPr lang="en-GB" dirty="0">
                <a:solidFill>
                  <a:srgbClr val="4D4D4D"/>
                </a:solidFill>
                <a:latin typeface="Arial" charset="0"/>
                <a:cs typeface="Arial" charset="0"/>
              </a:rPr>
              <a:t> Accept and have made the changes </a:t>
            </a:r>
          </a:p>
          <a:p>
            <a:pPr marL="1276325" lvl="2" indent="-285750" defTabSz="457189">
              <a:lnSpc>
                <a:spcPct val="110000"/>
              </a:lnSpc>
              <a:buSzPct val="125000"/>
              <a:buFont typeface="Wingdings" panose="05000000000000000000" pitchFamily="2" charset="2"/>
              <a:buChar char="§"/>
            </a:pPr>
            <a:r>
              <a:rPr lang="en-GB" b="1" dirty="0">
                <a:solidFill>
                  <a:srgbClr val="4D4D4D"/>
                </a:solidFill>
                <a:latin typeface="Arial" charset="0"/>
                <a:cs typeface="Arial" charset="0"/>
              </a:rPr>
              <a:t> Or provide a convincing, solid and professional </a:t>
            </a:r>
            <a:r>
              <a:rPr lang="en-GB" dirty="0">
                <a:solidFill>
                  <a:srgbClr val="4D4D4D"/>
                </a:solidFill>
                <a:latin typeface="Arial" charset="0"/>
                <a:cs typeface="Arial" charset="0"/>
              </a:rPr>
              <a:t>rebuttal when you feel the Reviewer was wrong.</a:t>
            </a:r>
          </a:p>
          <a:p>
            <a:pPr marL="742932" lvl="1" indent="-285744" defTabSz="457189">
              <a:lnSpc>
                <a:spcPct val="110000"/>
              </a:lnSpc>
              <a:buSzPct val="125000"/>
              <a:buBlip>
                <a:blip r:embed="rId3"/>
              </a:buBlip>
            </a:pPr>
            <a:r>
              <a:rPr lang="en-GB" sz="1600" dirty="0">
                <a:solidFill>
                  <a:srgbClr val="4D4D4D"/>
                </a:solidFill>
                <a:latin typeface="Arial" charset="0"/>
                <a:cs typeface="Arial" charset="0"/>
              </a:rPr>
              <a:t>Write in such a manner, that your response can be forwarded to the Reviewer without prior editing</a:t>
            </a:r>
          </a:p>
          <a:p>
            <a:pPr marL="742932" lvl="1" indent="-285744" defTabSz="457189">
              <a:lnSpc>
                <a:spcPct val="110000"/>
              </a:lnSpc>
              <a:buSzPct val="125000"/>
              <a:buBlip>
                <a:blip r:embed="rId3"/>
              </a:buBlip>
            </a:pPr>
            <a:r>
              <a:rPr lang="en-GB" sz="1600" dirty="0">
                <a:solidFill>
                  <a:srgbClr val="4D4D4D"/>
                </a:solidFill>
                <a:latin typeface="Arial" charset="0"/>
                <a:cs typeface="Arial" charset="0"/>
              </a:rPr>
              <a:t>Professional, addressed to each Reviewer in turn</a:t>
            </a:r>
          </a:p>
          <a:p>
            <a:pPr marL="742932" lvl="1" indent="-285744" defTabSz="457189">
              <a:lnSpc>
                <a:spcPct val="110000"/>
              </a:lnSpc>
              <a:buSzPct val="125000"/>
              <a:buBlip>
                <a:blip r:embed="rId3"/>
              </a:buBlip>
            </a:pPr>
            <a:endParaRPr lang="en-GB" sz="1600" dirty="0">
              <a:solidFill>
                <a:srgbClr val="4D4D4D"/>
              </a:solidFill>
              <a:latin typeface="Arial" charset="0"/>
              <a:cs typeface="Arial" charset="0"/>
            </a:endParaRPr>
          </a:p>
          <a:p>
            <a:pPr marL="457189" lvl="1" indent="0" algn="ctr" defTabSz="457189">
              <a:lnSpc>
                <a:spcPct val="110000"/>
              </a:lnSpc>
              <a:buSzPct val="125000"/>
              <a:buNone/>
            </a:pPr>
            <a:r>
              <a:rPr lang="en-GB" sz="1600" b="1" dirty="0">
                <a:solidFill>
                  <a:schemeClr val="accent2"/>
                </a:solidFill>
                <a:latin typeface="Arial" charset="0"/>
                <a:cs typeface="Arial" charset="0"/>
              </a:rPr>
              <a:t>This letter and the manuscript file must remain anonymous </a:t>
            </a:r>
          </a:p>
        </p:txBody>
      </p:sp>
      <p:grpSp>
        <p:nvGrpSpPr>
          <p:cNvPr id="2" name="Group 1">
            <a:extLst>
              <a:ext uri="{FF2B5EF4-FFF2-40B4-BE49-F238E27FC236}">
                <a16:creationId xmlns:a16="http://schemas.microsoft.com/office/drawing/2014/main" id="{1E83D4D2-8E73-787C-71A2-C03F6CF0F54F}"/>
              </a:ext>
            </a:extLst>
          </p:cNvPr>
          <p:cNvGrpSpPr>
            <a:grpSpLocks noChangeAspect="1"/>
          </p:cNvGrpSpPr>
          <p:nvPr/>
        </p:nvGrpSpPr>
        <p:grpSpPr>
          <a:xfrm>
            <a:off x="10976566" y="190060"/>
            <a:ext cx="948311" cy="1043929"/>
            <a:chOff x="0" y="-2994"/>
            <a:chExt cx="896785" cy="987208"/>
          </a:xfrm>
        </p:grpSpPr>
        <p:sp>
          <p:nvSpPr>
            <p:cNvPr id="3" name="Rectangle 2">
              <a:extLst>
                <a:ext uri="{FF2B5EF4-FFF2-40B4-BE49-F238E27FC236}">
                  <a16:creationId xmlns:a16="http://schemas.microsoft.com/office/drawing/2014/main" id="{2FDE6319-044E-61C8-EF4F-0E326CBFFF25}"/>
                </a:ext>
              </a:extLst>
            </p:cNvPr>
            <p:cNvSpPr/>
            <p:nvPr/>
          </p:nvSpPr>
          <p:spPr>
            <a:xfrm>
              <a:off x="0" y="-2994"/>
              <a:ext cx="896785" cy="98720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endParaRPr lang="LID4096" sz="2400">
                <a:solidFill>
                  <a:prstClr val="white"/>
                </a:solidFill>
                <a:latin typeface="Calibri" panose="020F0502020204030204"/>
              </a:endParaRPr>
            </a:p>
          </p:txBody>
        </p:sp>
        <p:pic>
          <p:nvPicPr>
            <p:cNvPr id="6" name="Picture 5">
              <a:extLst>
                <a:ext uri="{FF2B5EF4-FFF2-40B4-BE49-F238E27FC236}">
                  <a16:creationId xmlns:a16="http://schemas.microsoft.com/office/drawing/2014/main" id="{D7C22882-0BD6-8723-8094-7B61E501032D}"/>
                </a:ext>
              </a:extLst>
            </p:cNvPr>
            <p:cNvPicPr>
              <a:picLocks noChangeAspect="1"/>
            </p:cNvPicPr>
            <p:nvPr/>
          </p:nvPicPr>
          <p:blipFill>
            <a:blip r:embed="rId4"/>
            <a:stretch>
              <a:fillRect/>
            </a:stretch>
          </p:blipFill>
          <p:spPr>
            <a:xfrm>
              <a:off x="56562" y="47135"/>
              <a:ext cx="786452" cy="865707"/>
            </a:xfrm>
            <a:prstGeom prst="rect">
              <a:avLst/>
            </a:prstGeom>
          </p:spPr>
        </p:pic>
      </p:grpSp>
      <p:sp>
        <p:nvSpPr>
          <p:cNvPr id="8" name="TextBox 7">
            <a:extLst>
              <a:ext uri="{FF2B5EF4-FFF2-40B4-BE49-F238E27FC236}">
                <a16:creationId xmlns:a16="http://schemas.microsoft.com/office/drawing/2014/main" id="{8CBAEF5B-5146-FE21-F4CD-24861F59C7D0}"/>
              </a:ext>
            </a:extLst>
          </p:cNvPr>
          <p:cNvSpPr txBox="1"/>
          <p:nvPr/>
        </p:nvSpPr>
        <p:spPr>
          <a:xfrm>
            <a:off x="323984" y="942005"/>
            <a:ext cx="9808205" cy="764227"/>
          </a:xfrm>
          <a:prstGeom prst="rect">
            <a:avLst/>
          </a:prstGeom>
        </p:spPr>
        <p:txBody>
          <a:bodyPr vert="horz" lIns="91440" tIns="45720" rIns="91440" bIns="45720" rtlCol="0">
            <a:normAutofit/>
          </a:bodyPr>
          <a:lstStyle>
            <a:defPPr>
              <a:defRPr lang="en-US"/>
            </a:defPPr>
            <a:lvl1pPr marL="65151" indent="0" defTabSz="342900">
              <a:lnSpc>
                <a:spcPct val="110000"/>
              </a:lnSpc>
              <a:spcBef>
                <a:spcPct val="20000"/>
              </a:spcBef>
              <a:buFont typeface="Arial"/>
              <a:buNone/>
              <a:defRPr sz="1350">
                <a:solidFill>
                  <a:srgbClr val="4D4D4D"/>
                </a:solidFill>
                <a:latin typeface="Arial" charset="0"/>
                <a:cs typeface="Arial" charset="0"/>
              </a:defRPr>
            </a:lvl1pPr>
            <a:lvl2pPr marL="557213" lvl="1" indent="-214313" defTabSz="342900">
              <a:lnSpc>
                <a:spcPct val="110000"/>
              </a:lnSpc>
              <a:spcBef>
                <a:spcPct val="20000"/>
              </a:spcBef>
              <a:buSzPct val="125000"/>
              <a:buFont typeface="Wingdings" charset="2"/>
              <a:buBlip>
                <a:blip r:embed="rId3"/>
              </a:buBlip>
              <a:defRPr sz="1350" b="1">
                <a:solidFill>
                  <a:srgbClr val="4D4D4D"/>
                </a:solidFill>
                <a:latin typeface="Arial" charset="0"/>
                <a:cs typeface="Arial" charset="0"/>
              </a:defRPr>
            </a:lvl2pPr>
            <a:lvl3pPr marL="857250" lvl="2" indent="-171450" defTabSz="342900">
              <a:lnSpc>
                <a:spcPct val="110000"/>
              </a:lnSpc>
              <a:spcBef>
                <a:spcPct val="20000"/>
              </a:spcBef>
              <a:buSzPct val="125000"/>
              <a:buFont typeface="Lucida Grande"/>
              <a:buBlip>
                <a:blip r:embed="rId3"/>
              </a:buBlip>
              <a:defRPr sz="1350">
                <a:solidFill>
                  <a:srgbClr val="4D4D4D"/>
                </a:solidFill>
                <a:latin typeface="Arial" charset="0"/>
                <a:cs typeface="Arial" charset="0"/>
              </a:defRPr>
            </a:lvl3pPr>
            <a:lvl4pPr marL="1600200" indent="-228600" defTabSz="457200">
              <a:spcBef>
                <a:spcPct val="20000"/>
              </a:spcBef>
              <a:buSzPct val="90000"/>
              <a:buFont typeface="Lucida Grande"/>
              <a:buChar char="-"/>
              <a:defRPr sz="1600">
                <a:latin typeface="Calibri" pitchFamily="34" charset="0"/>
              </a:defRPr>
            </a:lvl4pPr>
            <a:lvl5pPr marL="2057400" indent="-228600" defTabSz="457200">
              <a:spcBef>
                <a:spcPct val="20000"/>
              </a:spcBef>
              <a:buSzPct val="90000"/>
              <a:buFont typeface="Lucida Grande"/>
              <a:buChar char="-"/>
              <a:defRPr sz="1600">
                <a:latin typeface="Calibri" pitchFamily="34" charset="0"/>
              </a:defRPr>
            </a:lvl5pPr>
            <a:lvl6pPr marL="2514600" indent="-228600" defTabSz="457200">
              <a:spcBef>
                <a:spcPct val="20000"/>
              </a:spcBef>
              <a:buSzPct val="90000"/>
              <a:buFont typeface="Lucida Grande"/>
              <a:buChar char="-"/>
              <a:defRPr sz="1600"/>
            </a:lvl6pPr>
            <a:lvl7pPr marL="2971800" indent="-228600" defTabSz="457200">
              <a:spcBef>
                <a:spcPct val="20000"/>
              </a:spcBef>
              <a:buSzPct val="90000"/>
              <a:buFont typeface="Lucida Grande"/>
              <a:buChar char="-"/>
              <a:defRPr sz="1600"/>
            </a:lvl7pPr>
            <a:lvl8pPr marL="3429000" indent="-228600" defTabSz="457200">
              <a:spcBef>
                <a:spcPct val="20000"/>
              </a:spcBef>
              <a:buSzPct val="90000"/>
              <a:buFont typeface="Lucida Grande"/>
              <a:buChar char="-"/>
              <a:defRPr sz="1600"/>
            </a:lvl8pPr>
            <a:lvl9pPr marL="3886200" indent="-228600" defTabSz="457200">
              <a:spcBef>
                <a:spcPct val="20000"/>
              </a:spcBef>
              <a:buSzPct val="90000"/>
              <a:buFont typeface="Lucida Grande"/>
              <a:buChar char="-"/>
              <a:defRPr sz="1600"/>
            </a:lvl9pPr>
          </a:lstStyle>
          <a:p>
            <a:pPr marL="86866" defTabSz="457189"/>
            <a:r>
              <a:rPr lang="en-US" altLang="en-US" sz="1800" dirty="0"/>
              <a:t>Carefully study the Reviewer’s comments and any made by the Editor</a:t>
            </a:r>
          </a:p>
          <a:p>
            <a:pPr marL="86866" defTabSz="457189"/>
            <a:r>
              <a:rPr lang="en-US" altLang="en-US" sz="1800" dirty="0"/>
              <a:t>Adjust your manuscript and prepare a detailed letter of response (share with all Authors)</a:t>
            </a:r>
          </a:p>
        </p:txBody>
      </p:sp>
    </p:spTree>
    <p:extLst>
      <p:ext uri="{BB962C8B-B14F-4D97-AF65-F5344CB8AC3E}">
        <p14:creationId xmlns:p14="http://schemas.microsoft.com/office/powerpoint/2010/main" val="109479842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7">
            <a:extLst>
              <a:ext uri="{FF2B5EF4-FFF2-40B4-BE49-F238E27FC236}">
                <a16:creationId xmlns:a16="http://schemas.microsoft.com/office/drawing/2014/main" id="{3F700130-0E85-070A-2373-D62A5BE1BD45}"/>
              </a:ext>
            </a:extLst>
          </p:cNvPr>
          <p:cNvSpPr>
            <a:spLocks noGrp="1"/>
          </p:cNvSpPr>
          <p:nvPr>
            <p:ph type="title"/>
          </p:nvPr>
        </p:nvSpPr>
        <p:spPr>
          <a:xfrm>
            <a:off x="139703" y="136498"/>
            <a:ext cx="10429267" cy="673100"/>
          </a:xfrm>
        </p:spPr>
        <p:txBody>
          <a:bodyPr/>
          <a:lstStyle/>
          <a:p>
            <a:r>
              <a:rPr lang="en-US" sz="2400" dirty="0">
                <a:solidFill>
                  <a:schemeClr val="accent2"/>
                </a:solidFill>
                <a:latin typeface="Georgia" panose="02040502050405020303" pitchFamily="18" charset="0"/>
                <a:cs typeface="Arial" panose="020B0604020202020204" pitchFamily="34" charset="0"/>
              </a:rPr>
              <a:t>Final Editorial decision </a:t>
            </a:r>
          </a:p>
        </p:txBody>
      </p:sp>
      <p:sp>
        <p:nvSpPr>
          <p:cNvPr id="10" name="Content Placeholder 5">
            <a:extLst>
              <a:ext uri="{FF2B5EF4-FFF2-40B4-BE49-F238E27FC236}">
                <a16:creationId xmlns:a16="http://schemas.microsoft.com/office/drawing/2014/main" id="{90DEC825-F868-1271-192C-4B7B6E35EADE}"/>
              </a:ext>
            </a:extLst>
          </p:cNvPr>
          <p:cNvSpPr txBox="1">
            <a:spLocks/>
          </p:cNvSpPr>
          <p:nvPr/>
        </p:nvSpPr>
        <p:spPr>
          <a:xfrm>
            <a:off x="318785" y="942975"/>
            <a:ext cx="5608320" cy="5778528"/>
          </a:xfrm>
          <a:prstGeom prst="rect">
            <a:avLst/>
          </a:prstGeom>
          <a:ln>
            <a:solidFill>
              <a:schemeClr val="tx1"/>
            </a:solidFill>
          </a:ln>
        </p:spPr>
        <p:txBody>
          <a:bodyPr vert="horz" lIns="144000" tIns="60960" rIns="121920" bIns="60960" rtlCol="0">
            <a:normAutofit/>
          </a:bodyPr>
          <a:lstStyle/>
          <a:p>
            <a:pPr marL="457189" indent="-457189" defTabSz="1219170">
              <a:spcBef>
                <a:spcPct val="20000"/>
              </a:spcBef>
              <a:defRPr/>
            </a:pPr>
            <a:r>
              <a:rPr lang="en-GB" sz="2133" b="1" dirty="0">
                <a:solidFill>
                  <a:srgbClr val="07779D"/>
                </a:solidFill>
                <a:latin typeface="Arial" panose="020B0604020202020204" pitchFamily="34" charset="0"/>
                <a:cs typeface="Arial" pitchFamily="34" charset="0"/>
              </a:rPr>
              <a:t>Accept</a:t>
            </a:r>
          </a:p>
          <a:p>
            <a:pPr marL="457189" indent="-457189" defTabSz="1219170">
              <a:spcBef>
                <a:spcPct val="20000"/>
              </a:spcBef>
              <a:buFont typeface="Arial" pitchFamily="34" charset="0"/>
              <a:buChar char="•"/>
              <a:defRPr/>
            </a:pPr>
            <a:endParaRPr lang="en-GB" sz="2133" b="1" dirty="0">
              <a:solidFill>
                <a:srgbClr val="07779D"/>
              </a:solidFill>
              <a:latin typeface="Arial" panose="020B0604020202020204" pitchFamily="34" charset="0"/>
              <a:cs typeface="Arial" pitchFamily="34" charset="0"/>
            </a:endParaRPr>
          </a:p>
          <a:p>
            <a:pPr marL="457189" indent="-457189" defTabSz="1219170">
              <a:spcBef>
                <a:spcPct val="20000"/>
              </a:spcBef>
              <a:buFont typeface="Arial" pitchFamily="34" charset="0"/>
              <a:buChar char="•"/>
              <a:defRPr/>
            </a:pPr>
            <a:endParaRPr lang="en-GB" sz="2133" b="1" dirty="0">
              <a:solidFill>
                <a:srgbClr val="07779D"/>
              </a:solidFill>
              <a:latin typeface="Arial" panose="020B0604020202020204" pitchFamily="34" charset="0"/>
              <a:cs typeface="Arial" pitchFamily="34" charset="0"/>
            </a:endParaRPr>
          </a:p>
          <a:p>
            <a:pPr marL="457189" indent="-457189" defTabSz="1219170">
              <a:spcBef>
                <a:spcPct val="20000"/>
              </a:spcBef>
              <a:defRPr/>
            </a:pPr>
            <a:endParaRPr lang="en-GB" sz="2133" b="1" dirty="0">
              <a:solidFill>
                <a:srgbClr val="07779D"/>
              </a:solidFill>
              <a:latin typeface="Arial" panose="020B0604020202020204" pitchFamily="34" charset="0"/>
              <a:cs typeface="Arial" pitchFamily="34" charset="0"/>
            </a:endParaRPr>
          </a:p>
          <a:p>
            <a:pPr marL="457189" indent="-457189" defTabSz="1219170">
              <a:spcBef>
                <a:spcPct val="20000"/>
              </a:spcBef>
              <a:defRPr/>
            </a:pPr>
            <a:endParaRPr lang="en-GB" sz="2133" b="1" dirty="0">
              <a:solidFill>
                <a:srgbClr val="07779D"/>
              </a:solidFill>
              <a:latin typeface="Arial" panose="020B0604020202020204" pitchFamily="34" charset="0"/>
              <a:cs typeface="Arial" pitchFamily="34" charset="0"/>
            </a:endParaRPr>
          </a:p>
          <a:p>
            <a:pPr marL="457189" indent="-457189" defTabSz="1219170">
              <a:spcBef>
                <a:spcPct val="20000"/>
              </a:spcBef>
              <a:defRPr/>
            </a:pPr>
            <a:endParaRPr lang="en-GB" sz="2133" b="1" dirty="0">
              <a:solidFill>
                <a:srgbClr val="07779D"/>
              </a:solidFill>
              <a:latin typeface="Arial" panose="020B0604020202020204" pitchFamily="34" charset="0"/>
              <a:cs typeface="Arial" pitchFamily="34" charset="0"/>
            </a:endParaRPr>
          </a:p>
          <a:p>
            <a:pPr marL="457189" indent="-457189" defTabSz="1219170">
              <a:spcBef>
                <a:spcPct val="20000"/>
              </a:spcBef>
              <a:buFont typeface="Arial" pitchFamily="34" charset="0"/>
              <a:buChar char="•"/>
              <a:defRPr/>
            </a:pPr>
            <a:endParaRPr lang="en-GB" sz="2133" b="1" dirty="0">
              <a:solidFill>
                <a:srgbClr val="07779D"/>
              </a:solidFill>
              <a:latin typeface="Arial" panose="020B0604020202020204" pitchFamily="34" charset="0"/>
              <a:cs typeface="Arial" pitchFamily="34" charset="0"/>
            </a:endParaRPr>
          </a:p>
          <a:p>
            <a:pPr marL="457189" indent="-457189" defTabSz="1219170">
              <a:spcBef>
                <a:spcPct val="20000"/>
              </a:spcBef>
              <a:buFont typeface="Arial" pitchFamily="34" charset="0"/>
              <a:buChar char="•"/>
              <a:defRPr/>
            </a:pPr>
            <a:endParaRPr lang="en-GB" sz="1867" dirty="0">
              <a:solidFill>
                <a:prstClr val="black"/>
              </a:solidFill>
              <a:latin typeface="Arial" pitchFamily="34" charset="0"/>
              <a:cs typeface="Arial" pitchFamily="34" charset="0"/>
            </a:endParaRPr>
          </a:p>
          <a:p>
            <a:pPr marL="457189" indent="-457189" defTabSz="1219170">
              <a:spcBef>
                <a:spcPct val="20000"/>
              </a:spcBef>
              <a:buFont typeface="Arial" pitchFamily="34" charset="0"/>
              <a:buChar char="•"/>
              <a:defRPr/>
            </a:pPr>
            <a:r>
              <a:rPr lang="en-GB" sz="1867" dirty="0">
                <a:solidFill>
                  <a:prstClr val="black"/>
                </a:solidFill>
                <a:latin typeface="Arial" pitchFamily="34" charset="0"/>
                <a:cs typeface="Arial" pitchFamily="34" charset="0"/>
              </a:rPr>
              <a:t>Receive proofs</a:t>
            </a:r>
          </a:p>
          <a:p>
            <a:pPr marL="457189" indent="-457189" defTabSz="1219170">
              <a:spcBef>
                <a:spcPct val="20000"/>
              </a:spcBef>
              <a:buFont typeface="Arial" pitchFamily="34" charset="0"/>
              <a:buChar char="•"/>
              <a:defRPr/>
            </a:pPr>
            <a:r>
              <a:rPr lang="en-GB" sz="1867" dirty="0">
                <a:solidFill>
                  <a:prstClr val="black"/>
                </a:solidFill>
                <a:latin typeface="Arial" pitchFamily="34" charset="0"/>
                <a:cs typeface="Arial" pitchFamily="34" charset="0"/>
              </a:rPr>
              <a:t>Correct the proofs </a:t>
            </a:r>
          </a:p>
          <a:p>
            <a:pPr marL="457189" indent="-457189" defTabSz="1219170">
              <a:spcBef>
                <a:spcPct val="20000"/>
              </a:spcBef>
              <a:buFont typeface="Arial" pitchFamily="34" charset="0"/>
              <a:buChar char="•"/>
              <a:defRPr/>
            </a:pPr>
            <a:r>
              <a:rPr lang="en-GB" sz="1867" dirty="0">
                <a:solidFill>
                  <a:prstClr val="black"/>
                </a:solidFill>
                <a:latin typeface="Arial" pitchFamily="34" charset="0"/>
                <a:cs typeface="Arial" pitchFamily="34" charset="0"/>
              </a:rPr>
              <a:t>Add in anonymised information:</a:t>
            </a:r>
          </a:p>
          <a:p>
            <a:pPr marL="1066773" lvl="1" indent="-457189" defTabSz="1219170">
              <a:spcBef>
                <a:spcPct val="20000"/>
              </a:spcBef>
              <a:buFont typeface="Arial" pitchFamily="34" charset="0"/>
              <a:buChar char="•"/>
              <a:defRPr/>
            </a:pPr>
            <a:r>
              <a:rPr lang="en-GB" sz="1867" dirty="0">
                <a:solidFill>
                  <a:prstClr val="black"/>
                </a:solidFill>
                <a:latin typeface="Arial" pitchFamily="34" charset="0"/>
                <a:cs typeface="Arial" pitchFamily="34" charset="0"/>
              </a:rPr>
              <a:t> Self-citations</a:t>
            </a:r>
          </a:p>
          <a:p>
            <a:pPr marL="1066773" lvl="1" indent="-457189" defTabSz="1219170">
              <a:spcBef>
                <a:spcPct val="20000"/>
              </a:spcBef>
              <a:buFont typeface="Arial" pitchFamily="34" charset="0"/>
              <a:buChar char="•"/>
              <a:defRPr/>
            </a:pPr>
            <a:r>
              <a:rPr lang="en-GB" sz="1867" dirty="0">
                <a:solidFill>
                  <a:prstClr val="black"/>
                </a:solidFill>
                <a:latin typeface="Arial" pitchFamily="34" charset="0"/>
                <a:cs typeface="Arial" pitchFamily="34" charset="0"/>
              </a:rPr>
              <a:t>Acknowledgements</a:t>
            </a:r>
          </a:p>
          <a:p>
            <a:pPr marL="1066773" lvl="1" indent="-457189" defTabSz="1219170">
              <a:spcBef>
                <a:spcPct val="20000"/>
              </a:spcBef>
              <a:buFont typeface="Arial" pitchFamily="34" charset="0"/>
              <a:buChar char="•"/>
              <a:defRPr/>
            </a:pPr>
            <a:r>
              <a:rPr lang="en-GB" sz="1867" dirty="0">
                <a:solidFill>
                  <a:prstClr val="black"/>
                </a:solidFill>
                <a:latin typeface="Arial" pitchFamily="34" charset="0"/>
                <a:cs typeface="Arial" pitchFamily="34" charset="0"/>
              </a:rPr>
              <a:t>Funding statement</a:t>
            </a:r>
          </a:p>
          <a:p>
            <a:pPr marL="457189" indent="-457189" defTabSz="1219170">
              <a:spcBef>
                <a:spcPct val="20000"/>
              </a:spcBef>
              <a:buFont typeface="Arial" pitchFamily="34" charset="0"/>
              <a:buChar char="•"/>
              <a:defRPr/>
            </a:pPr>
            <a:r>
              <a:rPr lang="en-GB" sz="1867" dirty="0">
                <a:solidFill>
                  <a:prstClr val="black"/>
                </a:solidFill>
                <a:latin typeface="Arial" pitchFamily="34" charset="0"/>
                <a:cs typeface="Arial" pitchFamily="34" charset="0"/>
              </a:rPr>
              <a:t>Provide better quality illustrations</a:t>
            </a:r>
          </a:p>
          <a:p>
            <a:pPr marL="457189" indent="-457189" defTabSz="1219170">
              <a:spcBef>
                <a:spcPct val="20000"/>
              </a:spcBef>
              <a:buFont typeface="Arial" pitchFamily="34" charset="0"/>
              <a:buChar char="•"/>
              <a:defRPr/>
            </a:pPr>
            <a:endParaRPr lang="en-GB" sz="1867" dirty="0">
              <a:solidFill>
                <a:prstClr val="black"/>
              </a:solidFill>
              <a:latin typeface="Arial" pitchFamily="34" charset="0"/>
              <a:cs typeface="Arial" pitchFamily="34" charset="0"/>
            </a:endParaRPr>
          </a:p>
          <a:p>
            <a:pPr marL="457189" indent="-457189" defTabSz="1219170">
              <a:spcBef>
                <a:spcPct val="20000"/>
              </a:spcBef>
              <a:buFont typeface="Arial" pitchFamily="34" charset="0"/>
              <a:buChar char="•"/>
              <a:defRPr/>
            </a:pPr>
            <a:endParaRPr lang="en-GB" sz="1867" dirty="0">
              <a:solidFill>
                <a:prstClr val="black"/>
              </a:solidFill>
              <a:latin typeface="Arial" pitchFamily="34" charset="0"/>
              <a:cs typeface="Arial" pitchFamily="34" charset="0"/>
            </a:endParaRPr>
          </a:p>
          <a:p>
            <a:pPr marL="457189" indent="-457189" defTabSz="1219170">
              <a:spcBef>
                <a:spcPct val="20000"/>
              </a:spcBef>
              <a:defRPr/>
            </a:pPr>
            <a:endParaRPr lang="en-US" sz="2133" dirty="0">
              <a:solidFill>
                <a:prstClr val="black"/>
              </a:solidFill>
              <a:latin typeface="Arial" panose="020B0604020202020204" pitchFamily="34" charset="0"/>
              <a:cs typeface="Arial" panose="020B0604020202020204" pitchFamily="34" charset="0"/>
            </a:endParaRPr>
          </a:p>
        </p:txBody>
      </p:sp>
      <p:grpSp>
        <p:nvGrpSpPr>
          <p:cNvPr id="2" name="Group 1">
            <a:extLst>
              <a:ext uri="{FF2B5EF4-FFF2-40B4-BE49-F238E27FC236}">
                <a16:creationId xmlns:a16="http://schemas.microsoft.com/office/drawing/2014/main" id="{214356E0-CA93-30B2-53B8-77C847C9F6E0}"/>
              </a:ext>
            </a:extLst>
          </p:cNvPr>
          <p:cNvGrpSpPr>
            <a:grpSpLocks noChangeAspect="1"/>
          </p:cNvGrpSpPr>
          <p:nvPr/>
        </p:nvGrpSpPr>
        <p:grpSpPr>
          <a:xfrm>
            <a:off x="10976566" y="190060"/>
            <a:ext cx="948311" cy="1043929"/>
            <a:chOff x="0" y="-2994"/>
            <a:chExt cx="896785" cy="987208"/>
          </a:xfrm>
        </p:grpSpPr>
        <p:sp>
          <p:nvSpPr>
            <p:cNvPr id="3" name="Rectangle 2">
              <a:extLst>
                <a:ext uri="{FF2B5EF4-FFF2-40B4-BE49-F238E27FC236}">
                  <a16:creationId xmlns:a16="http://schemas.microsoft.com/office/drawing/2014/main" id="{487D9DC9-0C96-0C3B-F065-384E85D08701}"/>
                </a:ext>
              </a:extLst>
            </p:cNvPr>
            <p:cNvSpPr/>
            <p:nvPr/>
          </p:nvSpPr>
          <p:spPr>
            <a:xfrm>
              <a:off x="0" y="-2994"/>
              <a:ext cx="896785" cy="98720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endParaRPr lang="LID4096" sz="2133">
                <a:solidFill>
                  <a:prstClr val="white"/>
                </a:solidFill>
                <a:latin typeface="Arial" panose="020B0604020202020204" pitchFamily="34" charset="0"/>
                <a:cs typeface="Arial" panose="020B0604020202020204" pitchFamily="34" charset="0"/>
              </a:endParaRPr>
            </a:p>
          </p:txBody>
        </p:sp>
        <p:pic>
          <p:nvPicPr>
            <p:cNvPr id="4" name="Picture 3">
              <a:extLst>
                <a:ext uri="{FF2B5EF4-FFF2-40B4-BE49-F238E27FC236}">
                  <a16:creationId xmlns:a16="http://schemas.microsoft.com/office/drawing/2014/main" id="{BEB25ACA-1934-2C86-7420-9E6881429A9A}"/>
                </a:ext>
              </a:extLst>
            </p:cNvPr>
            <p:cNvPicPr>
              <a:picLocks noChangeAspect="1"/>
            </p:cNvPicPr>
            <p:nvPr/>
          </p:nvPicPr>
          <p:blipFill>
            <a:blip r:embed="rId3"/>
            <a:stretch>
              <a:fillRect/>
            </a:stretch>
          </p:blipFill>
          <p:spPr>
            <a:xfrm>
              <a:off x="56562" y="47135"/>
              <a:ext cx="786452" cy="865707"/>
            </a:xfrm>
            <a:prstGeom prst="rect">
              <a:avLst/>
            </a:prstGeom>
          </p:spPr>
        </p:pic>
      </p:grpSp>
      <p:sp>
        <p:nvSpPr>
          <p:cNvPr id="6" name="Content Placeholder 6">
            <a:extLst>
              <a:ext uri="{FF2B5EF4-FFF2-40B4-BE49-F238E27FC236}">
                <a16:creationId xmlns:a16="http://schemas.microsoft.com/office/drawing/2014/main" id="{171F9281-2D33-E61B-1B53-8A10617A178D}"/>
              </a:ext>
            </a:extLst>
          </p:cNvPr>
          <p:cNvSpPr txBox="1">
            <a:spLocks/>
          </p:cNvSpPr>
          <p:nvPr/>
        </p:nvSpPr>
        <p:spPr>
          <a:xfrm>
            <a:off x="6316556" y="905288"/>
            <a:ext cx="5608320" cy="5778528"/>
          </a:xfrm>
          <a:prstGeom prst="rect">
            <a:avLst/>
          </a:prstGeom>
          <a:ln>
            <a:solidFill>
              <a:schemeClr val="tx2"/>
            </a:solidFill>
          </a:ln>
        </p:spPr>
        <p:txBody>
          <a:bodyPr>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457189" indent="-262460" defTabSz="609585">
              <a:buNone/>
            </a:pPr>
            <a:r>
              <a:rPr lang="en-GB" sz="2133" b="1" dirty="0">
                <a:solidFill>
                  <a:srgbClr val="07779D"/>
                </a:solidFill>
                <a:latin typeface="Arial" panose="020B0604020202020204" pitchFamily="34" charset="0"/>
                <a:cs typeface="Arial" panose="020B0604020202020204" pitchFamily="34" charset="0"/>
              </a:rPr>
              <a:t>Reject</a:t>
            </a:r>
          </a:p>
          <a:p>
            <a:pPr marL="457189" indent="-262460" defTabSz="609585"/>
            <a:r>
              <a:rPr lang="en-GB" sz="1867" dirty="0">
                <a:solidFill>
                  <a:srgbClr val="44546A"/>
                </a:solidFill>
                <a:latin typeface="Arial" panose="020B0604020202020204" pitchFamily="34" charset="0"/>
                <a:cs typeface="Arial" panose="020B0604020202020204" pitchFamily="34" charset="0"/>
              </a:rPr>
              <a:t>Common</a:t>
            </a:r>
          </a:p>
          <a:p>
            <a:pPr marL="990575" lvl="1" indent="-262460" defTabSz="609585"/>
            <a:r>
              <a:rPr lang="en-GB" sz="1867" dirty="0">
                <a:solidFill>
                  <a:srgbClr val="44546A"/>
                </a:solidFill>
                <a:latin typeface="Arial" panose="020B0604020202020204" pitchFamily="34" charset="0"/>
                <a:cs typeface="Arial" panose="020B0604020202020204" pitchFamily="34" charset="0"/>
              </a:rPr>
              <a:t> 40-80% of all submissions, depending on the journal </a:t>
            </a:r>
          </a:p>
          <a:p>
            <a:pPr marL="990575" lvl="1" indent="-262460" defTabSz="609585"/>
            <a:endParaRPr lang="en-GB" sz="1867" dirty="0">
              <a:solidFill>
                <a:srgbClr val="44546A"/>
              </a:solidFill>
              <a:latin typeface="Arial" panose="020B0604020202020204" pitchFamily="34" charset="0"/>
              <a:cs typeface="Arial" panose="020B0604020202020204" pitchFamily="34" charset="0"/>
            </a:endParaRPr>
          </a:p>
          <a:p>
            <a:pPr marL="194728" indent="0" defTabSz="609585">
              <a:buNone/>
            </a:pPr>
            <a:endParaRPr lang="en-GB" sz="2400" b="1" dirty="0">
              <a:solidFill>
                <a:srgbClr val="70AD47"/>
              </a:solidFill>
              <a:latin typeface="Arial" panose="020B0604020202020204" pitchFamily="34" charset="0"/>
              <a:cs typeface="Arial" panose="020B0604020202020204" pitchFamily="34" charset="0"/>
            </a:endParaRPr>
          </a:p>
          <a:p>
            <a:pPr marL="194728" indent="0" defTabSz="609585">
              <a:buNone/>
            </a:pPr>
            <a:endParaRPr lang="en-GB" sz="2400" b="1" dirty="0">
              <a:solidFill>
                <a:srgbClr val="70AD47"/>
              </a:solidFill>
              <a:latin typeface="Arial" panose="020B0604020202020204" pitchFamily="34" charset="0"/>
              <a:cs typeface="Arial" panose="020B0604020202020204" pitchFamily="34" charset="0"/>
            </a:endParaRPr>
          </a:p>
          <a:p>
            <a:pPr marL="194728" indent="0" defTabSz="609585">
              <a:buNone/>
            </a:pPr>
            <a:endParaRPr lang="en-GB" sz="2400" b="1" dirty="0">
              <a:solidFill>
                <a:srgbClr val="70AD47"/>
              </a:solidFill>
              <a:latin typeface="Arial" panose="020B0604020202020204" pitchFamily="34" charset="0"/>
              <a:cs typeface="Arial" panose="020B0604020202020204" pitchFamily="34" charset="0"/>
            </a:endParaRPr>
          </a:p>
          <a:p>
            <a:pPr marL="194728" indent="0" defTabSz="609585">
              <a:buNone/>
            </a:pPr>
            <a:endParaRPr lang="en-GB" sz="2400" b="1" dirty="0">
              <a:solidFill>
                <a:srgbClr val="70AD47"/>
              </a:solidFill>
              <a:latin typeface="Arial" panose="020B0604020202020204" pitchFamily="34" charset="0"/>
              <a:cs typeface="Arial" panose="020B0604020202020204" pitchFamily="34" charset="0"/>
            </a:endParaRPr>
          </a:p>
          <a:p>
            <a:pPr marL="194728" indent="0" defTabSz="609585">
              <a:buNone/>
            </a:pPr>
            <a:endParaRPr lang="en-GB" sz="2400" b="1" dirty="0">
              <a:solidFill>
                <a:srgbClr val="70AD47"/>
              </a:solidFill>
              <a:latin typeface="Arial" panose="020B0604020202020204" pitchFamily="34" charset="0"/>
              <a:cs typeface="Arial" panose="020B0604020202020204" pitchFamily="34" charset="0"/>
            </a:endParaRPr>
          </a:p>
          <a:p>
            <a:pPr marL="194728" indent="0" defTabSz="609585">
              <a:buNone/>
            </a:pPr>
            <a:endParaRPr lang="en-GB" sz="2400" b="1" dirty="0">
              <a:solidFill>
                <a:srgbClr val="70AD47"/>
              </a:solidFill>
              <a:latin typeface="Arial" panose="020B0604020202020204" pitchFamily="34" charset="0"/>
              <a:cs typeface="Arial" panose="020B0604020202020204" pitchFamily="34" charset="0"/>
            </a:endParaRPr>
          </a:p>
          <a:p>
            <a:pPr marL="194728" indent="0" defTabSz="609585">
              <a:buNone/>
            </a:pPr>
            <a:endParaRPr lang="en-GB" sz="2400" b="1" dirty="0">
              <a:solidFill>
                <a:srgbClr val="70AD47"/>
              </a:solidFill>
              <a:latin typeface="Arial" panose="020B0604020202020204" pitchFamily="34" charset="0"/>
              <a:cs typeface="Arial" panose="020B0604020202020204" pitchFamily="34" charset="0"/>
            </a:endParaRPr>
          </a:p>
          <a:p>
            <a:pPr marL="194728" indent="0" defTabSz="609585">
              <a:buNone/>
            </a:pPr>
            <a:r>
              <a:rPr lang="en-GB" sz="2400" b="1" dirty="0">
                <a:solidFill>
                  <a:srgbClr val="70AD47"/>
                </a:solidFill>
                <a:latin typeface="Arial" panose="020B0604020202020204" pitchFamily="34" charset="0"/>
                <a:cs typeface="Arial" panose="020B0604020202020204" pitchFamily="34" charset="0"/>
              </a:rPr>
              <a:t>Do not despair!</a:t>
            </a:r>
          </a:p>
          <a:p>
            <a:pPr marL="990575" lvl="1" indent="-262460" defTabSz="609585"/>
            <a:endParaRPr lang="en-GB" sz="1600" dirty="0">
              <a:solidFill>
                <a:srgbClr val="44546A"/>
              </a:solidFill>
              <a:latin typeface="Arial" panose="020B0604020202020204" pitchFamily="34" charset="0"/>
              <a:cs typeface="Arial" panose="020B0604020202020204" pitchFamily="34" charset="0"/>
            </a:endParaRPr>
          </a:p>
          <a:p>
            <a:pPr marL="457189" indent="-457189" defTabSz="609585"/>
            <a:endParaRPr lang="en-US" sz="2133" dirty="0">
              <a:solidFill>
                <a:prstClr val="black"/>
              </a:solidFill>
              <a:latin typeface="Arial" panose="020B0604020202020204" pitchFamily="34" charset="0"/>
              <a:cs typeface="Arial" panose="020B0604020202020204" pitchFamily="34" charset="0"/>
            </a:endParaRPr>
          </a:p>
        </p:txBody>
      </p:sp>
      <p:pic>
        <p:nvPicPr>
          <p:cNvPr id="7" name="Picture 6">
            <a:extLst>
              <a:ext uri="{FF2B5EF4-FFF2-40B4-BE49-F238E27FC236}">
                <a16:creationId xmlns:a16="http://schemas.microsoft.com/office/drawing/2014/main" id="{6BFC1980-34EC-26C4-7CE7-2490F9E28522}"/>
              </a:ext>
            </a:extLst>
          </p:cNvPr>
          <p:cNvPicPr>
            <a:picLocks noChangeAspect="1"/>
          </p:cNvPicPr>
          <p:nvPr/>
        </p:nvPicPr>
        <p:blipFill>
          <a:blip r:embed="rId4"/>
          <a:srcRect t="-24423" b="24423"/>
          <a:stretch/>
        </p:blipFill>
        <p:spPr>
          <a:xfrm>
            <a:off x="1295907" y="777539"/>
            <a:ext cx="3389404" cy="3054700"/>
          </a:xfrm>
          <a:prstGeom prst="rect">
            <a:avLst/>
          </a:prstGeom>
        </p:spPr>
      </p:pic>
      <p:pic>
        <p:nvPicPr>
          <p:cNvPr id="8" name="Picture 7">
            <a:extLst>
              <a:ext uri="{FF2B5EF4-FFF2-40B4-BE49-F238E27FC236}">
                <a16:creationId xmlns:a16="http://schemas.microsoft.com/office/drawing/2014/main" id="{06313F2C-5EE6-EA80-693F-387BD07C126A}"/>
              </a:ext>
            </a:extLst>
          </p:cNvPr>
          <p:cNvPicPr>
            <a:picLocks noChangeAspect="1"/>
          </p:cNvPicPr>
          <p:nvPr/>
        </p:nvPicPr>
        <p:blipFill>
          <a:blip r:embed="rId5"/>
          <a:stretch>
            <a:fillRect/>
          </a:stretch>
        </p:blipFill>
        <p:spPr>
          <a:xfrm>
            <a:off x="6750767" y="2431551"/>
            <a:ext cx="4585580" cy="3054701"/>
          </a:xfrm>
          <a:prstGeom prst="rect">
            <a:avLst/>
          </a:prstGeom>
        </p:spPr>
      </p:pic>
    </p:spTree>
    <p:extLst>
      <p:ext uri="{BB962C8B-B14F-4D97-AF65-F5344CB8AC3E}">
        <p14:creationId xmlns:p14="http://schemas.microsoft.com/office/powerpoint/2010/main" val="38980054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xEl>
                                              <p:pRg st="8" end="8"/>
                                            </p:txEl>
                                          </p:spTgt>
                                        </p:tgtEl>
                                        <p:attrNameLst>
                                          <p:attrName>style.visibility</p:attrName>
                                        </p:attrNameLst>
                                      </p:cBhvr>
                                      <p:to>
                                        <p:strVal val="visible"/>
                                      </p:to>
                                    </p:set>
                                    <p:animEffect transition="in" filter="fade">
                                      <p:cBhvr>
                                        <p:cTn id="7" dur="500"/>
                                        <p:tgtEl>
                                          <p:spTgt spid="10">
                                            <p:txEl>
                                              <p:pRg st="8" end="8"/>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0">
                                            <p:txEl>
                                              <p:pRg st="9" end="9"/>
                                            </p:txEl>
                                          </p:spTgt>
                                        </p:tgtEl>
                                        <p:attrNameLst>
                                          <p:attrName>style.visibility</p:attrName>
                                        </p:attrNameLst>
                                      </p:cBhvr>
                                      <p:to>
                                        <p:strVal val="visible"/>
                                      </p:to>
                                    </p:set>
                                    <p:animEffect transition="in" filter="fade">
                                      <p:cBhvr>
                                        <p:cTn id="10" dur="500"/>
                                        <p:tgtEl>
                                          <p:spTgt spid="10">
                                            <p:txEl>
                                              <p:pRg st="9" end="9"/>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10">
                                            <p:txEl>
                                              <p:pRg st="10" end="10"/>
                                            </p:txEl>
                                          </p:spTgt>
                                        </p:tgtEl>
                                        <p:attrNameLst>
                                          <p:attrName>style.visibility</p:attrName>
                                        </p:attrNameLst>
                                      </p:cBhvr>
                                      <p:to>
                                        <p:strVal val="visible"/>
                                      </p:to>
                                    </p:set>
                                    <p:animEffect transition="in" filter="fade">
                                      <p:cBhvr>
                                        <p:cTn id="13" dur="500"/>
                                        <p:tgtEl>
                                          <p:spTgt spid="10">
                                            <p:txEl>
                                              <p:pRg st="10" end="10"/>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10">
                                            <p:txEl>
                                              <p:pRg st="11" end="11"/>
                                            </p:txEl>
                                          </p:spTgt>
                                        </p:tgtEl>
                                        <p:attrNameLst>
                                          <p:attrName>style.visibility</p:attrName>
                                        </p:attrNameLst>
                                      </p:cBhvr>
                                      <p:to>
                                        <p:strVal val="visible"/>
                                      </p:to>
                                    </p:set>
                                    <p:animEffect transition="in" filter="fade">
                                      <p:cBhvr>
                                        <p:cTn id="16" dur="500"/>
                                        <p:tgtEl>
                                          <p:spTgt spid="10">
                                            <p:txEl>
                                              <p:pRg st="11" end="11"/>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10">
                                            <p:txEl>
                                              <p:pRg st="12" end="12"/>
                                            </p:txEl>
                                          </p:spTgt>
                                        </p:tgtEl>
                                        <p:attrNameLst>
                                          <p:attrName>style.visibility</p:attrName>
                                        </p:attrNameLst>
                                      </p:cBhvr>
                                      <p:to>
                                        <p:strVal val="visible"/>
                                      </p:to>
                                    </p:set>
                                    <p:animEffect transition="in" filter="fade">
                                      <p:cBhvr>
                                        <p:cTn id="19" dur="500"/>
                                        <p:tgtEl>
                                          <p:spTgt spid="10">
                                            <p:txEl>
                                              <p:pRg st="12" end="12"/>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10">
                                            <p:txEl>
                                              <p:pRg st="13" end="13"/>
                                            </p:txEl>
                                          </p:spTgt>
                                        </p:tgtEl>
                                        <p:attrNameLst>
                                          <p:attrName>style.visibility</p:attrName>
                                        </p:attrNameLst>
                                      </p:cBhvr>
                                      <p:to>
                                        <p:strVal val="visible"/>
                                      </p:to>
                                    </p:set>
                                    <p:animEffect transition="in" filter="fade">
                                      <p:cBhvr>
                                        <p:cTn id="22" dur="500"/>
                                        <p:tgtEl>
                                          <p:spTgt spid="10">
                                            <p:txEl>
                                              <p:pRg st="13" end="13"/>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10">
                                            <p:txEl>
                                              <p:pRg st="14" end="14"/>
                                            </p:txEl>
                                          </p:spTgt>
                                        </p:tgtEl>
                                        <p:attrNameLst>
                                          <p:attrName>style.visibility</p:attrName>
                                        </p:attrNameLst>
                                      </p:cBhvr>
                                      <p:to>
                                        <p:strVal val="visible"/>
                                      </p:to>
                                    </p:set>
                                    <p:animEffect transition="in" filter="fade">
                                      <p:cBhvr>
                                        <p:cTn id="25" dur="500"/>
                                        <p:tgtEl>
                                          <p:spTgt spid="10">
                                            <p:txEl>
                                              <p:pRg st="14" end="14"/>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6">
                                            <p:bg/>
                                          </p:spTgt>
                                        </p:tgtEl>
                                        <p:attrNameLst>
                                          <p:attrName>style.visibility</p:attrName>
                                        </p:attrNameLst>
                                      </p:cBhvr>
                                      <p:to>
                                        <p:strVal val="visible"/>
                                      </p:to>
                                    </p:set>
                                    <p:animEffect transition="in" filter="fade">
                                      <p:cBhvr>
                                        <p:cTn id="30" dur="500"/>
                                        <p:tgtEl>
                                          <p:spTgt spid="6">
                                            <p:bg/>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6">
                                            <p:txEl>
                                              <p:pRg st="0" end="0"/>
                                            </p:txEl>
                                          </p:spTgt>
                                        </p:tgtEl>
                                        <p:attrNameLst>
                                          <p:attrName>style.visibility</p:attrName>
                                        </p:attrNameLst>
                                      </p:cBhvr>
                                      <p:to>
                                        <p:strVal val="visible"/>
                                      </p:to>
                                    </p:set>
                                    <p:animEffect transition="in" filter="fade">
                                      <p:cBhvr>
                                        <p:cTn id="33" dur="500"/>
                                        <p:tgtEl>
                                          <p:spTgt spid="6">
                                            <p:txEl>
                                              <p:pRg st="0" end="0"/>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8"/>
                                        </p:tgtEl>
                                        <p:attrNameLst>
                                          <p:attrName>style.visibility</p:attrName>
                                        </p:attrNameLst>
                                      </p:cBhvr>
                                      <p:to>
                                        <p:strVal val="visible"/>
                                      </p:to>
                                    </p:set>
                                    <p:animEffect transition="in" filter="fade">
                                      <p:cBhvr>
                                        <p:cTn id="36" dur="500"/>
                                        <p:tgtEl>
                                          <p:spTgt spid="8"/>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6">
                                            <p:txEl>
                                              <p:pRg st="1" end="1"/>
                                            </p:txEl>
                                          </p:spTgt>
                                        </p:tgtEl>
                                        <p:attrNameLst>
                                          <p:attrName>style.visibility</p:attrName>
                                        </p:attrNameLst>
                                      </p:cBhvr>
                                      <p:to>
                                        <p:strVal val="visible"/>
                                      </p:to>
                                    </p:set>
                                    <p:animEffect transition="in" filter="fade">
                                      <p:cBhvr>
                                        <p:cTn id="41" dur="500"/>
                                        <p:tgtEl>
                                          <p:spTgt spid="6">
                                            <p:txEl>
                                              <p:pRg st="1" end="1"/>
                                            </p:txEl>
                                          </p:spTgt>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6">
                                            <p:txEl>
                                              <p:pRg st="2" end="2"/>
                                            </p:txEl>
                                          </p:spTgt>
                                        </p:tgtEl>
                                        <p:attrNameLst>
                                          <p:attrName>style.visibility</p:attrName>
                                        </p:attrNameLst>
                                      </p:cBhvr>
                                      <p:to>
                                        <p:strVal val="visible"/>
                                      </p:to>
                                    </p:set>
                                    <p:animEffect transition="in" filter="fade">
                                      <p:cBhvr>
                                        <p:cTn id="44" dur="500"/>
                                        <p:tgtEl>
                                          <p:spTgt spid="6">
                                            <p:txEl>
                                              <p:pRg st="2" end="2"/>
                                            </p:txEl>
                                          </p:spTgt>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6">
                                            <p:txEl>
                                              <p:pRg st="11" end="11"/>
                                            </p:txEl>
                                          </p:spTgt>
                                        </p:tgtEl>
                                        <p:attrNameLst>
                                          <p:attrName>style.visibility</p:attrName>
                                        </p:attrNameLst>
                                      </p:cBhvr>
                                      <p:to>
                                        <p:strVal val="visible"/>
                                      </p:to>
                                    </p:set>
                                    <p:animEffect transition="in" filter="fade">
                                      <p:cBhvr>
                                        <p:cTn id="47" dur="500"/>
                                        <p:tgtEl>
                                          <p:spTgt spid="6">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0487" y="136525"/>
            <a:ext cx="10515600" cy="926400"/>
          </a:xfrm>
        </p:spPr>
        <p:txBody>
          <a:bodyPr vert="horz" lIns="121920" tIns="60960" rIns="121920" bIns="60960" rtlCol="0" anchor="ctr">
            <a:normAutofit/>
          </a:bodyPr>
          <a:lstStyle/>
          <a:p>
            <a:r>
              <a:rPr lang="en-GB" sz="2400" b="1" dirty="0">
                <a:solidFill>
                  <a:schemeClr val="accent2"/>
                </a:solidFill>
                <a:latin typeface="Georgia" panose="02040502050405020303" pitchFamily="18" charset="0"/>
                <a:cs typeface="Arial" panose="020B0604020202020204" pitchFamily="34" charset="0"/>
              </a:rPr>
              <a:t>Do not despair</a:t>
            </a:r>
          </a:p>
        </p:txBody>
      </p:sp>
      <p:sp>
        <p:nvSpPr>
          <p:cNvPr id="3" name="Content Placeholder 2"/>
          <p:cNvSpPr>
            <a:spLocks noGrp="1"/>
          </p:cNvSpPr>
          <p:nvPr>
            <p:ph idx="1"/>
          </p:nvPr>
        </p:nvSpPr>
        <p:spPr>
          <a:xfrm>
            <a:off x="397333" y="1091134"/>
            <a:ext cx="10879621" cy="5342716"/>
          </a:xfrm>
        </p:spPr>
        <p:txBody>
          <a:bodyPr>
            <a:normAutofit/>
          </a:bodyPr>
          <a:lstStyle/>
          <a:p>
            <a:r>
              <a:rPr lang="en-GB" altLang="en-US" sz="1800" dirty="0">
                <a:latin typeface="Arial" panose="020B0604020202020204" pitchFamily="34" charset="0"/>
                <a:cs typeface="Arial" panose="020B0604020202020204" pitchFamily="34" charset="0"/>
              </a:rPr>
              <a:t>Rejection happens to </a:t>
            </a:r>
            <a:r>
              <a:rPr lang="en-GB" altLang="en-US" sz="1800" b="1" i="1" dirty="0">
                <a:latin typeface="Arial" panose="020B0604020202020204" pitchFamily="34" charset="0"/>
                <a:cs typeface="Arial" panose="020B0604020202020204" pitchFamily="34" charset="0"/>
              </a:rPr>
              <a:t>all</a:t>
            </a:r>
            <a:r>
              <a:rPr lang="en-GB" altLang="en-US" sz="1800" dirty="0">
                <a:latin typeface="Arial" panose="020B0604020202020204" pitchFamily="34" charset="0"/>
                <a:cs typeface="Arial" panose="020B0604020202020204" pitchFamily="34" charset="0"/>
              </a:rPr>
              <a:t> of us, but it is the exception that the work is really unpublishable </a:t>
            </a:r>
          </a:p>
          <a:p>
            <a:r>
              <a:rPr lang="en-GB" altLang="en-US" sz="1800" dirty="0">
                <a:latin typeface="Arial" panose="020B0604020202020204" pitchFamily="34" charset="0"/>
                <a:cs typeface="Arial" panose="020B0604020202020204" pitchFamily="34" charset="0"/>
              </a:rPr>
              <a:t>Even desk rejections can be improved and eventually published</a:t>
            </a:r>
          </a:p>
          <a:p>
            <a:endParaRPr lang="en-GB" altLang="en-US" sz="1800" dirty="0">
              <a:latin typeface="Arial" panose="020B0604020202020204" pitchFamily="34" charset="0"/>
              <a:cs typeface="Arial" panose="020B0604020202020204" pitchFamily="34" charset="0"/>
            </a:endParaRPr>
          </a:p>
          <a:p>
            <a:pPr indent="-262460"/>
            <a:r>
              <a:rPr lang="en-GB" altLang="zh-CN" sz="1800" dirty="0">
                <a:latin typeface="Arial" panose="020B0604020202020204" pitchFamily="34" charset="0"/>
                <a:cs typeface="Arial" panose="020B0604020202020204" pitchFamily="34" charset="0"/>
              </a:rPr>
              <a:t>Try to understand</a:t>
            </a:r>
            <a:r>
              <a:rPr lang="en-GB" altLang="zh-CN" sz="1800" b="1" dirty="0">
                <a:latin typeface="Arial" panose="020B0604020202020204" pitchFamily="34" charset="0"/>
                <a:cs typeface="Arial" panose="020B0604020202020204" pitchFamily="34" charset="0"/>
              </a:rPr>
              <a:t> why</a:t>
            </a:r>
          </a:p>
          <a:p>
            <a:pPr lvl="1" indent="-262460"/>
            <a:r>
              <a:rPr lang="en-GB" altLang="zh-CN" sz="1800" dirty="0">
                <a:latin typeface="Arial" panose="020B0604020202020204" pitchFamily="34" charset="0"/>
                <a:cs typeface="Arial" panose="020B0604020202020204" pitchFamily="34" charset="0"/>
              </a:rPr>
              <a:t>Read the information in the rejection email carefully, allow a few days to calm down and accept the decision</a:t>
            </a:r>
          </a:p>
          <a:p>
            <a:pPr lvl="1" indent="-262460"/>
            <a:r>
              <a:rPr lang="en-GB" altLang="zh-CN" sz="1800" dirty="0">
                <a:latin typeface="Arial" panose="020B0604020202020204" pitchFamily="34" charset="0"/>
                <a:cs typeface="Arial" panose="020B0604020202020204" pitchFamily="34" charset="0"/>
              </a:rPr>
              <a:t>Consider Reviewers’ advice</a:t>
            </a:r>
          </a:p>
          <a:p>
            <a:pPr lvl="1" indent="-262460"/>
            <a:r>
              <a:rPr lang="en-GB" altLang="zh-CN" sz="1800" dirty="0">
                <a:latin typeface="Arial" panose="020B0604020202020204" pitchFamily="34" charset="0"/>
                <a:cs typeface="Arial" panose="020B0604020202020204" pitchFamily="34" charset="0"/>
              </a:rPr>
              <a:t>Be self-critical</a:t>
            </a:r>
          </a:p>
          <a:p>
            <a:endParaRPr lang="en-GB" altLang="en-US" sz="1800" dirty="0">
              <a:latin typeface="Arial" panose="020B0604020202020204" pitchFamily="34" charset="0"/>
              <a:cs typeface="Arial" panose="020B0604020202020204" pitchFamily="34" charset="0"/>
            </a:endParaRPr>
          </a:p>
          <a:p>
            <a:endParaRPr lang="en-GB" altLang="en-US" sz="1800" u="sng" dirty="0">
              <a:latin typeface="Arial" panose="020B0604020202020204" pitchFamily="34" charset="0"/>
              <a:cs typeface="Arial" panose="020B0604020202020204" pitchFamily="34" charset="0"/>
            </a:endParaRPr>
          </a:p>
          <a:p>
            <a:endParaRPr lang="en-GB" sz="1800" dirty="0">
              <a:latin typeface="Arial" panose="020B0604020202020204" pitchFamily="34" charset="0"/>
              <a:cs typeface="Arial" panose="020B0604020202020204" pitchFamily="34" charset="0"/>
            </a:endParaRPr>
          </a:p>
        </p:txBody>
      </p:sp>
      <p:sp>
        <p:nvSpPr>
          <p:cNvPr id="4" name="Content Placeholder 2">
            <a:extLst>
              <a:ext uri="{FF2B5EF4-FFF2-40B4-BE49-F238E27FC236}">
                <a16:creationId xmlns:a16="http://schemas.microsoft.com/office/drawing/2014/main" id="{0D07FF72-F023-0BB0-63E2-EE2D332E3123}"/>
              </a:ext>
            </a:extLst>
          </p:cNvPr>
          <p:cNvSpPr txBox="1">
            <a:spLocks/>
          </p:cNvSpPr>
          <p:nvPr/>
        </p:nvSpPr>
        <p:spPr>
          <a:xfrm>
            <a:off x="320487" y="2032017"/>
            <a:ext cx="10879621" cy="2594675"/>
          </a:xfrm>
          <a:prstGeom prst="rect">
            <a:avLst/>
          </a:prstGeom>
          <a:solidFill>
            <a:schemeClr val="tx2">
              <a:lumMod val="20000"/>
              <a:lumOff val="80000"/>
            </a:schemeClr>
          </a:solidFill>
        </p:spPr>
        <p:txBody>
          <a:bodyPr vert="horz" lIns="121920" tIns="60960" rIns="121920" bIns="60960" rtlCol="0">
            <a:norm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685783" lvl="1" indent="-228594" defTabSz="914377">
              <a:spcBef>
                <a:spcPts val="500"/>
              </a:spcBef>
            </a:pPr>
            <a:r>
              <a:rPr lang="en-GB" altLang="en-US" b="1" u="sng" dirty="0">
                <a:solidFill>
                  <a:prstClr val="black"/>
                </a:solidFill>
                <a:latin typeface="Arial" panose="020B0604020202020204" pitchFamily="34" charset="0"/>
                <a:cs typeface="Arial" panose="020B0604020202020204" pitchFamily="34" charset="0"/>
              </a:rPr>
              <a:t>Do not</a:t>
            </a:r>
            <a:r>
              <a:rPr lang="en-GB" altLang="en-US" b="1" dirty="0">
                <a:solidFill>
                  <a:prstClr val="black"/>
                </a:solidFill>
                <a:latin typeface="Arial" panose="020B0604020202020204" pitchFamily="34" charset="0"/>
                <a:cs typeface="Arial" panose="020B0604020202020204" pitchFamily="34" charset="0"/>
              </a:rPr>
              <a:t> </a:t>
            </a:r>
            <a:r>
              <a:rPr lang="en-GB" altLang="en-US" dirty="0">
                <a:solidFill>
                  <a:prstClr val="black"/>
                </a:solidFill>
                <a:latin typeface="Arial" panose="020B0604020202020204" pitchFamily="34" charset="0"/>
                <a:cs typeface="Arial" panose="020B0604020202020204" pitchFamily="34" charset="0"/>
              </a:rPr>
              <a:t>dismiss the Reviewer’s comments out of frustration, anger or pride</a:t>
            </a:r>
          </a:p>
          <a:p>
            <a:pPr marL="1142971" lvl="2" indent="-228594" defTabSz="914377">
              <a:spcBef>
                <a:spcPts val="500"/>
              </a:spcBef>
            </a:pPr>
            <a:r>
              <a:rPr lang="en-GB" altLang="en-US" sz="1800" dirty="0">
                <a:solidFill>
                  <a:prstClr val="black"/>
                </a:solidFill>
                <a:latin typeface="Arial" panose="020B0604020202020204" pitchFamily="34" charset="0"/>
                <a:cs typeface="Arial" panose="020B0604020202020204" pitchFamily="34" charset="0"/>
              </a:rPr>
              <a:t>Even if they misunderstood something, this is likely to be in part because you have not explained something well enough or omitted vital contextual information </a:t>
            </a:r>
          </a:p>
          <a:p>
            <a:pPr marL="914377" lvl="2" indent="0" defTabSz="914377">
              <a:spcBef>
                <a:spcPts val="500"/>
              </a:spcBef>
              <a:buNone/>
            </a:pPr>
            <a:endParaRPr lang="en-GB" altLang="en-US" sz="1800" dirty="0">
              <a:solidFill>
                <a:prstClr val="black"/>
              </a:solidFill>
              <a:latin typeface="Arial" panose="020B0604020202020204" pitchFamily="34" charset="0"/>
              <a:cs typeface="Arial" panose="020B0604020202020204" pitchFamily="34" charset="0"/>
            </a:endParaRPr>
          </a:p>
          <a:p>
            <a:pPr marL="685783" lvl="1" indent="-228594" defTabSz="914377">
              <a:spcBef>
                <a:spcPts val="500"/>
              </a:spcBef>
            </a:pPr>
            <a:r>
              <a:rPr lang="en-GB" altLang="en-US" b="1" u="sng" dirty="0">
                <a:solidFill>
                  <a:prstClr val="black"/>
                </a:solidFill>
                <a:latin typeface="Arial" panose="020B0604020202020204" pitchFamily="34" charset="0"/>
                <a:cs typeface="Arial" panose="020B0604020202020204" pitchFamily="34" charset="0"/>
              </a:rPr>
              <a:t>Discuss the rejection comments with colleges and peers</a:t>
            </a:r>
            <a:endParaRPr lang="en-GB" altLang="en-US" dirty="0">
              <a:solidFill>
                <a:prstClr val="black"/>
              </a:solidFill>
              <a:latin typeface="Arial" panose="020B0604020202020204" pitchFamily="34" charset="0"/>
              <a:cs typeface="Arial" panose="020B0604020202020204" pitchFamily="34" charset="0"/>
            </a:endParaRPr>
          </a:p>
          <a:p>
            <a:pPr marL="1142971" lvl="2" indent="-228594" defTabSz="914377">
              <a:spcBef>
                <a:spcPts val="500"/>
              </a:spcBef>
            </a:pPr>
            <a:r>
              <a:rPr lang="en-GB" altLang="en-US" sz="1800" dirty="0">
                <a:solidFill>
                  <a:prstClr val="black"/>
                </a:solidFill>
                <a:latin typeface="Arial" panose="020B0604020202020204" pitchFamily="34" charset="0"/>
                <a:cs typeface="Arial" panose="020B0604020202020204" pitchFamily="34" charset="0"/>
              </a:rPr>
              <a:t>Do you need to make major changes (collect more data, change the methodology) </a:t>
            </a:r>
          </a:p>
          <a:p>
            <a:pPr marL="1142971" lvl="2" indent="-228594" defTabSz="914377">
              <a:spcBef>
                <a:spcPts val="500"/>
              </a:spcBef>
            </a:pPr>
            <a:r>
              <a:rPr lang="en-GB" altLang="en-US" sz="1800" dirty="0">
                <a:solidFill>
                  <a:prstClr val="black"/>
                </a:solidFill>
                <a:latin typeface="Arial" panose="020B0604020202020204" pitchFamily="34" charset="0"/>
                <a:cs typeface="Arial" panose="020B0604020202020204" pitchFamily="34" charset="0"/>
              </a:rPr>
              <a:t>Or is the work needed more down to improving the style flow and structure?</a:t>
            </a:r>
            <a:endParaRPr lang="en-GB" sz="1800" dirty="0">
              <a:solidFill>
                <a:prstClr val="black"/>
              </a:solidFill>
              <a:latin typeface="Arial" panose="020B0604020202020204" pitchFamily="34" charset="0"/>
              <a:cs typeface="Arial" panose="020B0604020202020204" pitchFamily="34" charset="0"/>
            </a:endParaRPr>
          </a:p>
        </p:txBody>
      </p:sp>
      <p:pic>
        <p:nvPicPr>
          <p:cNvPr id="5" name="Picture 2" descr="Free Studying Overload Frustration Image | Download at StockCake">
            <a:extLst>
              <a:ext uri="{FF2B5EF4-FFF2-40B4-BE49-F238E27FC236}">
                <a16:creationId xmlns:a16="http://schemas.microsoft.com/office/drawing/2014/main" id="{CCDDECDC-FEC3-0279-3D29-7C6AC736BC4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17355" y="3080084"/>
            <a:ext cx="3554158" cy="35541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918211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10" presetClass="exit" presetSubtype="0" fill="hold" nodeType="withEffect">
                                  <p:stCondLst>
                                    <p:cond delay="0"/>
                                  </p:stCondLst>
                                  <p:childTnLst>
                                    <p:animEffect transition="out" filter="fade">
                                      <p:cBhvr>
                                        <p:cTn id="11" dur="500"/>
                                        <p:tgtEl>
                                          <p:spTgt spid="5"/>
                                        </p:tgtEl>
                                      </p:cBhvr>
                                    </p:animEffect>
                                    <p:set>
                                      <p:cBhvr>
                                        <p:cTn id="12" dur="1" fill="hold">
                                          <p:stCondLst>
                                            <p:cond delay="499"/>
                                          </p:stCondLst>
                                        </p:cTn>
                                        <p:tgtEl>
                                          <p:spTgt spid="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46164F-14D7-4C97-AFFF-0E08E038243D}"/>
              </a:ext>
            </a:extLst>
          </p:cNvPr>
          <p:cNvSpPr>
            <a:spLocks noGrp="1"/>
          </p:cNvSpPr>
          <p:nvPr>
            <p:ph type="ctrTitle"/>
          </p:nvPr>
        </p:nvSpPr>
        <p:spPr>
          <a:xfrm>
            <a:off x="923816" y="3232488"/>
            <a:ext cx="6816945" cy="916431"/>
          </a:xfrm>
        </p:spPr>
        <p:txBody>
          <a:bodyPr>
            <a:normAutofit/>
          </a:bodyPr>
          <a:lstStyle/>
          <a:p>
            <a:r>
              <a:rPr lang="en-GB" sz="4600" dirty="0">
                <a:solidFill>
                  <a:schemeClr val="accent2"/>
                </a:solidFill>
                <a:latin typeface="Georgia" panose="02040502050405020303" pitchFamily="18" charset="0"/>
              </a:rPr>
              <a:t>Questions? </a:t>
            </a:r>
            <a:endParaRPr lang="en-US" sz="4600" dirty="0">
              <a:solidFill>
                <a:schemeClr val="accent2"/>
              </a:solidFill>
              <a:latin typeface="Georgia" panose="02040502050405020303" pitchFamily="18" charset="0"/>
            </a:endParaRPr>
          </a:p>
        </p:txBody>
      </p:sp>
      <p:sp>
        <p:nvSpPr>
          <p:cNvPr id="3" name="Text Placeholder 2">
            <a:extLst>
              <a:ext uri="{FF2B5EF4-FFF2-40B4-BE49-F238E27FC236}">
                <a16:creationId xmlns:a16="http://schemas.microsoft.com/office/drawing/2014/main" id="{FFA0BBED-2C78-2BC5-A1BF-8FF663A9690D}"/>
              </a:ext>
            </a:extLst>
          </p:cNvPr>
          <p:cNvSpPr>
            <a:spLocks noGrp="1"/>
          </p:cNvSpPr>
          <p:nvPr>
            <p:ph type="body" sz="quarter" idx="13"/>
          </p:nvPr>
        </p:nvSpPr>
        <p:spPr>
          <a:xfrm>
            <a:off x="11127003" y="391428"/>
            <a:ext cx="736600" cy="812800"/>
          </a:xfrm>
        </p:spPr>
        <p:txBody>
          <a:bodyPr/>
          <a:lstStyle/>
          <a:p>
            <a:endParaRPr lang="en-GB" dirty="0"/>
          </a:p>
        </p:txBody>
      </p:sp>
      <p:sp>
        <p:nvSpPr>
          <p:cNvPr id="11" name="Title 1">
            <a:extLst>
              <a:ext uri="{FF2B5EF4-FFF2-40B4-BE49-F238E27FC236}">
                <a16:creationId xmlns:a16="http://schemas.microsoft.com/office/drawing/2014/main" id="{E7940158-2758-D439-E878-5046C37CCA13}"/>
              </a:ext>
            </a:extLst>
          </p:cNvPr>
          <p:cNvSpPr txBox="1">
            <a:spLocks/>
          </p:cNvSpPr>
          <p:nvPr/>
        </p:nvSpPr>
        <p:spPr>
          <a:xfrm>
            <a:off x="923817" y="1939650"/>
            <a:ext cx="6816945" cy="659172"/>
          </a:xfrm>
          <a:prstGeom prst="rect">
            <a:avLst/>
          </a:prstGeom>
        </p:spPr>
        <p:txBody>
          <a:bodyPr vert="horz" lIns="0" tIns="0" rIns="0" bIns="0" rtlCol="0" anchor="t" anchorCtr="0">
            <a:normAutofit lnSpcReduction="10000"/>
          </a:bodyPr>
          <a:lstStyle>
            <a:lvl1pPr algn="l" defTabSz="914377" rtl="0" eaLnBrk="1" latinLnBrk="0" hangingPunct="1">
              <a:lnSpc>
                <a:spcPct val="100000"/>
              </a:lnSpc>
              <a:spcBef>
                <a:spcPct val="0"/>
              </a:spcBef>
              <a:buNone/>
              <a:defRPr sz="5067" kern="1200">
                <a:solidFill>
                  <a:srgbClr val="53565A"/>
                </a:solidFill>
                <a:latin typeface="+mj-lt"/>
                <a:ea typeface="+mj-ea"/>
                <a:cs typeface="+mj-cs"/>
              </a:defRPr>
            </a:lvl1pPr>
          </a:lstStyle>
          <a:p>
            <a:r>
              <a:rPr lang="en-GB" sz="4600" dirty="0">
                <a:solidFill>
                  <a:schemeClr val="accent2"/>
                </a:solidFill>
                <a:latin typeface="Georgia" panose="02040502050405020303" pitchFamily="18" charset="0"/>
              </a:rPr>
              <a:t>Thank you!</a:t>
            </a:r>
            <a:endParaRPr lang="en-US" sz="4600" dirty="0">
              <a:solidFill>
                <a:schemeClr val="accent2"/>
              </a:solidFill>
              <a:latin typeface="Georgia" panose="02040502050405020303" pitchFamily="18" charset="0"/>
            </a:endParaRPr>
          </a:p>
        </p:txBody>
      </p:sp>
    </p:spTree>
    <p:extLst>
      <p:ext uri="{BB962C8B-B14F-4D97-AF65-F5344CB8AC3E}">
        <p14:creationId xmlns:p14="http://schemas.microsoft.com/office/powerpoint/2010/main" val="3879243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tx2">
            <a:lumMod val="95000"/>
            <a:lumOff val="5000"/>
          </a:schemeClr>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3E2AB61B-1F0D-C6F4-EB3F-0C3922B1CD4E}"/>
              </a:ext>
            </a:extLst>
          </p:cNvPr>
          <p:cNvSpPr>
            <a:spLocks noGrp="1"/>
          </p:cNvSpPr>
          <p:nvPr>
            <p:ph type="body" sz="quarter" idx="16"/>
          </p:nvPr>
        </p:nvSpPr>
        <p:spPr>
          <a:xfrm>
            <a:off x="11113354" y="370354"/>
            <a:ext cx="736600" cy="812800"/>
          </a:xfrm>
        </p:spPr>
        <p:txBody>
          <a:bodyPr/>
          <a:lstStyle/>
          <a:p>
            <a:endParaRPr lang="en-GB" dirty="0"/>
          </a:p>
        </p:txBody>
      </p:sp>
      <p:sp>
        <p:nvSpPr>
          <p:cNvPr id="2" name="Title 1">
            <a:extLst>
              <a:ext uri="{FF2B5EF4-FFF2-40B4-BE49-F238E27FC236}">
                <a16:creationId xmlns:a16="http://schemas.microsoft.com/office/drawing/2014/main" id="{A546164F-14D7-4C97-AFFF-0E08E038243D}"/>
              </a:ext>
            </a:extLst>
          </p:cNvPr>
          <p:cNvSpPr>
            <a:spLocks noGrp="1"/>
          </p:cNvSpPr>
          <p:nvPr>
            <p:ph type="ctrTitle" idx="4294967295"/>
          </p:nvPr>
        </p:nvSpPr>
        <p:spPr>
          <a:xfrm>
            <a:off x="1078174" y="2062850"/>
            <a:ext cx="6816725" cy="2325688"/>
          </a:xfrm>
        </p:spPr>
        <p:txBody>
          <a:bodyPr>
            <a:normAutofit/>
          </a:bodyPr>
          <a:lstStyle/>
          <a:p>
            <a:r>
              <a:rPr lang="en-GB" sz="4600" dirty="0">
                <a:solidFill>
                  <a:schemeClr val="bg1"/>
                </a:solidFill>
                <a:latin typeface="Georgia" panose="02040502050405020303" pitchFamily="18" charset="0"/>
              </a:rPr>
              <a:t>Useful Resources </a:t>
            </a:r>
            <a:endParaRPr lang="en-US" sz="4600" dirty="0">
              <a:solidFill>
                <a:schemeClr val="bg1"/>
              </a:solidFill>
              <a:latin typeface="Georgia" panose="02040502050405020303" pitchFamily="18" charset="0"/>
            </a:endParaRPr>
          </a:p>
        </p:txBody>
      </p:sp>
    </p:spTree>
    <p:extLst>
      <p:ext uri="{BB962C8B-B14F-4D97-AF65-F5344CB8AC3E}">
        <p14:creationId xmlns:p14="http://schemas.microsoft.com/office/powerpoint/2010/main" val="1855045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B922C5-D503-E041-3FFB-2D7EF614B1E7}"/>
              </a:ext>
            </a:extLst>
          </p:cNvPr>
          <p:cNvSpPr>
            <a:spLocks noGrp="1"/>
          </p:cNvSpPr>
          <p:nvPr>
            <p:ph type="title"/>
          </p:nvPr>
        </p:nvSpPr>
        <p:spPr>
          <a:xfrm>
            <a:off x="168442" y="297410"/>
            <a:ext cx="11353800" cy="1325563"/>
          </a:xfrm>
        </p:spPr>
        <p:txBody>
          <a:bodyPr>
            <a:noAutofit/>
          </a:bodyPr>
          <a:lstStyle/>
          <a:p>
            <a:r>
              <a:rPr lang="en-GB" dirty="0">
                <a:solidFill>
                  <a:schemeClr val="accent1"/>
                </a:solidFill>
                <a:latin typeface="Georgia" panose="02040502050405020303" pitchFamily="18" charset="0"/>
              </a:rPr>
              <a:t>Ukraine Academic Support</a:t>
            </a:r>
            <a:br>
              <a:rPr lang="en-GB" sz="2400" dirty="0">
                <a:solidFill>
                  <a:schemeClr val="accent1"/>
                </a:solidFill>
                <a:latin typeface="Georgia" panose="02040502050405020303" pitchFamily="18" charset="0"/>
              </a:rPr>
            </a:br>
            <a:r>
              <a:rPr lang="en-GB" sz="2400" dirty="0">
                <a:solidFill>
                  <a:schemeClr val="accent1"/>
                </a:solidFill>
                <a:latin typeface="Georgia" panose="02040502050405020303" pitchFamily="18" charset="0"/>
              </a:rPr>
              <a:t>Supporting Ukrainian academics, researchers, and students</a:t>
            </a:r>
            <a:br>
              <a:rPr lang="en-GB" sz="2400" dirty="0">
                <a:solidFill>
                  <a:schemeClr val="accent1"/>
                </a:solidFill>
                <a:latin typeface="Georgia" panose="02040502050405020303" pitchFamily="18" charset="0"/>
              </a:rPr>
            </a:br>
            <a:endParaRPr lang="en-GB" sz="2400" dirty="0">
              <a:solidFill>
                <a:schemeClr val="accent1"/>
              </a:solidFill>
              <a:latin typeface="Georgia" panose="02040502050405020303" pitchFamily="18" charset="0"/>
            </a:endParaRPr>
          </a:p>
        </p:txBody>
      </p:sp>
      <p:pic>
        <p:nvPicPr>
          <p:cNvPr id="6" name="Picture 5" descr="A screenshot of a computer&#10;&#10;AI-generated content may be incorrect.">
            <a:extLst>
              <a:ext uri="{FF2B5EF4-FFF2-40B4-BE49-F238E27FC236}">
                <a16:creationId xmlns:a16="http://schemas.microsoft.com/office/drawing/2014/main" id="{3D4EB0E6-78B8-4617-2B2C-BA21582EB2A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36694" y="1697859"/>
            <a:ext cx="6869693" cy="4891268"/>
          </a:xfrm>
          <a:prstGeom prst="rect">
            <a:avLst/>
          </a:prstGeom>
        </p:spPr>
      </p:pic>
      <p:sp>
        <p:nvSpPr>
          <p:cNvPr id="8" name="TextBox 7">
            <a:extLst>
              <a:ext uri="{FF2B5EF4-FFF2-40B4-BE49-F238E27FC236}">
                <a16:creationId xmlns:a16="http://schemas.microsoft.com/office/drawing/2014/main" id="{D3A3E4E4-63BD-C091-8F32-01280313FA5D}"/>
              </a:ext>
            </a:extLst>
          </p:cNvPr>
          <p:cNvSpPr txBox="1"/>
          <p:nvPr/>
        </p:nvSpPr>
        <p:spPr>
          <a:xfrm>
            <a:off x="646699" y="2389167"/>
            <a:ext cx="3865143" cy="1754326"/>
          </a:xfrm>
          <a:prstGeom prst="rect">
            <a:avLst/>
          </a:prstGeom>
          <a:noFill/>
        </p:spPr>
        <p:txBody>
          <a:bodyPr wrap="square">
            <a:spAutoFit/>
          </a:bodyPr>
          <a:lstStyle/>
          <a:p>
            <a:pPr algn="l" fontAlgn="ctr"/>
            <a:r>
              <a:rPr lang="en-GB" i="0" strike="noStrike" dirty="0">
                <a:solidFill>
                  <a:schemeClr val="accent2"/>
                </a:solidFill>
                <a:effectLst/>
                <a:latin typeface="Arial" panose="020B0604020202020204" pitchFamily="34" charset="0"/>
                <a:cs typeface="Arial" panose="020B0604020202020204" pitchFamily="34" charset="0"/>
              </a:rPr>
              <a:t>-Complimentary access</a:t>
            </a:r>
          </a:p>
          <a:p>
            <a:pPr algn="l" fontAlgn="ctr"/>
            <a:endParaRPr lang="en-GB" i="0" strike="noStrike" dirty="0">
              <a:solidFill>
                <a:schemeClr val="accent2"/>
              </a:solidFill>
              <a:effectLst/>
              <a:latin typeface="Arial" panose="020B0604020202020204" pitchFamily="34" charset="0"/>
              <a:cs typeface="Arial" panose="020B0604020202020204" pitchFamily="34" charset="0"/>
            </a:endParaRPr>
          </a:p>
          <a:p>
            <a:r>
              <a:rPr lang="en-GB" dirty="0">
                <a:solidFill>
                  <a:schemeClr val="accent2"/>
                </a:solidFill>
                <a:latin typeface="Arial" panose="020B0604020202020204" pitchFamily="34" charset="0"/>
                <a:cs typeface="Arial" panose="020B0604020202020204" pitchFamily="34" charset="0"/>
              </a:rPr>
              <a:t>-Researcher Academy and Mendeley</a:t>
            </a:r>
          </a:p>
          <a:p>
            <a:endParaRPr lang="en-GB" dirty="0">
              <a:solidFill>
                <a:schemeClr val="accent2"/>
              </a:solidFill>
              <a:latin typeface="Arial" panose="020B0604020202020204" pitchFamily="34" charset="0"/>
              <a:cs typeface="Arial" panose="020B0604020202020204" pitchFamily="34" charset="0"/>
            </a:endParaRPr>
          </a:p>
          <a:p>
            <a:pPr algn="l" fontAlgn="ctr"/>
            <a:r>
              <a:rPr lang="en-GB" i="0" strike="noStrike" dirty="0">
                <a:solidFill>
                  <a:schemeClr val="accent2"/>
                </a:solidFill>
                <a:effectLst/>
                <a:latin typeface="Arial" panose="020B0604020202020204" pitchFamily="34" charset="0"/>
                <a:cs typeface="Arial" panose="020B0604020202020204" pitchFamily="34" charset="0"/>
              </a:rPr>
              <a:t>-APC waivers</a:t>
            </a:r>
            <a:endParaRPr lang="en-GB" i="0" dirty="0">
              <a:solidFill>
                <a:schemeClr val="accent2"/>
              </a:solidFill>
              <a:effectLst/>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31B66921-7990-B422-EE28-C82294D3CBB1}"/>
              </a:ext>
            </a:extLst>
          </p:cNvPr>
          <p:cNvSpPr txBox="1"/>
          <p:nvPr/>
        </p:nvSpPr>
        <p:spPr>
          <a:xfrm>
            <a:off x="646699" y="4350318"/>
            <a:ext cx="6130088" cy="261610"/>
          </a:xfrm>
          <a:prstGeom prst="rect">
            <a:avLst/>
          </a:prstGeom>
          <a:noFill/>
        </p:spPr>
        <p:txBody>
          <a:bodyPr wrap="square">
            <a:spAutoFit/>
          </a:bodyPr>
          <a:lstStyle/>
          <a:p>
            <a:pPr algn="l">
              <a:buFont typeface="Arial" panose="020B0604020202020204" pitchFamily="34" charset="0"/>
              <a:buChar char="•"/>
            </a:pPr>
            <a:r>
              <a:rPr lang="en-GB" sz="1100" b="0" i="0" dirty="0">
                <a:solidFill>
                  <a:srgbClr val="141415"/>
                </a:solidFill>
                <a:effectLst/>
                <a:latin typeface="inherit"/>
              </a:rPr>
              <a:t>Please see: </a:t>
            </a:r>
            <a:r>
              <a:rPr lang="en-GB" sz="1100" b="0" i="0" u="none" strike="noStrike" dirty="0">
                <a:solidFill>
                  <a:srgbClr val="2354FF"/>
                </a:solidFill>
                <a:effectLst/>
                <a:latin typeface="inherit"/>
                <a:hlinkClick r:id="rId4"/>
              </a:rPr>
              <a:t>Cемінари Elsevier для України</a:t>
            </a:r>
            <a:endParaRPr lang="en-GB" sz="1100" b="0" i="0" dirty="0">
              <a:solidFill>
                <a:srgbClr val="141415"/>
              </a:solidFill>
              <a:effectLst/>
              <a:latin typeface="inherit"/>
            </a:endParaRPr>
          </a:p>
        </p:txBody>
      </p:sp>
    </p:spTree>
    <p:extLst>
      <p:ext uri="{BB962C8B-B14F-4D97-AF65-F5344CB8AC3E}">
        <p14:creationId xmlns:p14="http://schemas.microsoft.com/office/powerpoint/2010/main" val="335995459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0ACED6F-14D1-B57E-1E40-3D250EB4DFD7}"/>
              </a:ext>
            </a:extLst>
          </p:cNvPr>
          <p:cNvSpPr>
            <a:spLocks noGrp="1"/>
          </p:cNvSpPr>
          <p:nvPr>
            <p:ph type="title"/>
          </p:nvPr>
        </p:nvSpPr>
        <p:spPr>
          <a:xfrm>
            <a:off x="476057" y="365125"/>
            <a:ext cx="10515600" cy="783191"/>
          </a:xfrm>
        </p:spPr>
        <p:txBody>
          <a:bodyPr>
            <a:normAutofit/>
          </a:bodyPr>
          <a:lstStyle/>
          <a:p>
            <a:r>
              <a:rPr lang="en-GB" dirty="0">
                <a:solidFill>
                  <a:schemeClr val="accent2"/>
                </a:solidFill>
                <a:latin typeface="Georgia" panose="02040502050405020303" pitchFamily="18" charset="0"/>
              </a:rPr>
              <a:t>Elsevier Researcher Academy </a:t>
            </a:r>
          </a:p>
        </p:txBody>
      </p:sp>
      <p:pic>
        <p:nvPicPr>
          <p:cNvPr id="7" name="Picture 6" descr="A screenshot of a computer&#10;&#10;AI-generated content may be incorrect.">
            <a:extLst>
              <a:ext uri="{FF2B5EF4-FFF2-40B4-BE49-F238E27FC236}">
                <a16:creationId xmlns:a16="http://schemas.microsoft.com/office/drawing/2014/main" id="{0D318F95-B298-3609-6D6B-504694BAE32D}"/>
              </a:ext>
            </a:extLst>
          </p:cNvPr>
          <p:cNvPicPr>
            <a:picLocks noChangeAspect="1"/>
          </p:cNvPicPr>
          <p:nvPr/>
        </p:nvPicPr>
        <p:blipFill>
          <a:blip r:embed="rId3">
            <a:extLst>
              <a:ext uri="{28A0092B-C50C-407E-A947-70E740481C1C}">
                <a14:useLocalDpi xmlns:a14="http://schemas.microsoft.com/office/drawing/2010/main" val="0"/>
              </a:ext>
            </a:extLst>
          </a:blip>
          <a:srcRect t="24496"/>
          <a:stretch>
            <a:fillRect/>
          </a:stretch>
        </p:blipFill>
        <p:spPr>
          <a:xfrm>
            <a:off x="2230429" y="1434288"/>
            <a:ext cx="9339485" cy="4302568"/>
          </a:xfrm>
          <a:prstGeom prst="rect">
            <a:avLst/>
          </a:prstGeom>
        </p:spPr>
      </p:pic>
      <p:sp>
        <p:nvSpPr>
          <p:cNvPr id="8" name="TextBox 7">
            <a:extLst>
              <a:ext uri="{FF2B5EF4-FFF2-40B4-BE49-F238E27FC236}">
                <a16:creationId xmlns:a16="http://schemas.microsoft.com/office/drawing/2014/main" id="{7FD429F3-E39D-F24A-A676-9C312C3776DC}"/>
              </a:ext>
            </a:extLst>
          </p:cNvPr>
          <p:cNvSpPr txBox="1"/>
          <p:nvPr/>
        </p:nvSpPr>
        <p:spPr>
          <a:xfrm>
            <a:off x="3041056" y="4133902"/>
            <a:ext cx="8528858" cy="1677382"/>
          </a:xfrm>
          <a:prstGeom prst="rect">
            <a:avLst/>
          </a:prstGeom>
          <a:solidFill>
            <a:schemeClr val="bg1"/>
          </a:solidFill>
        </p:spPr>
        <p:txBody>
          <a:bodyPr wrap="square">
            <a:spAutoFit/>
          </a:bodyPr>
          <a:lstStyle/>
          <a:p>
            <a:r>
              <a:rPr lang="en-GB" altLang="en-US" sz="1600" dirty="0">
                <a:solidFill>
                  <a:schemeClr val="accent1"/>
                </a:solidFill>
                <a:latin typeface="Arial" panose="020B0604020202020204" pitchFamily="34" charset="0"/>
                <a:cs typeface="Arial" panose="020B0604020202020204" pitchFamily="34" charset="0"/>
              </a:rPr>
              <a:t>Elsevier Researcher Academy - free to access</a:t>
            </a:r>
          </a:p>
          <a:p>
            <a:endParaRPr lang="en-GB" altLang="en-US" sz="1600" dirty="0">
              <a:solidFill>
                <a:schemeClr val="tx2">
                  <a:lumMod val="50000"/>
                </a:schemeClr>
              </a:solidFill>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r>
              <a:rPr lang="en-GB" altLang="en-US" sz="1100" dirty="0">
                <a:latin typeface="Arial" panose="020B0604020202020204" pitchFamily="34" charset="0"/>
                <a:cs typeface="Arial" panose="020B0604020202020204" pitchFamily="34" charset="0"/>
                <a:hlinkClick r:id="rId4"/>
              </a:rPr>
              <a:t>https://researcheracademy.elsevier.com/writing-research/writing-skills</a:t>
            </a:r>
            <a:r>
              <a:rPr lang="en-GB" altLang="en-US" sz="1100" dirty="0">
                <a:latin typeface="Arial" panose="020B0604020202020204" pitchFamily="34" charset="0"/>
                <a:cs typeface="Arial" panose="020B0604020202020204" pitchFamily="34" charset="0"/>
              </a:rPr>
              <a:t> </a:t>
            </a:r>
          </a:p>
          <a:p>
            <a:pPr lvl="1"/>
            <a:endParaRPr lang="en-GB" altLang="en-US" sz="1100" dirty="0">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r>
              <a:rPr lang="en-GB" altLang="en-US" sz="1100" dirty="0">
                <a:latin typeface="Arial" panose="020B0604020202020204" pitchFamily="34" charset="0"/>
                <a:cs typeface="Arial" panose="020B0604020202020204" pitchFamily="34" charset="0"/>
                <a:hlinkClick r:id="rId5"/>
              </a:rPr>
              <a:t>https://researcheracademy.elsevier.com/publication-process/finding-right-journal</a:t>
            </a:r>
            <a:endParaRPr lang="en-GB" altLang="en-US" sz="1100" dirty="0">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endParaRPr lang="en-GB" altLang="en-US" sz="1100" dirty="0">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r>
              <a:rPr lang="en-GB" altLang="en-US" sz="1100" dirty="0">
                <a:latin typeface="Arial" panose="020B0604020202020204" pitchFamily="34" charset="0"/>
                <a:cs typeface="Arial" panose="020B0604020202020204" pitchFamily="34" charset="0"/>
                <a:hlinkClick r:id="rId6"/>
              </a:rPr>
              <a:t>https://researcheracademy.elsevier.com/writing-research/fundamentals-manuscript-preparation</a:t>
            </a:r>
            <a:endParaRPr lang="en-GB" altLang="en-US" sz="1100" dirty="0">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endParaRPr lang="en-GB" altLang="en-US"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399974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6477B25-ED89-476B-8753-9961F40C7D0C}"/>
              </a:ext>
            </a:extLst>
          </p:cNvPr>
          <p:cNvSpPr>
            <a:spLocks noGrp="1"/>
          </p:cNvSpPr>
          <p:nvPr>
            <p:ph type="title"/>
          </p:nvPr>
        </p:nvSpPr>
        <p:spPr>
          <a:xfrm>
            <a:off x="311148" y="294658"/>
            <a:ext cx="10784481" cy="4224000"/>
          </a:xfrm>
        </p:spPr>
        <p:txBody>
          <a:bodyPr anchor="t">
            <a:normAutofit/>
          </a:bodyPr>
          <a:lstStyle/>
          <a:p>
            <a:pPr>
              <a:spcBef>
                <a:spcPct val="20000"/>
              </a:spcBef>
            </a:pPr>
            <a:r>
              <a:rPr lang="en-US" sz="3200" dirty="0">
                <a:solidFill>
                  <a:schemeClr val="accent1"/>
                </a:solidFill>
                <a:latin typeface="Georgia" panose="02040502050405020303" pitchFamily="18" charset="0"/>
                <a:ea typeface="宋体"/>
                <a:cs typeface="Arial Bold"/>
              </a:rPr>
              <a:t>If you would like to learn more about peer review:</a:t>
            </a:r>
            <a:endParaRPr lang="en-GB" sz="3200" dirty="0">
              <a:solidFill>
                <a:schemeClr val="accent1"/>
              </a:solidFill>
              <a:latin typeface="Georgia" panose="02040502050405020303" pitchFamily="18" charset="0"/>
              <a:ea typeface="宋体"/>
              <a:cs typeface="Arial Bold"/>
            </a:endParaRPr>
          </a:p>
        </p:txBody>
      </p:sp>
      <p:sp>
        <p:nvSpPr>
          <p:cNvPr id="5" name="Rectangle 4">
            <a:extLst>
              <a:ext uri="{FF2B5EF4-FFF2-40B4-BE49-F238E27FC236}">
                <a16:creationId xmlns:a16="http://schemas.microsoft.com/office/drawing/2014/main" id="{9E319192-28F7-4C4B-B8A7-2A7A4C8BD63D}"/>
              </a:ext>
            </a:extLst>
          </p:cNvPr>
          <p:cNvSpPr/>
          <p:nvPr/>
        </p:nvSpPr>
        <p:spPr>
          <a:xfrm>
            <a:off x="1968007" y="5422662"/>
            <a:ext cx="7015317" cy="369332"/>
          </a:xfrm>
          <a:prstGeom prst="rect">
            <a:avLst/>
          </a:prstGeom>
        </p:spPr>
        <p:txBody>
          <a:bodyPr wrap="square" lIns="121920" tIns="60960" rIns="121920" bIns="60960" anchor="t">
            <a:spAutoFit/>
          </a:bodyPr>
          <a:lstStyle/>
          <a:p>
            <a:pPr defTabSz="1219170"/>
            <a:r>
              <a:rPr lang="en-GB" sz="1600" dirty="0">
                <a:solidFill>
                  <a:srgbClr val="53565A"/>
                </a:solidFill>
                <a:latin typeface="Arial" panose="020B0604020202020204"/>
                <a:ea typeface="+mn-lt"/>
                <a:cs typeface="Arial" panose="020B0604020202020204"/>
                <a:hlinkClick r:id="rId3"/>
              </a:rPr>
              <a:t>Elsevier Researcher Academy - Going Through Peer Review</a:t>
            </a:r>
            <a:endParaRPr lang="en-US" sz="1600" dirty="0">
              <a:solidFill>
                <a:srgbClr val="53565A"/>
              </a:solidFill>
              <a:latin typeface="Arial" panose="020B0604020202020204"/>
            </a:endParaRPr>
          </a:p>
        </p:txBody>
      </p:sp>
      <p:pic>
        <p:nvPicPr>
          <p:cNvPr id="4" name="Picture 6" descr="Graphical user interface, text, application&#10;&#10;Description automatically generated">
            <a:extLst>
              <a:ext uri="{FF2B5EF4-FFF2-40B4-BE49-F238E27FC236}">
                <a16:creationId xmlns:a16="http://schemas.microsoft.com/office/drawing/2014/main" id="{B0B2473B-9380-4E28-B33E-8B620CC1CFCC}"/>
              </a:ext>
            </a:extLst>
          </p:cNvPr>
          <p:cNvPicPr>
            <a:picLocks noChangeAspect="1"/>
          </p:cNvPicPr>
          <p:nvPr/>
        </p:nvPicPr>
        <p:blipFill>
          <a:blip r:embed="rId4"/>
          <a:stretch>
            <a:fillRect/>
          </a:stretch>
        </p:blipFill>
        <p:spPr>
          <a:xfrm>
            <a:off x="405021" y="1066006"/>
            <a:ext cx="7313468" cy="4197887"/>
          </a:xfrm>
          <a:prstGeom prst="rect">
            <a:avLst/>
          </a:prstGeom>
        </p:spPr>
      </p:pic>
      <p:pic>
        <p:nvPicPr>
          <p:cNvPr id="1026" name="Picture 2">
            <a:extLst>
              <a:ext uri="{FF2B5EF4-FFF2-40B4-BE49-F238E27FC236}">
                <a16:creationId xmlns:a16="http://schemas.microsoft.com/office/drawing/2014/main" id="{E85F3B35-F897-D2D1-200D-8158FBFA84AA}"/>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826257" y="4268498"/>
            <a:ext cx="1680000" cy="168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84417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6477B25-ED89-476B-8753-9961F40C7D0C}"/>
              </a:ext>
            </a:extLst>
          </p:cNvPr>
          <p:cNvSpPr>
            <a:spLocks noGrp="1"/>
          </p:cNvSpPr>
          <p:nvPr>
            <p:ph type="title"/>
          </p:nvPr>
        </p:nvSpPr>
        <p:spPr>
          <a:xfrm>
            <a:off x="300516" y="182234"/>
            <a:ext cx="8952666" cy="579710"/>
          </a:xfrm>
        </p:spPr>
        <p:txBody>
          <a:bodyPr anchor="t">
            <a:noAutofit/>
          </a:bodyPr>
          <a:lstStyle/>
          <a:p>
            <a:pPr>
              <a:spcBef>
                <a:spcPct val="20000"/>
              </a:spcBef>
            </a:pPr>
            <a:r>
              <a:rPr lang="en-US" sz="3200" dirty="0">
                <a:solidFill>
                  <a:schemeClr val="accent2"/>
                </a:solidFill>
                <a:latin typeface="Georgia" panose="02040502050405020303" pitchFamily="18" charset="0"/>
                <a:ea typeface="宋体"/>
                <a:cs typeface="Arial Bold"/>
              </a:rPr>
              <a:t>Would you like to review manuscripts?</a:t>
            </a:r>
            <a:endParaRPr lang="en-GB" sz="3200" dirty="0">
              <a:solidFill>
                <a:schemeClr val="accent2"/>
              </a:solidFill>
              <a:latin typeface="Georgia" panose="02040502050405020303" pitchFamily="18" charset="0"/>
              <a:ea typeface="宋体"/>
              <a:cs typeface="Arial Bold"/>
            </a:endParaRPr>
          </a:p>
        </p:txBody>
      </p:sp>
      <p:sp>
        <p:nvSpPr>
          <p:cNvPr id="5" name="Rectangle 4">
            <a:extLst>
              <a:ext uri="{FF2B5EF4-FFF2-40B4-BE49-F238E27FC236}">
                <a16:creationId xmlns:a16="http://schemas.microsoft.com/office/drawing/2014/main" id="{9E319192-28F7-4C4B-B8A7-2A7A4C8BD63D}"/>
              </a:ext>
            </a:extLst>
          </p:cNvPr>
          <p:cNvSpPr/>
          <p:nvPr/>
        </p:nvSpPr>
        <p:spPr>
          <a:xfrm>
            <a:off x="0" y="6096056"/>
            <a:ext cx="7015317" cy="579710"/>
          </a:xfrm>
          <a:prstGeom prst="rect">
            <a:avLst/>
          </a:prstGeom>
        </p:spPr>
        <p:txBody>
          <a:bodyPr wrap="square" lIns="121920" tIns="60960" rIns="121920" bIns="60960" anchor="t">
            <a:spAutoFit/>
          </a:bodyPr>
          <a:lstStyle/>
          <a:p>
            <a:pPr algn="ctr" defTabSz="1219170"/>
            <a:r>
              <a:rPr lang="en-US" sz="1867" dirty="0">
                <a:solidFill>
                  <a:srgbClr val="53565A"/>
                </a:solidFill>
                <a:latin typeface="Arial" panose="020B0604020202020204"/>
                <a:hlinkClick r:id="rId3"/>
              </a:rPr>
              <a:t>https://Reviewerhub.elsevier.com/Reviewer/volunteer/journal</a:t>
            </a:r>
            <a:r>
              <a:rPr lang="en-US" sz="1867" dirty="0">
                <a:solidFill>
                  <a:srgbClr val="53565A"/>
                </a:solidFill>
                <a:latin typeface="Arial" panose="020B0604020202020204"/>
              </a:rPr>
              <a:t> </a:t>
            </a:r>
          </a:p>
          <a:p>
            <a:pPr algn="ctr" defTabSz="1219170"/>
            <a:endParaRPr lang="en-US" sz="1100" dirty="0">
              <a:solidFill>
                <a:srgbClr val="53565A"/>
              </a:solidFill>
              <a:latin typeface="Arial" panose="020B0604020202020204"/>
            </a:endParaRPr>
          </a:p>
        </p:txBody>
      </p:sp>
      <p:pic>
        <p:nvPicPr>
          <p:cNvPr id="4" name="Picture 3" descr="A screenshot of a computer&#10;&#10;AI-generated content may be incorrect.">
            <a:extLst>
              <a:ext uri="{FF2B5EF4-FFF2-40B4-BE49-F238E27FC236}">
                <a16:creationId xmlns:a16="http://schemas.microsoft.com/office/drawing/2014/main" id="{821613AF-3FE6-1C66-B34A-AEE4E6EDA66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7833" y="900272"/>
            <a:ext cx="8162260" cy="4402950"/>
          </a:xfrm>
          <a:prstGeom prst="rect">
            <a:avLst/>
          </a:prstGeom>
        </p:spPr>
      </p:pic>
      <p:cxnSp>
        <p:nvCxnSpPr>
          <p:cNvPr id="8" name="Straight Arrow Connector 7">
            <a:extLst>
              <a:ext uri="{FF2B5EF4-FFF2-40B4-BE49-F238E27FC236}">
                <a16:creationId xmlns:a16="http://schemas.microsoft.com/office/drawing/2014/main" id="{C4549BAC-4D0A-F396-4B2A-E4A8300FBBBE}"/>
              </a:ext>
            </a:extLst>
          </p:cNvPr>
          <p:cNvCxnSpPr>
            <a:cxnSpLocks/>
          </p:cNvCxnSpPr>
          <p:nvPr/>
        </p:nvCxnSpPr>
        <p:spPr>
          <a:xfrm flipH="1">
            <a:off x="1392866" y="3147237"/>
            <a:ext cx="1660080" cy="1180216"/>
          </a:xfrm>
          <a:prstGeom prst="straightConnector1">
            <a:avLst/>
          </a:prstGeom>
          <a:ln w="571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6033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E6370D7-8F06-4BD7-90B1-5AD70CD43BDA}"/>
              </a:ext>
            </a:extLst>
          </p:cNvPr>
          <p:cNvSpPr>
            <a:spLocks noGrp="1"/>
          </p:cNvSpPr>
          <p:nvPr>
            <p:ph type="title"/>
          </p:nvPr>
        </p:nvSpPr>
        <p:spPr>
          <a:solidFill>
            <a:schemeClr val="bg1"/>
          </a:solidFill>
        </p:spPr>
        <p:txBody>
          <a:bodyPr>
            <a:normAutofit/>
          </a:bodyPr>
          <a:lstStyle/>
          <a:p>
            <a:r>
              <a:rPr lang="en-US" dirty="0">
                <a:solidFill>
                  <a:schemeClr val="accent1"/>
                </a:solidFill>
                <a:latin typeface="Georgia" panose="02040502050405020303" pitchFamily="18" charset="0"/>
              </a:rPr>
              <a:t>Other APC discount and waiver schemes</a:t>
            </a:r>
          </a:p>
        </p:txBody>
      </p:sp>
      <p:sp>
        <p:nvSpPr>
          <p:cNvPr id="7" name="TextBox 6">
            <a:extLst>
              <a:ext uri="{FF2B5EF4-FFF2-40B4-BE49-F238E27FC236}">
                <a16:creationId xmlns:a16="http://schemas.microsoft.com/office/drawing/2014/main" id="{00195B86-5683-E8CC-7B07-2DDC82270CD4}"/>
              </a:ext>
            </a:extLst>
          </p:cNvPr>
          <p:cNvSpPr txBox="1"/>
          <p:nvPr/>
        </p:nvSpPr>
        <p:spPr>
          <a:xfrm>
            <a:off x="266913" y="1469387"/>
            <a:ext cx="5054092" cy="2483052"/>
          </a:xfrm>
          <a:prstGeom prst="rect">
            <a:avLst/>
          </a:prstGeom>
          <a:noFill/>
        </p:spPr>
        <p:txBody>
          <a:bodyPr wrap="square" rtlCol="0">
            <a:spAutoFit/>
          </a:bodyPr>
          <a:lstStyle/>
          <a:p>
            <a:pPr algn="ctr" defTabSz="1219170"/>
            <a:r>
              <a:rPr lang="en-GB" sz="2400" b="1" dirty="0">
                <a:solidFill>
                  <a:srgbClr val="661CCA"/>
                </a:solidFill>
                <a:latin typeface="Georgia" panose="02040502050405020303" pitchFamily="18" charset="0"/>
                <a:cs typeface="Arial" pitchFamily="34" charset="0"/>
              </a:rPr>
              <a:t>Research 4 Life</a:t>
            </a:r>
          </a:p>
          <a:p>
            <a:pPr algn="ctr" defTabSz="1219170"/>
            <a:endParaRPr lang="en-GB" sz="2133" b="1" dirty="0">
              <a:solidFill>
                <a:srgbClr val="661CCA"/>
              </a:solidFill>
              <a:latin typeface="Arial" panose="020B0604020202020204"/>
              <a:cs typeface="Arial" pitchFamily="34" charset="0"/>
            </a:endParaRPr>
          </a:p>
          <a:p>
            <a:pPr marL="380990" indent="-380990" defTabSz="1219170">
              <a:buFont typeface="Arial" panose="020B0604020202020204" pitchFamily="34" charset="0"/>
              <a:buChar char="•"/>
            </a:pPr>
            <a:r>
              <a:rPr lang="en-GB" sz="1467" dirty="0">
                <a:solidFill>
                  <a:srgbClr val="000000"/>
                </a:solidFill>
                <a:latin typeface="Arial" panose="020B0604020202020204"/>
                <a:cs typeface="Arial" pitchFamily="34" charset="0"/>
              </a:rPr>
              <a:t>Institutions in Low- and Middle-Income countries can obtain </a:t>
            </a:r>
            <a:r>
              <a:rPr lang="en-GB" sz="1467" b="1" dirty="0">
                <a:solidFill>
                  <a:srgbClr val="000000"/>
                </a:solidFill>
                <a:latin typeface="Arial" panose="020B0604020202020204"/>
                <a:cs typeface="Arial" pitchFamily="34" charset="0"/>
              </a:rPr>
              <a:t>free access </a:t>
            </a:r>
            <a:r>
              <a:rPr lang="en-GB" sz="1467" dirty="0">
                <a:solidFill>
                  <a:srgbClr val="000000"/>
                </a:solidFill>
                <a:latin typeface="Arial" panose="020B0604020202020204"/>
                <a:cs typeface="Arial" pitchFamily="34" charset="0"/>
              </a:rPr>
              <a:t>to books and journals</a:t>
            </a:r>
          </a:p>
          <a:p>
            <a:pPr marL="380990" indent="-380990" defTabSz="1219170">
              <a:buFont typeface="Arial" panose="020B0604020202020204" pitchFamily="34" charset="0"/>
              <a:buChar char="•"/>
            </a:pPr>
            <a:endParaRPr lang="en-GB" sz="1467" dirty="0">
              <a:solidFill>
                <a:srgbClr val="000000"/>
              </a:solidFill>
              <a:latin typeface="Arial" panose="020B0604020202020204"/>
              <a:cs typeface="Arial" pitchFamily="34" charset="0"/>
            </a:endParaRPr>
          </a:p>
          <a:p>
            <a:pPr marL="380990" indent="-380990" defTabSz="1219170">
              <a:buFont typeface="Arial" panose="020B0604020202020204" pitchFamily="34" charset="0"/>
              <a:buChar char="•"/>
            </a:pPr>
            <a:r>
              <a:rPr lang="en-GB" sz="1467" dirty="0">
                <a:solidFill>
                  <a:srgbClr val="000000"/>
                </a:solidFill>
                <a:latin typeface="Arial" panose="020B0604020202020204"/>
                <a:cs typeface="Arial" pitchFamily="34" charset="0"/>
              </a:rPr>
              <a:t>Reduced APC on many Elsevier titles for eligible submissions:</a:t>
            </a:r>
          </a:p>
          <a:p>
            <a:pPr defTabSz="1219170"/>
            <a:endParaRPr lang="en-GB" sz="1100" dirty="0">
              <a:solidFill>
                <a:schemeClr val="accent2"/>
              </a:solidFill>
              <a:latin typeface="Arial" panose="020B0604020202020204"/>
              <a:cs typeface="Arial" pitchFamily="34" charset="0"/>
            </a:endParaRPr>
          </a:p>
          <a:p>
            <a:pPr defTabSz="1219170"/>
            <a:r>
              <a:rPr lang="en-GB" sz="1100" dirty="0">
                <a:solidFill>
                  <a:schemeClr val="accent2"/>
                </a:solidFill>
                <a:cs typeface="Arial" pitchFamily="34" charset="0"/>
              </a:rPr>
              <a:t>https://www.research4life.org/</a:t>
            </a:r>
            <a:endParaRPr lang="en-GB" sz="1467" dirty="0">
              <a:solidFill>
                <a:srgbClr val="000000"/>
              </a:solidFill>
              <a:latin typeface="Arial" panose="020B0604020202020204"/>
              <a:cs typeface="Arial" pitchFamily="34" charset="0"/>
            </a:endParaRPr>
          </a:p>
          <a:p>
            <a:pPr marL="380990" indent="-380990" defTabSz="1219170">
              <a:buFont typeface="Arial" panose="020B0604020202020204" pitchFamily="34" charset="0"/>
              <a:buChar char="•"/>
            </a:pPr>
            <a:endParaRPr lang="en-GB" sz="1467" dirty="0">
              <a:solidFill>
                <a:srgbClr val="000000"/>
              </a:solidFill>
              <a:latin typeface="Arial" panose="020B0604020202020204"/>
              <a:cs typeface="Arial" pitchFamily="34" charset="0"/>
            </a:endParaRPr>
          </a:p>
        </p:txBody>
      </p:sp>
      <p:sp>
        <p:nvSpPr>
          <p:cNvPr id="4" name="TextBox 3">
            <a:extLst>
              <a:ext uri="{FF2B5EF4-FFF2-40B4-BE49-F238E27FC236}">
                <a16:creationId xmlns:a16="http://schemas.microsoft.com/office/drawing/2014/main" id="{219BFDA8-7ED6-367E-D3C0-F1FDE58C5BB9}"/>
              </a:ext>
            </a:extLst>
          </p:cNvPr>
          <p:cNvSpPr txBox="1"/>
          <p:nvPr/>
        </p:nvSpPr>
        <p:spPr>
          <a:xfrm>
            <a:off x="6174052" y="1592217"/>
            <a:ext cx="5370248" cy="3159776"/>
          </a:xfrm>
          <a:prstGeom prst="rect">
            <a:avLst/>
          </a:prstGeom>
          <a:noFill/>
        </p:spPr>
        <p:txBody>
          <a:bodyPr wrap="square">
            <a:spAutoFit/>
          </a:bodyPr>
          <a:lstStyle/>
          <a:p>
            <a:pPr algn="ctr" defTabSz="1219170"/>
            <a:r>
              <a:rPr lang="en-GB" sz="2400" b="1" dirty="0">
                <a:solidFill>
                  <a:schemeClr val="accent1"/>
                </a:solidFill>
                <a:latin typeface="Georgia" panose="02040502050405020303" pitchFamily="18" charset="0"/>
                <a:cs typeface="Arial" pitchFamily="34" charset="0"/>
              </a:rPr>
              <a:t>Geographical Pricing</a:t>
            </a:r>
          </a:p>
          <a:p>
            <a:pPr algn="ctr" defTabSz="1219170"/>
            <a:endParaRPr lang="en-GB" sz="2133" b="1" dirty="0">
              <a:solidFill>
                <a:srgbClr val="661CCA"/>
              </a:solidFill>
              <a:latin typeface="Arial" panose="020B0604020202020204"/>
              <a:cs typeface="Arial" pitchFamily="34" charset="0"/>
            </a:endParaRPr>
          </a:p>
          <a:p>
            <a:pPr defTabSz="1219170">
              <a:buFont typeface="Arial" panose="020B0604020202020204" pitchFamily="34" charset="0"/>
              <a:buChar char="•"/>
            </a:pPr>
            <a:r>
              <a:rPr lang="en-GB" sz="1100" dirty="0">
                <a:solidFill>
                  <a:srgbClr val="0C0F12"/>
                </a:solidFill>
                <a:latin typeface="+mj-lt"/>
              </a:rPr>
              <a:t>Elsevier is piloting a program from January 2024 to set APC prices for 143 gold open access journals according to the income level (</a:t>
            </a:r>
            <a:r>
              <a:rPr lang="en-GB" sz="1100" dirty="0">
                <a:solidFill>
                  <a:srgbClr val="0C0F12"/>
                </a:solidFill>
              </a:rPr>
              <a:t>countries as classified by the World Bank as of July 2025) </a:t>
            </a:r>
            <a:r>
              <a:rPr lang="en-GB" sz="1100" dirty="0">
                <a:solidFill>
                  <a:srgbClr val="0C0F12"/>
                </a:solidFill>
                <a:latin typeface="+mj-lt"/>
              </a:rPr>
              <a:t>of the</a:t>
            </a:r>
            <a:r>
              <a:rPr lang="en-GB" sz="1100" dirty="0">
                <a:solidFill>
                  <a:schemeClr val="accent1"/>
                </a:solidFill>
                <a:latin typeface="+mj-lt"/>
              </a:rPr>
              <a:t> country </a:t>
            </a:r>
            <a:r>
              <a:rPr lang="en-GB" sz="1100" dirty="0">
                <a:solidFill>
                  <a:srgbClr val="0C0F12"/>
                </a:solidFill>
                <a:latin typeface="+mj-lt"/>
              </a:rPr>
              <a:t>the </a:t>
            </a:r>
            <a:r>
              <a:rPr lang="en-GB" sz="1100" i="1" dirty="0">
                <a:solidFill>
                  <a:schemeClr val="accent1"/>
                </a:solidFill>
                <a:latin typeface="+mj-lt"/>
              </a:rPr>
              <a:t>corresponding Author </a:t>
            </a:r>
            <a:r>
              <a:rPr lang="en-GB" sz="1100" dirty="0">
                <a:solidFill>
                  <a:srgbClr val="0C0F12"/>
                </a:solidFill>
                <a:latin typeface="+mj-lt"/>
              </a:rPr>
              <a:t>is working/living in:</a:t>
            </a:r>
          </a:p>
          <a:p>
            <a:pPr defTabSz="1219170"/>
            <a:endParaRPr lang="en-GB" sz="1100" dirty="0">
              <a:solidFill>
                <a:srgbClr val="0C0F12"/>
              </a:solidFill>
              <a:latin typeface="+mj-lt"/>
            </a:endParaRPr>
          </a:p>
          <a:p>
            <a:pPr defTabSz="1219170"/>
            <a:endParaRPr lang="en-GB" sz="1100" dirty="0">
              <a:solidFill>
                <a:srgbClr val="0C0F12"/>
              </a:solidFill>
              <a:latin typeface="+mj-lt"/>
            </a:endParaRPr>
          </a:p>
          <a:p>
            <a:pPr defTabSz="1219170">
              <a:buFont typeface="Arial" panose="020B0604020202020204" pitchFamily="34" charset="0"/>
              <a:buChar char="•"/>
            </a:pPr>
            <a:r>
              <a:rPr lang="en-GB" sz="1100" dirty="0">
                <a:solidFill>
                  <a:srgbClr val="0C0F12"/>
                </a:solidFill>
                <a:latin typeface="+mj-lt"/>
              </a:rPr>
              <a:t>For the pilot journals the APC will be:</a:t>
            </a:r>
          </a:p>
          <a:p>
            <a:pPr defTabSz="1219170"/>
            <a:r>
              <a:rPr lang="en-GB" sz="1100" dirty="0">
                <a:solidFill>
                  <a:srgbClr val="0C0F12"/>
                </a:solidFill>
                <a:latin typeface="+mj-lt"/>
              </a:rPr>
              <a:t> </a:t>
            </a:r>
          </a:p>
          <a:p>
            <a:pPr marL="781035" lvl="1" indent="-171450" defTabSz="1219170">
              <a:buFont typeface="Arial" panose="020B0604020202020204" pitchFamily="34" charset="0"/>
              <a:buChar char="•"/>
            </a:pPr>
            <a:r>
              <a:rPr lang="en-GB" sz="1100" b="1" dirty="0">
                <a:solidFill>
                  <a:srgbClr val="0C0F12"/>
                </a:solidFill>
                <a:latin typeface="+mj-lt"/>
              </a:rPr>
              <a:t>Low-income </a:t>
            </a:r>
            <a:r>
              <a:rPr lang="en-GB" sz="1100" dirty="0">
                <a:solidFill>
                  <a:srgbClr val="0C0F12"/>
                </a:solidFill>
                <a:latin typeface="+mj-lt"/>
              </a:rPr>
              <a:t>countries</a:t>
            </a:r>
            <a:r>
              <a:rPr lang="en-GB" sz="1100" b="1" dirty="0">
                <a:solidFill>
                  <a:srgbClr val="0C0F12"/>
                </a:solidFill>
                <a:latin typeface="+mj-lt"/>
              </a:rPr>
              <a:t>	- APC waived </a:t>
            </a:r>
          </a:p>
          <a:p>
            <a:pPr marL="781035" lvl="1" indent="-171450" defTabSz="1219170">
              <a:buFont typeface="Arial" panose="020B0604020202020204" pitchFamily="34" charset="0"/>
              <a:buChar char="•"/>
            </a:pPr>
            <a:r>
              <a:rPr lang="en-GB" sz="1100" b="1" dirty="0">
                <a:solidFill>
                  <a:srgbClr val="0C0F12"/>
                </a:solidFill>
                <a:latin typeface="+mj-lt"/>
              </a:rPr>
              <a:t>Lower-middle income 	</a:t>
            </a:r>
            <a:r>
              <a:rPr lang="en-GB" sz="1100" dirty="0">
                <a:solidFill>
                  <a:srgbClr val="0C0F12"/>
                </a:solidFill>
                <a:latin typeface="+mj-lt"/>
              </a:rPr>
              <a:t>-APC is </a:t>
            </a:r>
            <a:r>
              <a:rPr lang="en-GB" sz="1100" b="1" dirty="0">
                <a:solidFill>
                  <a:srgbClr val="0C0F12"/>
                </a:solidFill>
                <a:latin typeface="+mj-lt"/>
              </a:rPr>
              <a:t>20% </a:t>
            </a:r>
            <a:r>
              <a:rPr lang="en-GB" sz="1100" dirty="0">
                <a:solidFill>
                  <a:srgbClr val="0C0F12"/>
                </a:solidFill>
                <a:latin typeface="+mj-lt"/>
              </a:rPr>
              <a:t>of list price </a:t>
            </a:r>
          </a:p>
          <a:p>
            <a:pPr marL="609585" lvl="1" defTabSz="1219170"/>
            <a:r>
              <a:rPr lang="en-GB" sz="1100" dirty="0">
                <a:solidFill>
                  <a:srgbClr val="0C0F12"/>
                </a:solidFill>
                <a:latin typeface="+mj-lt"/>
              </a:rPr>
              <a:t>   countries</a:t>
            </a:r>
          </a:p>
          <a:p>
            <a:pPr marL="781035" lvl="1" indent="-171450" defTabSz="1219170">
              <a:buFont typeface="Arial" panose="020B0604020202020204" pitchFamily="34" charset="0"/>
              <a:buChar char="•"/>
            </a:pPr>
            <a:r>
              <a:rPr lang="en-GB" sz="1100" b="1" dirty="0">
                <a:solidFill>
                  <a:srgbClr val="0C0F12"/>
                </a:solidFill>
                <a:latin typeface="+mj-lt"/>
              </a:rPr>
              <a:t>Other</a:t>
            </a:r>
            <a:r>
              <a:rPr lang="en-GB" sz="1100" dirty="0">
                <a:solidFill>
                  <a:srgbClr val="0C0F12"/>
                </a:solidFill>
                <a:latin typeface="+mj-lt"/>
              </a:rPr>
              <a:t> countries 	-APC </a:t>
            </a:r>
            <a:r>
              <a:rPr lang="en-GB" sz="1100" b="1" dirty="0">
                <a:solidFill>
                  <a:srgbClr val="0C0F12"/>
                </a:solidFill>
                <a:latin typeface="+mj-lt"/>
              </a:rPr>
              <a:t>45-90% </a:t>
            </a:r>
            <a:r>
              <a:rPr lang="en-GB" sz="1100" dirty="0">
                <a:solidFill>
                  <a:srgbClr val="0C0F12"/>
                </a:solidFill>
                <a:latin typeface="+mj-lt"/>
              </a:rPr>
              <a:t>list price </a:t>
            </a:r>
          </a:p>
          <a:p>
            <a:pPr marL="609585" lvl="1" defTabSz="1219170"/>
            <a:r>
              <a:rPr lang="en-GB" sz="1100" b="1" dirty="0">
                <a:solidFill>
                  <a:srgbClr val="0C0F12"/>
                </a:solidFill>
                <a:latin typeface="+mj-lt"/>
              </a:rPr>
              <a:t>	</a:t>
            </a:r>
            <a:endParaRPr lang="en-GB" sz="1100" dirty="0">
              <a:solidFill>
                <a:srgbClr val="0C0F12"/>
              </a:solidFill>
              <a:latin typeface="+mj-lt"/>
            </a:endParaRPr>
          </a:p>
          <a:p>
            <a:r>
              <a:rPr lang="en-GB" sz="1100" dirty="0">
                <a:latin typeface="+mj-lt"/>
              </a:rPr>
              <a:t>.</a:t>
            </a:r>
          </a:p>
        </p:txBody>
      </p:sp>
      <p:sp>
        <p:nvSpPr>
          <p:cNvPr id="10" name="TextBox 9">
            <a:extLst>
              <a:ext uri="{FF2B5EF4-FFF2-40B4-BE49-F238E27FC236}">
                <a16:creationId xmlns:a16="http://schemas.microsoft.com/office/drawing/2014/main" id="{5E24D4A2-66BA-EA16-5B82-88CE0BD05B72}"/>
              </a:ext>
            </a:extLst>
          </p:cNvPr>
          <p:cNvSpPr txBox="1"/>
          <p:nvPr/>
        </p:nvSpPr>
        <p:spPr>
          <a:xfrm>
            <a:off x="6389938" y="4710891"/>
            <a:ext cx="6097772" cy="261610"/>
          </a:xfrm>
          <a:prstGeom prst="rect">
            <a:avLst/>
          </a:prstGeom>
          <a:noFill/>
        </p:spPr>
        <p:txBody>
          <a:bodyPr wrap="square">
            <a:spAutoFit/>
          </a:bodyPr>
          <a:lstStyle/>
          <a:p>
            <a:r>
              <a:rPr lang="en-GB" sz="1100" dirty="0">
                <a:solidFill>
                  <a:schemeClr val="accent2"/>
                </a:solidFill>
              </a:rPr>
              <a:t>https://www.elsevier.com/about/policies-and-standards/pricing</a:t>
            </a:r>
          </a:p>
        </p:txBody>
      </p:sp>
      <p:pic>
        <p:nvPicPr>
          <p:cNvPr id="12" name="Picture 11" descr="A logo with green and orange letters&#10;&#10;AI-generated content may be incorrect.">
            <a:extLst>
              <a:ext uri="{FF2B5EF4-FFF2-40B4-BE49-F238E27FC236}">
                <a16:creationId xmlns:a16="http://schemas.microsoft.com/office/drawing/2014/main" id="{4C9EFA0A-CFE5-A407-AFEB-13A2DEBA743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7700" y="4033505"/>
            <a:ext cx="4582942" cy="1819697"/>
          </a:xfrm>
          <a:prstGeom prst="rect">
            <a:avLst/>
          </a:prstGeom>
        </p:spPr>
      </p:pic>
    </p:spTree>
    <p:extLst>
      <p:ext uri="{BB962C8B-B14F-4D97-AF65-F5344CB8AC3E}">
        <p14:creationId xmlns:p14="http://schemas.microsoft.com/office/powerpoint/2010/main" val="893698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4D4BBA3-5178-49A3-AC58-1C2E84CEEB02}"/>
              </a:ext>
            </a:extLst>
          </p:cNvPr>
          <p:cNvSpPr>
            <a:spLocks noGrp="1"/>
          </p:cNvSpPr>
          <p:nvPr>
            <p:ph idx="1"/>
          </p:nvPr>
        </p:nvSpPr>
        <p:spPr>
          <a:xfrm>
            <a:off x="1834340" y="1132679"/>
            <a:ext cx="8523319" cy="559612"/>
          </a:xfrm>
        </p:spPr>
        <p:txBody>
          <a:bodyPr vert="horz" lIns="121920" tIns="0" rIns="121920" bIns="60960" rtlCol="0" anchor="t">
            <a:normAutofit/>
          </a:bodyPr>
          <a:lstStyle/>
          <a:p>
            <a:pPr algn="ctr"/>
            <a:r>
              <a:rPr lang="en-US" b="1" dirty="0">
                <a:solidFill>
                  <a:schemeClr val="accent2"/>
                </a:solidFill>
                <a:latin typeface="Georgia" panose="02040502050405020303" pitchFamily="18" charset="0"/>
                <a:cs typeface="Arial"/>
              </a:rPr>
              <a:t>Subscription – Open Access – Hybrid</a:t>
            </a:r>
          </a:p>
        </p:txBody>
      </p:sp>
      <p:sp>
        <p:nvSpPr>
          <p:cNvPr id="3" name="Title 2">
            <a:extLst>
              <a:ext uri="{FF2B5EF4-FFF2-40B4-BE49-F238E27FC236}">
                <a16:creationId xmlns:a16="http://schemas.microsoft.com/office/drawing/2014/main" id="{00309B98-5BA0-4E25-A359-22641B30708E}"/>
              </a:ext>
            </a:extLst>
          </p:cNvPr>
          <p:cNvSpPr>
            <a:spLocks noGrp="1"/>
          </p:cNvSpPr>
          <p:nvPr>
            <p:ph type="title"/>
          </p:nvPr>
        </p:nvSpPr>
        <p:spPr>
          <a:xfrm>
            <a:off x="737114" y="298536"/>
            <a:ext cx="10984425" cy="665780"/>
          </a:xfrm>
        </p:spPr>
        <p:txBody>
          <a:bodyPr/>
          <a:lstStyle/>
          <a:p>
            <a:r>
              <a:rPr lang="en-US" dirty="0">
                <a:latin typeface="Georgia" panose="02040502050405020303" pitchFamily="18" charset="0"/>
                <a:cs typeface="Arial"/>
              </a:rPr>
              <a:t>Journal types</a:t>
            </a:r>
            <a:endParaRPr lang="en-US" dirty="0">
              <a:latin typeface="Georgia" panose="02040502050405020303" pitchFamily="18" charset="0"/>
            </a:endParaRPr>
          </a:p>
        </p:txBody>
      </p:sp>
      <p:sp>
        <p:nvSpPr>
          <p:cNvPr id="6" name="Content Placeholder 1">
            <a:extLst>
              <a:ext uri="{FF2B5EF4-FFF2-40B4-BE49-F238E27FC236}">
                <a16:creationId xmlns:a16="http://schemas.microsoft.com/office/drawing/2014/main" id="{DE496087-D7B1-743C-E8C6-DEE9242BF73C}"/>
              </a:ext>
            </a:extLst>
          </p:cNvPr>
          <p:cNvSpPr txBox="1">
            <a:spLocks/>
          </p:cNvSpPr>
          <p:nvPr/>
        </p:nvSpPr>
        <p:spPr>
          <a:xfrm>
            <a:off x="609601" y="1860654"/>
            <a:ext cx="8523319" cy="4226995"/>
          </a:xfrm>
          <a:prstGeom prst="rect">
            <a:avLst/>
          </a:prstGeom>
        </p:spPr>
        <p:txBody>
          <a:bodyPr vert="horz" lIns="121920" tIns="0" rIns="121920" bIns="60960" rtlCol="0" anchor="t">
            <a:normAutofit/>
          </a:bodyPr>
          <a:lstStyle>
            <a:lvl1pPr marL="0" indent="0" algn="l" defTabSz="685800" rtl="0" eaLnBrk="1" latinLnBrk="0" hangingPunct="1">
              <a:lnSpc>
                <a:spcPct val="100000"/>
              </a:lnSpc>
              <a:spcBef>
                <a:spcPts val="0"/>
              </a:spcBef>
              <a:spcAft>
                <a:spcPts val="600"/>
              </a:spcAft>
              <a:buClr>
                <a:srgbClr val="FF6C00"/>
              </a:buClr>
              <a:buFont typeface="Arial" panose="020B0604020202020204" pitchFamily="34" charset="0"/>
              <a:buNone/>
              <a:tabLst>
                <a:tab pos="266700" algn="l"/>
              </a:tabLst>
              <a:defRPr lang="nl-NL" sz="1800" kern="1200">
                <a:solidFill>
                  <a:srgbClr val="53565A"/>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tx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tx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a:lstStyle>
          <a:p>
            <a:pPr defTabSz="914377">
              <a:spcAft>
                <a:spcPts val="800"/>
              </a:spcAft>
              <a:tabLst>
                <a:tab pos="355591" algn="l"/>
              </a:tabLst>
            </a:pPr>
            <a:r>
              <a:rPr lang="en-US" sz="1600" b="1" dirty="0">
                <a:latin typeface="Arial" panose="020B0604020202020204"/>
                <a:cs typeface="Arial"/>
              </a:rPr>
              <a:t>Check the journal’s homepage under “Open Access Options”</a:t>
            </a:r>
          </a:p>
          <a:p>
            <a:pPr defTabSz="914377">
              <a:spcAft>
                <a:spcPts val="800"/>
              </a:spcAft>
              <a:tabLst>
                <a:tab pos="355591" algn="l"/>
              </a:tabLst>
            </a:pPr>
            <a:endParaRPr lang="en-US" sz="1600" b="1" dirty="0">
              <a:latin typeface="Arial" panose="020B0604020202020204"/>
              <a:cs typeface="Arial"/>
            </a:endParaRPr>
          </a:p>
          <a:p>
            <a:pPr marL="623985" lvl="1" indent="0" defTabSz="914377">
              <a:spcBef>
                <a:spcPts val="500"/>
              </a:spcBef>
              <a:spcAft>
                <a:spcPts val="800"/>
              </a:spcAft>
              <a:buNone/>
            </a:pPr>
            <a:r>
              <a:rPr lang="en-US" b="1" dirty="0">
                <a:solidFill>
                  <a:schemeClr val="accent2"/>
                </a:solidFill>
                <a:latin typeface="Arial" panose="020B0604020202020204"/>
                <a:cs typeface="Arial"/>
              </a:rPr>
              <a:t>Open Access </a:t>
            </a:r>
            <a:r>
              <a:rPr lang="en-US" dirty="0">
                <a:solidFill>
                  <a:srgbClr val="53565A"/>
                </a:solidFill>
                <a:latin typeface="Arial" panose="020B0604020202020204"/>
                <a:cs typeface="Arial"/>
              </a:rPr>
              <a:t>–Author (or their funder/institution) pays the APC</a:t>
            </a:r>
          </a:p>
          <a:p>
            <a:pPr marL="1812180" lvl="3" indent="-380990" defTabSz="914377">
              <a:spcBef>
                <a:spcPts val="0"/>
              </a:spcBef>
              <a:buFont typeface="Arial" panose="020B0604020202020204" pitchFamily="34" charset="0"/>
              <a:buChar char="•"/>
            </a:pPr>
            <a:r>
              <a:rPr lang="en-US" sz="1400" b="1" dirty="0">
                <a:solidFill>
                  <a:srgbClr val="53565A"/>
                </a:solidFill>
                <a:latin typeface="Arial" panose="020B0604020202020204"/>
                <a:cs typeface="Arial"/>
              </a:rPr>
              <a:t>Free for all to read, </a:t>
            </a:r>
            <a:r>
              <a:rPr lang="en-US" sz="1400" dirty="0">
                <a:solidFill>
                  <a:srgbClr val="53565A"/>
                </a:solidFill>
                <a:latin typeface="Arial" panose="020B0604020202020204"/>
                <a:cs typeface="Arial"/>
              </a:rPr>
              <a:t>no log on or subscription needed </a:t>
            </a:r>
          </a:p>
          <a:p>
            <a:pPr marL="2412940" lvl="5" indent="0" defTabSz="914377">
              <a:spcBef>
                <a:spcPts val="500"/>
              </a:spcBef>
              <a:buNone/>
            </a:pPr>
            <a:endParaRPr lang="en-US" sz="1600" dirty="0">
              <a:solidFill>
                <a:srgbClr val="53565A"/>
              </a:solidFill>
              <a:latin typeface="Arial" panose="020B0604020202020204"/>
              <a:cs typeface="Arial"/>
            </a:endParaRPr>
          </a:p>
          <a:p>
            <a:pPr marL="623985" lvl="1" indent="0" defTabSz="914377">
              <a:spcBef>
                <a:spcPts val="500"/>
              </a:spcBef>
              <a:spcAft>
                <a:spcPts val="800"/>
              </a:spcAft>
              <a:buNone/>
            </a:pPr>
            <a:r>
              <a:rPr lang="en-US" b="1" dirty="0">
                <a:solidFill>
                  <a:schemeClr val="accent2"/>
                </a:solidFill>
                <a:latin typeface="Arial" panose="020B0604020202020204"/>
                <a:cs typeface="Arial"/>
              </a:rPr>
              <a:t>Subscription</a:t>
            </a:r>
            <a:r>
              <a:rPr lang="en-US" dirty="0">
                <a:solidFill>
                  <a:schemeClr val="accent2"/>
                </a:solidFill>
                <a:latin typeface="Arial" panose="020B0604020202020204"/>
                <a:cs typeface="Arial"/>
              </a:rPr>
              <a:t> </a:t>
            </a:r>
            <a:r>
              <a:rPr lang="en-US" dirty="0">
                <a:solidFill>
                  <a:srgbClr val="53565A"/>
                </a:solidFill>
                <a:latin typeface="Arial" panose="020B0604020202020204"/>
                <a:cs typeface="Arial"/>
              </a:rPr>
              <a:t>– </a:t>
            </a:r>
            <a:r>
              <a:rPr lang="en-US" b="1" dirty="0">
                <a:solidFill>
                  <a:srgbClr val="53565A"/>
                </a:solidFill>
                <a:latin typeface="Arial" panose="020B0604020202020204"/>
                <a:cs typeface="Arial"/>
              </a:rPr>
              <a:t>Author pays nothing to publish</a:t>
            </a:r>
          </a:p>
          <a:p>
            <a:pPr marL="1724957" lvl="4" indent="-380990" defTabSz="914377">
              <a:spcBef>
                <a:spcPts val="0"/>
              </a:spcBef>
              <a:spcAft>
                <a:spcPts val="800"/>
              </a:spcAft>
              <a:buFont typeface="Arial" panose="020B0604020202020204" pitchFamily="34" charset="0"/>
              <a:buChar char="•"/>
            </a:pPr>
            <a:r>
              <a:rPr lang="en-US" sz="1400" dirty="0">
                <a:solidFill>
                  <a:srgbClr val="53565A"/>
                </a:solidFill>
                <a:latin typeface="Arial" panose="020B0604020202020204"/>
                <a:cs typeface="Arial"/>
              </a:rPr>
              <a:t>Academic libraries pay a subscription for their library members to read</a:t>
            </a:r>
          </a:p>
          <a:p>
            <a:pPr marL="1724957" lvl="4" indent="-380990" defTabSz="914377">
              <a:spcBef>
                <a:spcPts val="0"/>
              </a:spcBef>
              <a:spcAft>
                <a:spcPts val="800"/>
              </a:spcAft>
              <a:buFont typeface="Arial" panose="020B0604020202020204" pitchFamily="34" charset="0"/>
              <a:buChar char="•"/>
            </a:pPr>
            <a:r>
              <a:rPr lang="en-US" sz="1400" dirty="0">
                <a:solidFill>
                  <a:srgbClr val="53565A"/>
                </a:solidFill>
                <a:latin typeface="Arial" panose="020B0604020202020204"/>
                <a:cs typeface="Arial"/>
              </a:rPr>
              <a:t>Non-affiliated readers member of the public can purchase individual articles to read online </a:t>
            </a:r>
          </a:p>
          <a:p>
            <a:pPr marL="1343967" lvl="4" indent="0" defTabSz="914377">
              <a:spcBef>
                <a:spcPts val="0"/>
              </a:spcBef>
              <a:spcAft>
                <a:spcPts val="800"/>
              </a:spcAft>
              <a:buNone/>
            </a:pPr>
            <a:endParaRPr lang="en-US" sz="1100" dirty="0">
              <a:solidFill>
                <a:srgbClr val="53565A"/>
              </a:solidFill>
              <a:latin typeface="Arial" panose="020B0604020202020204"/>
              <a:cs typeface="Arial"/>
            </a:endParaRPr>
          </a:p>
          <a:p>
            <a:pPr marL="623985" lvl="1" indent="0" defTabSz="914377">
              <a:spcBef>
                <a:spcPts val="500"/>
              </a:spcBef>
              <a:spcAft>
                <a:spcPts val="800"/>
              </a:spcAft>
              <a:buNone/>
            </a:pPr>
            <a:r>
              <a:rPr lang="en-US" b="1" dirty="0">
                <a:solidFill>
                  <a:schemeClr val="accent2"/>
                </a:solidFill>
                <a:latin typeface="Arial" panose="020B0604020202020204"/>
                <a:cs typeface="Arial"/>
              </a:rPr>
              <a:t>Hybrid journal </a:t>
            </a:r>
            <a:r>
              <a:rPr lang="en-US" dirty="0">
                <a:solidFill>
                  <a:srgbClr val="53565A"/>
                </a:solidFill>
                <a:latin typeface="Arial" panose="020B0604020202020204"/>
                <a:cs typeface="Arial"/>
              </a:rPr>
              <a:t>– Allows the Author to chose</a:t>
            </a:r>
          </a:p>
          <a:p>
            <a:pPr marL="1544975" lvl="4" indent="-380990" defTabSz="914377">
              <a:spcBef>
                <a:spcPts val="0"/>
              </a:spcBef>
              <a:spcAft>
                <a:spcPts val="800"/>
              </a:spcAft>
              <a:buFont typeface="Arial" panose="020B0604020202020204" pitchFamily="34" charset="0"/>
              <a:buChar char="•"/>
            </a:pPr>
            <a:r>
              <a:rPr lang="en-US" sz="1400" dirty="0">
                <a:solidFill>
                  <a:srgbClr val="53565A"/>
                </a:solidFill>
                <a:latin typeface="Arial" panose="020B0604020202020204"/>
                <a:cs typeface="Arial"/>
              </a:rPr>
              <a:t>Only some of the journal’s articles are freely available to download and read </a:t>
            </a:r>
            <a:endParaRPr lang="en-US" sz="1100" dirty="0">
              <a:solidFill>
                <a:srgbClr val="53565A"/>
              </a:solidFill>
              <a:latin typeface="Arial" panose="020B0604020202020204"/>
              <a:cs typeface="Arial"/>
            </a:endParaRPr>
          </a:p>
        </p:txBody>
      </p:sp>
      <p:sp>
        <p:nvSpPr>
          <p:cNvPr id="7" name="TextBox 6">
            <a:extLst>
              <a:ext uri="{FF2B5EF4-FFF2-40B4-BE49-F238E27FC236}">
                <a16:creationId xmlns:a16="http://schemas.microsoft.com/office/drawing/2014/main" id="{8D5F40BF-C2DE-7406-C3CA-33850AE5769A}"/>
              </a:ext>
            </a:extLst>
          </p:cNvPr>
          <p:cNvSpPr txBox="1"/>
          <p:nvPr/>
        </p:nvSpPr>
        <p:spPr>
          <a:xfrm>
            <a:off x="5967897" y="5840513"/>
            <a:ext cx="6097772" cy="830997"/>
          </a:xfrm>
          <a:prstGeom prst="rect">
            <a:avLst/>
          </a:prstGeom>
          <a:noFill/>
          <a:ln w="38100">
            <a:solidFill>
              <a:schemeClr val="accent2"/>
            </a:solidFill>
          </a:ln>
        </p:spPr>
        <p:txBody>
          <a:bodyPr wrap="square">
            <a:spAutoFit/>
          </a:bodyPr>
          <a:lstStyle/>
          <a:p>
            <a:pPr algn="ctr" defTabSz="914377">
              <a:spcAft>
                <a:spcPts val="800"/>
              </a:spcAft>
              <a:tabLst>
                <a:tab pos="355591" algn="l"/>
              </a:tabLst>
            </a:pPr>
            <a:r>
              <a:rPr lang="en-US" sz="1600" dirty="0">
                <a:cs typeface="Arial"/>
              </a:rPr>
              <a:t>Know your funding status and any requirements of your project/funder/institution, and of any institutional library agreements BEFORE submitting</a:t>
            </a:r>
          </a:p>
        </p:txBody>
      </p:sp>
    </p:spTree>
    <p:extLst>
      <p:ext uri="{BB962C8B-B14F-4D97-AF65-F5344CB8AC3E}">
        <p14:creationId xmlns:p14="http://schemas.microsoft.com/office/powerpoint/2010/main" val="3238416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4D4BBA3-5178-49A3-AC58-1C2E84CEEB02}"/>
              </a:ext>
            </a:extLst>
          </p:cNvPr>
          <p:cNvSpPr>
            <a:spLocks noGrp="1"/>
          </p:cNvSpPr>
          <p:nvPr>
            <p:ph idx="1"/>
          </p:nvPr>
        </p:nvSpPr>
        <p:spPr>
          <a:xfrm>
            <a:off x="318803" y="1887176"/>
            <a:ext cx="6925736" cy="4779726"/>
          </a:xfrm>
        </p:spPr>
        <p:txBody>
          <a:bodyPr vert="horz" lIns="121920" tIns="0" rIns="121920" bIns="60960" rtlCol="0" anchor="t">
            <a:normAutofit fontScale="85000" lnSpcReduction="20000"/>
          </a:bodyPr>
          <a:lstStyle/>
          <a:p>
            <a:pPr marL="380990" indent="-380990">
              <a:buChar char="•"/>
            </a:pPr>
            <a:r>
              <a:rPr lang="en-US" sz="2100" dirty="0">
                <a:cs typeface="Arial"/>
              </a:rPr>
              <a:t>What is a Gold Open Access journal? </a:t>
            </a:r>
          </a:p>
          <a:p>
            <a:pPr marL="380990" indent="-380990">
              <a:buChar char="•"/>
            </a:pPr>
            <a:r>
              <a:rPr lang="en-US" sz="2100" dirty="0">
                <a:cs typeface="Arial"/>
              </a:rPr>
              <a:t>Do I need to pay an Article Processing Charge (APC)?</a:t>
            </a:r>
          </a:p>
          <a:p>
            <a:pPr marL="1066773" lvl="1" indent="-380990">
              <a:buChar char="•"/>
            </a:pPr>
            <a:r>
              <a:rPr lang="en-US" sz="2100" dirty="0">
                <a:cs typeface="Arial"/>
              </a:rPr>
              <a:t>Ukrainian Researcher support scheme </a:t>
            </a:r>
          </a:p>
          <a:p>
            <a:pPr marL="1066773" lvl="1" indent="-380990">
              <a:buChar char="•"/>
            </a:pPr>
            <a:r>
              <a:rPr lang="en-US" sz="2100" dirty="0">
                <a:cs typeface="Arial"/>
              </a:rPr>
              <a:t>Institutional agreements</a:t>
            </a:r>
          </a:p>
          <a:p>
            <a:pPr marL="1066773" lvl="1" indent="-380990">
              <a:buChar char="•"/>
            </a:pPr>
            <a:r>
              <a:rPr lang="en-US" sz="2100" dirty="0">
                <a:cs typeface="Arial"/>
              </a:rPr>
              <a:t>APC waivers/promotions – new launch titles</a:t>
            </a:r>
          </a:p>
          <a:p>
            <a:pPr marL="1066773" lvl="1" indent="-380990">
              <a:buChar char="•"/>
            </a:pPr>
            <a:r>
              <a:rPr lang="en-US" sz="2100" dirty="0">
                <a:cs typeface="Arial"/>
                <a:hlinkClick r:id="rId3"/>
              </a:rPr>
              <a:t>Geographical Pricing scheme</a:t>
            </a:r>
            <a:r>
              <a:rPr lang="en-US" sz="2100" dirty="0">
                <a:cs typeface="Arial"/>
              </a:rPr>
              <a:t> (including countries affected by war and political upheavals)</a:t>
            </a:r>
          </a:p>
          <a:p>
            <a:pPr marL="685783" lvl="1" indent="0">
              <a:buNone/>
            </a:pPr>
            <a:endParaRPr lang="en-US" sz="2100" dirty="0">
              <a:cs typeface="Arial"/>
            </a:endParaRPr>
          </a:p>
          <a:p>
            <a:pPr marL="380990" indent="-380990">
              <a:buChar char="•"/>
            </a:pPr>
            <a:r>
              <a:rPr lang="en-US" sz="2100" dirty="0">
                <a:cs typeface="Arial"/>
              </a:rPr>
              <a:t>Why publish in a Gold OA journal?</a:t>
            </a:r>
          </a:p>
          <a:p>
            <a:pPr marL="1066773" lvl="1" indent="-380990">
              <a:buFont typeface="Arial"/>
              <a:buChar char="•"/>
            </a:pPr>
            <a:r>
              <a:rPr lang="en-US" sz="2100" dirty="0">
                <a:cs typeface="Arial"/>
              </a:rPr>
              <a:t>Funder mandates </a:t>
            </a:r>
          </a:p>
          <a:p>
            <a:pPr marL="1066773" lvl="1" indent="-380990">
              <a:buFont typeface="Arial"/>
              <a:buChar char="•"/>
            </a:pPr>
            <a:r>
              <a:rPr lang="en-US" sz="2100" dirty="0">
                <a:cs typeface="Arial"/>
              </a:rPr>
              <a:t>Speed/scope</a:t>
            </a:r>
          </a:p>
          <a:p>
            <a:pPr marL="1066773" lvl="1" indent="-380990">
              <a:buFont typeface="Arial"/>
              <a:buChar char="•"/>
            </a:pPr>
            <a:r>
              <a:rPr lang="en-US" sz="2100" dirty="0">
                <a:cs typeface="Arial"/>
              </a:rPr>
              <a:t>Wider reach</a:t>
            </a:r>
          </a:p>
          <a:p>
            <a:pPr marL="1066773" lvl="1" indent="-380990">
              <a:buFont typeface="Arial"/>
              <a:buChar char="•"/>
            </a:pPr>
            <a:r>
              <a:rPr lang="en-US" sz="2100" dirty="0">
                <a:cs typeface="Arial"/>
              </a:rPr>
              <a:t>Personal preference</a:t>
            </a:r>
          </a:p>
          <a:p>
            <a:pPr marL="380990" indent="-380990">
              <a:buChar char="•"/>
            </a:pPr>
            <a:endParaRPr lang="en-US" dirty="0">
              <a:cs typeface="Arial"/>
            </a:endParaRPr>
          </a:p>
          <a:p>
            <a:pPr marL="1066773" lvl="1" indent="-380990">
              <a:buFont typeface="Arial"/>
              <a:buChar char="•"/>
            </a:pPr>
            <a:endParaRPr lang="en-US" dirty="0">
              <a:cs typeface="Arial"/>
            </a:endParaRPr>
          </a:p>
        </p:txBody>
      </p:sp>
      <p:sp>
        <p:nvSpPr>
          <p:cNvPr id="3" name="Title 2">
            <a:extLst>
              <a:ext uri="{FF2B5EF4-FFF2-40B4-BE49-F238E27FC236}">
                <a16:creationId xmlns:a16="http://schemas.microsoft.com/office/drawing/2014/main" id="{00309B98-5BA0-4E25-A359-22641B30708E}"/>
              </a:ext>
            </a:extLst>
          </p:cNvPr>
          <p:cNvSpPr>
            <a:spLocks noGrp="1"/>
          </p:cNvSpPr>
          <p:nvPr>
            <p:ph type="title"/>
          </p:nvPr>
        </p:nvSpPr>
        <p:spPr>
          <a:xfrm>
            <a:off x="609600" y="528198"/>
            <a:ext cx="10984425" cy="418645"/>
          </a:xfrm>
        </p:spPr>
        <p:txBody>
          <a:bodyPr/>
          <a:lstStyle/>
          <a:p>
            <a:r>
              <a:rPr lang="en-US" dirty="0">
                <a:latin typeface="Georgia" panose="02040502050405020303" pitchFamily="18" charset="0"/>
                <a:cs typeface="Arial"/>
              </a:rPr>
              <a:t>Publishing in an Open Access journal</a:t>
            </a:r>
            <a:endParaRPr lang="en-US" dirty="0">
              <a:latin typeface="Georgia" panose="02040502050405020303" pitchFamily="18" charset="0"/>
            </a:endParaRPr>
          </a:p>
        </p:txBody>
      </p:sp>
      <p:sp>
        <p:nvSpPr>
          <p:cNvPr id="4" name="Text Placeholder 3">
            <a:extLst>
              <a:ext uri="{FF2B5EF4-FFF2-40B4-BE49-F238E27FC236}">
                <a16:creationId xmlns:a16="http://schemas.microsoft.com/office/drawing/2014/main" id="{4C596EF8-B2C4-4FD0-8E88-748844B66667}"/>
              </a:ext>
            </a:extLst>
          </p:cNvPr>
          <p:cNvSpPr>
            <a:spLocks noGrp="1"/>
          </p:cNvSpPr>
          <p:nvPr>
            <p:ph type="body" sz="quarter" idx="10"/>
          </p:nvPr>
        </p:nvSpPr>
        <p:spPr/>
        <p:txBody>
          <a:bodyPr vert="horz" lIns="121920" tIns="0" rIns="121920" bIns="60960" rtlCol="0" anchor="t">
            <a:noAutofit/>
          </a:bodyPr>
          <a:lstStyle/>
          <a:p>
            <a:r>
              <a:rPr lang="en-US" sz="2400" dirty="0">
                <a:latin typeface="Georgia" panose="02040502050405020303" pitchFamily="18" charset="0"/>
                <a:cs typeface="Arial"/>
              </a:rPr>
              <a:t>Gold Open Access Journals </a:t>
            </a:r>
            <a:endParaRPr lang="en-US" sz="2400" dirty="0">
              <a:latin typeface="Georgia" panose="02040502050405020303" pitchFamily="18" charset="0"/>
            </a:endParaRPr>
          </a:p>
        </p:txBody>
      </p:sp>
      <p:grpSp>
        <p:nvGrpSpPr>
          <p:cNvPr id="19" name="Group 18">
            <a:extLst>
              <a:ext uri="{FF2B5EF4-FFF2-40B4-BE49-F238E27FC236}">
                <a16:creationId xmlns:a16="http://schemas.microsoft.com/office/drawing/2014/main" id="{C25EFE1E-9A57-6997-E282-61873036D90B}"/>
              </a:ext>
            </a:extLst>
          </p:cNvPr>
          <p:cNvGrpSpPr/>
          <p:nvPr/>
        </p:nvGrpSpPr>
        <p:grpSpPr>
          <a:xfrm>
            <a:off x="7968173" y="2058489"/>
            <a:ext cx="4223827" cy="2889410"/>
            <a:chOff x="7968173" y="3060103"/>
            <a:chExt cx="4223827" cy="2889410"/>
          </a:xfrm>
        </p:grpSpPr>
        <p:sp>
          <p:nvSpPr>
            <p:cNvPr id="5" name="Rectangle 4">
              <a:extLst>
                <a:ext uri="{FF2B5EF4-FFF2-40B4-BE49-F238E27FC236}">
                  <a16:creationId xmlns:a16="http://schemas.microsoft.com/office/drawing/2014/main" id="{CC197447-5DCB-F39C-C735-C39A795E2A75}"/>
                </a:ext>
              </a:extLst>
            </p:cNvPr>
            <p:cNvSpPr/>
            <p:nvPr/>
          </p:nvSpPr>
          <p:spPr>
            <a:xfrm>
              <a:off x="9561968" y="3319486"/>
              <a:ext cx="1027845" cy="246221"/>
            </a:xfrm>
            <a:prstGeom prst="rect">
              <a:avLst/>
            </a:prstGeom>
            <a:ln>
              <a:noFill/>
            </a:ln>
          </p:spPr>
          <p:txBody>
            <a:bodyPr wrap="none">
              <a:spAutoFit/>
            </a:bodyPr>
            <a:lstStyle/>
            <a:p>
              <a:pPr algn="ctr" defTabSz="685800">
                <a:defRPr/>
              </a:pPr>
              <a:r>
                <a:rPr lang="en-US" sz="1000" b="1" kern="0" dirty="0">
                  <a:solidFill>
                    <a:prstClr val="white"/>
                  </a:solidFill>
                  <a:latin typeface="Arial" panose="020B0604020202020204" pitchFamily="34" charset="0"/>
                  <a:cs typeface="Arial" panose="020B0604020202020204" pitchFamily="34" charset="0"/>
                </a:rPr>
                <a:t>Open Science</a:t>
              </a:r>
            </a:p>
          </p:txBody>
        </p:sp>
        <p:grpSp>
          <p:nvGrpSpPr>
            <p:cNvPr id="6" name="Group 5">
              <a:extLst>
                <a:ext uri="{FF2B5EF4-FFF2-40B4-BE49-F238E27FC236}">
                  <a16:creationId xmlns:a16="http://schemas.microsoft.com/office/drawing/2014/main" id="{E411C4FB-F308-CF68-BDD8-C74DF353BB5B}"/>
                </a:ext>
              </a:extLst>
            </p:cNvPr>
            <p:cNvGrpSpPr/>
            <p:nvPr/>
          </p:nvGrpSpPr>
          <p:grpSpPr>
            <a:xfrm>
              <a:off x="7968173" y="3060103"/>
              <a:ext cx="3840427" cy="2848636"/>
              <a:chOff x="3245609" y="1960880"/>
              <a:chExt cx="5300115" cy="2745875"/>
            </a:xfrm>
          </p:grpSpPr>
          <p:sp>
            <p:nvSpPr>
              <p:cNvPr id="8" name="Rectangle 7">
                <a:extLst>
                  <a:ext uri="{FF2B5EF4-FFF2-40B4-BE49-F238E27FC236}">
                    <a16:creationId xmlns:a16="http://schemas.microsoft.com/office/drawing/2014/main" id="{EF613FEF-FC10-CFB2-5B20-8512D63B9487}"/>
                  </a:ext>
                </a:extLst>
              </p:cNvPr>
              <p:cNvSpPr/>
              <p:nvPr/>
            </p:nvSpPr>
            <p:spPr>
              <a:xfrm>
                <a:off x="3247577" y="2670898"/>
                <a:ext cx="1256115" cy="16625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i="1" dirty="0">
                    <a:latin typeface="Arial" panose="020B0604020202020204" pitchFamily="34" charset="0"/>
                    <a:cs typeface="Arial" panose="020B0604020202020204" pitchFamily="34" charset="0"/>
                  </a:rPr>
                  <a:t>Open access</a:t>
                </a:r>
              </a:p>
            </p:txBody>
          </p:sp>
          <p:sp>
            <p:nvSpPr>
              <p:cNvPr id="9" name="Rectangle 8">
                <a:extLst>
                  <a:ext uri="{FF2B5EF4-FFF2-40B4-BE49-F238E27FC236}">
                    <a16:creationId xmlns:a16="http://schemas.microsoft.com/office/drawing/2014/main" id="{13B1CE7F-4503-DD8F-B485-4CEAA49276BA}"/>
                  </a:ext>
                </a:extLst>
              </p:cNvPr>
              <p:cNvSpPr/>
              <p:nvPr/>
            </p:nvSpPr>
            <p:spPr>
              <a:xfrm>
                <a:off x="4594921" y="2660102"/>
                <a:ext cx="1256116" cy="16625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i="1" dirty="0">
                    <a:latin typeface="Arial" panose="020B0604020202020204" pitchFamily="34" charset="0"/>
                    <a:cs typeface="Arial" panose="020B0604020202020204" pitchFamily="34" charset="0"/>
                  </a:rPr>
                  <a:t>Open data and transparent reporting</a:t>
                </a:r>
              </a:p>
            </p:txBody>
          </p:sp>
          <p:sp>
            <p:nvSpPr>
              <p:cNvPr id="10" name="Rectangle 9">
                <a:extLst>
                  <a:ext uri="{FF2B5EF4-FFF2-40B4-BE49-F238E27FC236}">
                    <a16:creationId xmlns:a16="http://schemas.microsoft.com/office/drawing/2014/main" id="{E2B4DC96-11FC-6E1A-0549-5A4EC7AA06D4}"/>
                  </a:ext>
                </a:extLst>
              </p:cNvPr>
              <p:cNvSpPr/>
              <p:nvPr/>
            </p:nvSpPr>
            <p:spPr>
              <a:xfrm>
                <a:off x="5942265" y="2660102"/>
                <a:ext cx="1256116" cy="16625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b="1" i="1" dirty="0">
                    <a:latin typeface="Arial" panose="020B0604020202020204" pitchFamily="34" charset="0"/>
                    <a:cs typeface="Arial" panose="020B0604020202020204" pitchFamily="34" charset="0"/>
                  </a:rPr>
                  <a:t>Open indicators </a:t>
                </a:r>
              </a:p>
              <a:p>
                <a:pPr algn="ctr"/>
                <a:r>
                  <a:rPr lang="en-US" sz="1000" b="1" i="1" dirty="0">
                    <a:latin typeface="Arial" panose="020B0604020202020204" pitchFamily="34" charset="0"/>
                    <a:cs typeface="Arial" panose="020B0604020202020204" pitchFamily="34" charset="0"/>
                  </a:rPr>
                  <a:t>and research evaluation</a:t>
                </a:r>
              </a:p>
            </p:txBody>
          </p:sp>
          <p:sp>
            <p:nvSpPr>
              <p:cNvPr id="11" name="Rectangle 10">
                <a:extLst>
                  <a:ext uri="{FF2B5EF4-FFF2-40B4-BE49-F238E27FC236}">
                    <a16:creationId xmlns:a16="http://schemas.microsoft.com/office/drawing/2014/main" id="{FFB0447B-5197-3F59-D786-CD11BED8AC0F}"/>
                  </a:ext>
                </a:extLst>
              </p:cNvPr>
              <p:cNvSpPr/>
              <p:nvPr/>
            </p:nvSpPr>
            <p:spPr>
              <a:xfrm>
                <a:off x="7289609" y="2670898"/>
                <a:ext cx="1256115" cy="16625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b="1" i="1" dirty="0">
                    <a:latin typeface="Arial" panose="020B0604020202020204" pitchFamily="34" charset="0"/>
                    <a:cs typeface="Arial" panose="020B0604020202020204" pitchFamily="34" charset="0"/>
                  </a:rPr>
                  <a:t>Science </a:t>
                </a:r>
                <a:br>
                  <a:rPr lang="en-US" sz="1000" b="1" i="1" dirty="0">
                    <a:latin typeface="Arial" panose="020B0604020202020204" pitchFamily="34" charset="0"/>
                    <a:cs typeface="Arial" panose="020B0604020202020204" pitchFamily="34" charset="0"/>
                  </a:rPr>
                </a:br>
                <a:r>
                  <a:rPr lang="en-US" sz="1000" b="1" i="1" dirty="0">
                    <a:latin typeface="Arial" panose="020B0604020202020204" pitchFamily="34" charset="0"/>
                    <a:cs typeface="Arial" panose="020B0604020202020204" pitchFamily="34" charset="0"/>
                  </a:rPr>
                  <a:t>and society</a:t>
                </a:r>
              </a:p>
            </p:txBody>
          </p:sp>
          <p:sp>
            <p:nvSpPr>
              <p:cNvPr id="12" name="Rectangle 11">
                <a:extLst>
                  <a:ext uri="{FF2B5EF4-FFF2-40B4-BE49-F238E27FC236}">
                    <a16:creationId xmlns:a16="http://schemas.microsoft.com/office/drawing/2014/main" id="{E6752AE7-64AE-9D17-839D-CBF68A62CE03}"/>
                  </a:ext>
                </a:extLst>
              </p:cNvPr>
              <p:cNvSpPr/>
              <p:nvPr/>
            </p:nvSpPr>
            <p:spPr>
              <a:xfrm>
                <a:off x="3247576" y="4377275"/>
                <a:ext cx="5298146" cy="32948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i="1" dirty="0">
                    <a:latin typeface="Arial" panose="020B0604020202020204" pitchFamily="34" charset="0"/>
                    <a:cs typeface="Arial" panose="020B0604020202020204" pitchFamily="34" charset="0"/>
                  </a:rPr>
                  <a:t>Open tools and software</a:t>
                </a:r>
              </a:p>
            </p:txBody>
          </p:sp>
          <p:sp>
            <p:nvSpPr>
              <p:cNvPr id="13" name="Isosceles Triangle 31">
                <a:extLst>
                  <a:ext uri="{FF2B5EF4-FFF2-40B4-BE49-F238E27FC236}">
                    <a16:creationId xmlns:a16="http://schemas.microsoft.com/office/drawing/2014/main" id="{35B28006-85BE-A2BB-0E17-B61D81F30BF1}"/>
                  </a:ext>
                </a:extLst>
              </p:cNvPr>
              <p:cNvSpPr/>
              <p:nvPr/>
            </p:nvSpPr>
            <p:spPr>
              <a:xfrm>
                <a:off x="3245609" y="1960880"/>
                <a:ext cx="5298147" cy="58923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en-US" sz="1000" b="1" i="1" dirty="0">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A94B56DE-DB88-0260-BCDF-1146751D4E57}"/>
                  </a:ext>
                </a:extLst>
              </p:cNvPr>
              <p:cNvSpPr/>
              <p:nvPr/>
            </p:nvSpPr>
            <p:spPr>
              <a:xfrm>
                <a:off x="5242963" y="2212579"/>
                <a:ext cx="1398603" cy="237339"/>
              </a:xfrm>
              <a:prstGeom prst="rect">
                <a:avLst/>
              </a:prstGeom>
              <a:ln>
                <a:noFill/>
              </a:ln>
            </p:spPr>
            <p:txBody>
              <a:bodyPr wrap="none">
                <a:spAutoFit/>
              </a:bodyPr>
              <a:lstStyle/>
              <a:p>
                <a:pPr algn="ctr"/>
                <a:r>
                  <a:rPr lang="en-US" sz="1000" b="1" i="1" dirty="0">
                    <a:solidFill>
                      <a:schemeClr val="bg1"/>
                    </a:solidFill>
                    <a:latin typeface="Arial" panose="020B0604020202020204" pitchFamily="34" charset="0"/>
                    <a:cs typeface="Arial" panose="020B0604020202020204" pitchFamily="34" charset="0"/>
                  </a:rPr>
                  <a:t>Open science</a:t>
                </a:r>
              </a:p>
            </p:txBody>
          </p:sp>
        </p:grpSp>
        <p:sp>
          <p:nvSpPr>
            <p:cNvPr id="16" name="Rectangle 15">
              <a:extLst>
                <a:ext uri="{FF2B5EF4-FFF2-40B4-BE49-F238E27FC236}">
                  <a16:creationId xmlns:a16="http://schemas.microsoft.com/office/drawing/2014/main" id="{37DD75C0-3055-910E-B0F4-24B1DDEDC607}"/>
                </a:ext>
              </a:extLst>
            </p:cNvPr>
            <p:cNvSpPr/>
            <p:nvPr/>
          </p:nvSpPr>
          <p:spPr>
            <a:xfrm>
              <a:off x="8879771" y="3700105"/>
              <a:ext cx="3312229" cy="1850069"/>
            </a:xfrm>
            <a:prstGeom prst="rect">
              <a:avLst/>
            </a:prstGeom>
            <a:solidFill>
              <a:srgbClr val="FFFFFF">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17" name="Rectangle 16">
              <a:extLst>
                <a:ext uri="{FF2B5EF4-FFF2-40B4-BE49-F238E27FC236}">
                  <a16:creationId xmlns:a16="http://schemas.microsoft.com/office/drawing/2014/main" id="{358F2000-A357-42FF-56C2-A3419D67E5DE}"/>
                </a:ext>
              </a:extLst>
            </p:cNvPr>
            <p:cNvSpPr/>
            <p:nvPr/>
          </p:nvSpPr>
          <p:spPr>
            <a:xfrm>
              <a:off x="7968173" y="5553513"/>
              <a:ext cx="3839000" cy="396000"/>
            </a:xfrm>
            <a:prstGeom prst="rect">
              <a:avLst/>
            </a:prstGeom>
            <a:solidFill>
              <a:srgbClr val="FFFFFF">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grpSp>
    </p:spTree>
    <p:extLst>
      <p:ext uri="{BB962C8B-B14F-4D97-AF65-F5344CB8AC3E}">
        <p14:creationId xmlns:p14="http://schemas.microsoft.com/office/powerpoint/2010/main" val="866299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95E3EE-211D-A17D-B3B7-73FF93E6C022}"/>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57B63F1-1785-E082-F13C-4D1A232D9CB3}"/>
              </a:ext>
            </a:extLst>
          </p:cNvPr>
          <p:cNvSpPr>
            <a:spLocks noGrp="1"/>
          </p:cNvSpPr>
          <p:nvPr>
            <p:ph idx="1"/>
          </p:nvPr>
        </p:nvSpPr>
        <p:spPr>
          <a:xfrm>
            <a:off x="400051" y="1588559"/>
            <a:ext cx="7724773" cy="4755091"/>
          </a:xfrm>
        </p:spPr>
        <p:txBody>
          <a:bodyPr vert="horz" lIns="121920" tIns="0" rIns="121920" bIns="60960" rtlCol="0" anchor="t">
            <a:noAutofit/>
          </a:bodyPr>
          <a:lstStyle/>
          <a:p>
            <a:pPr marL="380990" indent="-380990">
              <a:buChar char="•"/>
            </a:pPr>
            <a:r>
              <a:rPr lang="en-US" sz="1600" dirty="0">
                <a:cs typeface="Arial"/>
              </a:rPr>
              <a:t>Visit your library:</a:t>
            </a:r>
          </a:p>
          <a:p>
            <a:pPr marL="1004975" lvl="1" indent="-380990">
              <a:buChar char="•"/>
            </a:pPr>
            <a:r>
              <a:rPr lang="en-US" sz="1600" dirty="0">
                <a:cs typeface="Arial"/>
              </a:rPr>
              <a:t>What journals are in the library section you usually visit? </a:t>
            </a:r>
          </a:p>
          <a:p>
            <a:pPr marL="1004975" lvl="1" indent="-380990">
              <a:buChar char="•"/>
            </a:pPr>
            <a:r>
              <a:rPr lang="en-US" sz="1600" dirty="0">
                <a:cs typeface="Arial"/>
              </a:rPr>
              <a:t>What journal's do you usually read for your research? </a:t>
            </a:r>
          </a:p>
          <a:p>
            <a:pPr marL="1004975" lvl="1" indent="-380990">
              <a:buFont typeface="Arial" panose="020B0604020202020204" pitchFamily="34" charset="0"/>
              <a:buChar char="•"/>
            </a:pPr>
            <a:r>
              <a:rPr lang="en-GB" sz="1600" dirty="0">
                <a:solidFill>
                  <a:srgbClr val="53565A"/>
                </a:solidFill>
              </a:rPr>
              <a:t>Ask supervisor and colleagues for good suggestions for your output-can recommend the most prestigious in the field </a:t>
            </a:r>
          </a:p>
          <a:p>
            <a:pPr marL="1004975" lvl="1" indent="-380990">
              <a:buChar char="•"/>
            </a:pPr>
            <a:endParaRPr lang="en-US" sz="1600" dirty="0">
              <a:cs typeface="Arial"/>
            </a:endParaRPr>
          </a:p>
          <a:p>
            <a:pPr lvl="1" indent="0">
              <a:buNone/>
            </a:pPr>
            <a:endParaRPr lang="en-US" sz="1600" dirty="0">
              <a:cs typeface="Arial"/>
            </a:endParaRPr>
          </a:p>
          <a:p>
            <a:pPr marL="380990" indent="-380990">
              <a:buChar char="•"/>
            </a:pPr>
            <a:r>
              <a:rPr lang="en-US" sz="1600" dirty="0">
                <a:cs typeface="Arial"/>
              </a:rPr>
              <a:t>Elsevier Journal Finder:</a:t>
            </a:r>
          </a:p>
          <a:p>
            <a:pPr marL="1004975" lvl="1" indent="-380990">
              <a:buChar char="•"/>
            </a:pPr>
            <a:r>
              <a:rPr lang="en-US" sz="1600" dirty="0">
                <a:cs typeface="Arial"/>
              </a:rPr>
              <a:t>Search by keyword </a:t>
            </a:r>
          </a:p>
          <a:p>
            <a:pPr marL="1004975" lvl="1" indent="-380990">
              <a:buChar char="•"/>
            </a:pPr>
            <a:r>
              <a:rPr lang="en-US" sz="1600" dirty="0">
                <a:cs typeface="Arial"/>
              </a:rPr>
              <a:t>Search by Journal title</a:t>
            </a:r>
          </a:p>
          <a:p>
            <a:pPr marL="1004975" lvl="1" indent="-380990">
              <a:spcAft>
                <a:spcPts val="0"/>
              </a:spcAft>
              <a:buChar char="•"/>
            </a:pPr>
            <a:r>
              <a:rPr lang="en-US" sz="1600" dirty="0">
                <a:cs typeface="Arial"/>
              </a:rPr>
              <a:t>Paste in your draft abstract/opening</a:t>
            </a:r>
          </a:p>
          <a:p>
            <a:pPr lvl="1" indent="0">
              <a:spcBef>
                <a:spcPts val="0"/>
              </a:spcBef>
              <a:spcAft>
                <a:spcPts val="0"/>
              </a:spcAft>
              <a:buNone/>
            </a:pPr>
            <a:r>
              <a:rPr lang="en-US" sz="1600" dirty="0">
                <a:cs typeface="Arial"/>
              </a:rPr>
              <a:t>	 paragraph </a:t>
            </a:r>
          </a:p>
          <a:p>
            <a:pPr marL="1004975" lvl="1" indent="-380990">
              <a:buChar char="•"/>
            </a:pPr>
            <a:endParaRPr lang="en-US" sz="1600" dirty="0">
              <a:cs typeface="Arial"/>
            </a:endParaRPr>
          </a:p>
          <a:p>
            <a:pPr marL="685783" lvl="1" indent="0">
              <a:buNone/>
            </a:pPr>
            <a:endParaRPr lang="en-US" sz="1600" dirty="0">
              <a:cs typeface="Arial"/>
            </a:endParaRPr>
          </a:p>
          <a:p>
            <a:pPr marL="380990" indent="-380990">
              <a:buChar char="•"/>
            </a:pPr>
            <a:endParaRPr lang="en-US" sz="1600" dirty="0">
              <a:cs typeface="Arial"/>
            </a:endParaRPr>
          </a:p>
          <a:p>
            <a:pPr marL="1066773" lvl="1" indent="-380990">
              <a:buFont typeface="Arial"/>
              <a:buChar char="•"/>
            </a:pPr>
            <a:endParaRPr lang="en-US" sz="1600" dirty="0">
              <a:cs typeface="Arial"/>
            </a:endParaRPr>
          </a:p>
        </p:txBody>
      </p:sp>
      <p:sp>
        <p:nvSpPr>
          <p:cNvPr id="3" name="Title 2">
            <a:extLst>
              <a:ext uri="{FF2B5EF4-FFF2-40B4-BE49-F238E27FC236}">
                <a16:creationId xmlns:a16="http://schemas.microsoft.com/office/drawing/2014/main" id="{FB7FD5EA-5D4E-CE1E-5884-B8EEC91AB065}"/>
              </a:ext>
            </a:extLst>
          </p:cNvPr>
          <p:cNvSpPr>
            <a:spLocks noGrp="1"/>
          </p:cNvSpPr>
          <p:nvPr>
            <p:ph type="title"/>
          </p:nvPr>
        </p:nvSpPr>
        <p:spPr>
          <a:xfrm>
            <a:off x="400051" y="355865"/>
            <a:ext cx="10984425" cy="996685"/>
          </a:xfrm>
        </p:spPr>
        <p:txBody>
          <a:bodyPr/>
          <a:lstStyle/>
          <a:p>
            <a:r>
              <a:rPr lang="en-US" dirty="0">
                <a:latin typeface="Georgia" panose="02040502050405020303" pitchFamily="18" charset="0"/>
                <a:cs typeface="Arial"/>
              </a:rPr>
              <a:t>Which journal? </a:t>
            </a:r>
            <a:br>
              <a:rPr lang="en-US" sz="2000" dirty="0">
                <a:latin typeface="Georgia" panose="02040502050405020303" pitchFamily="18" charset="0"/>
                <a:cs typeface="Arial"/>
              </a:rPr>
            </a:br>
            <a:r>
              <a:rPr lang="en-US" sz="2400" dirty="0">
                <a:latin typeface="Georgia" panose="02040502050405020303" pitchFamily="18" charset="0"/>
                <a:cs typeface="Arial"/>
              </a:rPr>
              <a:t>Subject Focus and Study Type </a:t>
            </a:r>
            <a:endParaRPr lang="en-US" dirty="0">
              <a:latin typeface="Georgia" panose="02040502050405020303" pitchFamily="18" charset="0"/>
            </a:endParaRPr>
          </a:p>
        </p:txBody>
      </p:sp>
      <p:pic>
        <p:nvPicPr>
          <p:cNvPr id="9" name="Picture 8" descr="A screenshot of a computer&#10;&#10;Description automatically generated">
            <a:extLst>
              <a:ext uri="{FF2B5EF4-FFF2-40B4-BE49-F238E27FC236}">
                <a16:creationId xmlns:a16="http://schemas.microsoft.com/office/drawing/2014/main" id="{BA132B7B-83FE-015A-EFC7-F0583BC9713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16299" y="3429618"/>
            <a:ext cx="5527496" cy="3072517"/>
          </a:xfrm>
          <a:prstGeom prst="rect">
            <a:avLst/>
          </a:prstGeom>
        </p:spPr>
      </p:pic>
    </p:spTree>
    <p:extLst>
      <p:ext uri="{BB962C8B-B14F-4D97-AF65-F5344CB8AC3E}">
        <p14:creationId xmlns:p14="http://schemas.microsoft.com/office/powerpoint/2010/main" val="2910039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B37FB7-77A0-5DB9-84D2-6107943C4BBE}"/>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6D2298C8-2E70-E9C7-306B-3FEDAAC44BE5}"/>
              </a:ext>
            </a:extLst>
          </p:cNvPr>
          <p:cNvSpPr>
            <a:spLocks noGrp="1"/>
          </p:cNvSpPr>
          <p:nvPr>
            <p:ph type="title"/>
          </p:nvPr>
        </p:nvSpPr>
        <p:spPr>
          <a:xfrm>
            <a:off x="609601" y="405657"/>
            <a:ext cx="10984425" cy="1123849"/>
          </a:xfrm>
        </p:spPr>
        <p:txBody>
          <a:bodyPr/>
          <a:lstStyle/>
          <a:p>
            <a:r>
              <a:rPr lang="en-US" dirty="0">
                <a:latin typeface="Georgia" panose="02040502050405020303" pitchFamily="18" charset="0"/>
                <a:cs typeface="Arial"/>
              </a:rPr>
              <a:t>Subject Focus and Study Type </a:t>
            </a:r>
            <a:br>
              <a:rPr lang="en-US" sz="2400" dirty="0">
                <a:latin typeface="Georgia" panose="02040502050405020303" pitchFamily="18" charset="0"/>
                <a:cs typeface="Arial"/>
              </a:rPr>
            </a:br>
            <a:r>
              <a:rPr lang="en-US" sz="2400" b="0" i="0" dirty="0">
                <a:effectLst/>
                <a:latin typeface="Georgia" panose="02040502050405020303" pitchFamily="18" charset="0"/>
              </a:rPr>
              <a:t>Find the right journal for your research</a:t>
            </a:r>
            <a:br>
              <a:rPr lang="en-US" b="0" i="0" dirty="0">
                <a:solidFill>
                  <a:srgbClr val="FFFFFF"/>
                </a:solidFill>
                <a:effectLst/>
                <a:latin typeface="var(--secondary-font)"/>
              </a:rPr>
            </a:br>
            <a:endParaRPr lang="en-US" dirty="0"/>
          </a:p>
        </p:txBody>
      </p:sp>
      <p:pic>
        <p:nvPicPr>
          <p:cNvPr id="4" name="Picture 3" descr="A screenshot of a computer&#10;&#10;Description automatically generated">
            <a:extLst>
              <a:ext uri="{FF2B5EF4-FFF2-40B4-BE49-F238E27FC236}">
                <a16:creationId xmlns:a16="http://schemas.microsoft.com/office/drawing/2014/main" id="{1E67B512-2357-221D-8396-6763AAEFAF0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36541" y="3134145"/>
            <a:ext cx="4743792" cy="3474388"/>
          </a:xfrm>
          <a:prstGeom prst="rect">
            <a:avLst/>
          </a:prstGeom>
        </p:spPr>
      </p:pic>
      <p:sp>
        <p:nvSpPr>
          <p:cNvPr id="6" name="Rectangle: Rounded Corners 5">
            <a:extLst>
              <a:ext uri="{FF2B5EF4-FFF2-40B4-BE49-F238E27FC236}">
                <a16:creationId xmlns:a16="http://schemas.microsoft.com/office/drawing/2014/main" id="{B0E8FDCC-AECE-9D64-950B-76CD4506B2A6}"/>
              </a:ext>
            </a:extLst>
          </p:cNvPr>
          <p:cNvSpPr/>
          <p:nvPr/>
        </p:nvSpPr>
        <p:spPr>
          <a:xfrm>
            <a:off x="11236884" y="4326195"/>
            <a:ext cx="720000" cy="240000"/>
          </a:xfrm>
          <a:prstGeom prst="roundRect">
            <a:avLst/>
          </a:prstGeom>
          <a:noFill/>
          <a:ln w="38100">
            <a:solidFill>
              <a:srgbClr val="FF322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LID4096" sz="2400">
              <a:solidFill>
                <a:prstClr val="white"/>
              </a:solidFill>
              <a:latin typeface="Arial" panose="020B0604020202020204"/>
            </a:endParaRPr>
          </a:p>
        </p:txBody>
      </p:sp>
      <p:sp>
        <p:nvSpPr>
          <p:cNvPr id="7" name="Rectangle: Rounded Corners 6">
            <a:extLst>
              <a:ext uri="{FF2B5EF4-FFF2-40B4-BE49-F238E27FC236}">
                <a16:creationId xmlns:a16="http://schemas.microsoft.com/office/drawing/2014/main" id="{EA7C63E5-2A7B-FA2A-D7CD-0C3AD4F9982B}"/>
              </a:ext>
            </a:extLst>
          </p:cNvPr>
          <p:cNvSpPr/>
          <p:nvPr/>
        </p:nvSpPr>
        <p:spPr>
          <a:xfrm>
            <a:off x="7665586" y="4866558"/>
            <a:ext cx="1090487" cy="207285"/>
          </a:xfrm>
          <a:prstGeom prst="roundRect">
            <a:avLst/>
          </a:prstGeom>
          <a:noFill/>
          <a:ln w="38100">
            <a:solidFill>
              <a:srgbClr val="FF322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LID4096" sz="2400">
              <a:solidFill>
                <a:prstClr val="white"/>
              </a:solidFill>
              <a:latin typeface="Arial" panose="020B0604020202020204"/>
            </a:endParaRPr>
          </a:p>
        </p:txBody>
      </p:sp>
      <p:cxnSp>
        <p:nvCxnSpPr>
          <p:cNvPr id="10" name="Straight Arrow Connector 9">
            <a:extLst>
              <a:ext uri="{FF2B5EF4-FFF2-40B4-BE49-F238E27FC236}">
                <a16:creationId xmlns:a16="http://schemas.microsoft.com/office/drawing/2014/main" id="{E09DD9AA-580D-994B-C97F-0FB422BB54C2}"/>
              </a:ext>
            </a:extLst>
          </p:cNvPr>
          <p:cNvCxnSpPr>
            <a:cxnSpLocks/>
          </p:cNvCxnSpPr>
          <p:nvPr/>
        </p:nvCxnSpPr>
        <p:spPr>
          <a:xfrm flipH="1">
            <a:off x="8367636" y="5163132"/>
            <a:ext cx="523792" cy="377595"/>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4263F744-A37C-982F-BF47-135342BE10D3}"/>
              </a:ext>
            </a:extLst>
          </p:cNvPr>
          <p:cNvCxnSpPr>
            <a:cxnSpLocks/>
          </p:cNvCxnSpPr>
          <p:nvPr/>
        </p:nvCxnSpPr>
        <p:spPr>
          <a:xfrm flipH="1">
            <a:off x="7655640" y="4043565"/>
            <a:ext cx="523792" cy="377595"/>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9" name="Content Placeholder 1">
            <a:extLst>
              <a:ext uri="{FF2B5EF4-FFF2-40B4-BE49-F238E27FC236}">
                <a16:creationId xmlns:a16="http://schemas.microsoft.com/office/drawing/2014/main" id="{F25BC70F-7384-2210-B224-2D35A15AD6F2}"/>
              </a:ext>
            </a:extLst>
          </p:cNvPr>
          <p:cNvSpPr txBox="1">
            <a:spLocks/>
          </p:cNvSpPr>
          <p:nvPr/>
        </p:nvSpPr>
        <p:spPr>
          <a:xfrm>
            <a:off x="474245" y="1785334"/>
            <a:ext cx="7893391" cy="4384347"/>
          </a:xfrm>
          <a:prstGeom prst="rect">
            <a:avLst/>
          </a:prstGeom>
        </p:spPr>
        <p:txBody>
          <a:bodyPr vert="horz" lIns="121920" tIns="0" rIns="121920" bIns="60960" rtlCol="0" anchor="t">
            <a:noAutofit/>
          </a:bodyPr>
          <a:lstStyle>
            <a:lvl1pPr marL="0" indent="0" algn="l" defTabSz="685800" rtl="0" eaLnBrk="1" latinLnBrk="0" hangingPunct="1">
              <a:lnSpc>
                <a:spcPct val="100000"/>
              </a:lnSpc>
              <a:spcBef>
                <a:spcPts val="0"/>
              </a:spcBef>
              <a:spcAft>
                <a:spcPts val="600"/>
              </a:spcAft>
              <a:buClr>
                <a:srgbClr val="FF6C00"/>
              </a:buClr>
              <a:buFont typeface="Arial" panose="020B0604020202020204" pitchFamily="34" charset="0"/>
              <a:buNone/>
              <a:tabLst>
                <a:tab pos="266700" algn="l"/>
              </a:tabLst>
              <a:defRPr lang="nl-NL" sz="1800" kern="1200">
                <a:solidFill>
                  <a:srgbClr val="53565A"/>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tx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tx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a:lstStyle>
          <a:p>
            <a:pPr defTabSz="914377">
              <a:spcAft>
                <a:spcPts val="800"/>
              </a:spcAft>
              <a:tabLst>
                <a:tab pos="355591" algn="l"/>
              </a:tabLst>
            </a:pPr>
            <a:r>
              <a:rPr lang="en-US" sz="1600" dirty="0">
                <a:latin typeface="Arial" panose="020B0604020202020204"/>
                <a:cs typeface="Arial"/>
              </a:rPr>
              <a:t>Draw up a journal shortlist and then check the journal home page of each for:</a:t>
            </a:r>
          </a:p>
          <a:p>
            <a:pPr marL="596969" indent="-380990" defTabSz="914377">
              <a:spcBef>
                <a:spcPts val="500"/>
              </a:spcBef>
              <a:spcAft>
                <a:spcPts val="800"/>
              </a:spcAft>
              <a:buFont typeface="Courier New" panose="02070309020205020404" pitchFamily="49" charset="0"/>
              <a:buChar char="•"/>
            </a:pPr>
            <a:r>
              <a:rPr lang="en-US" sz="1600" dirty="0">
                <a:solidFill>
                  <a:srgbClr val="EB6500"/>
                </a:solidFill>
                <a:latin typeface="Arial" panose="020B0604020202020204"/>
                <a:cs typeface="Arial"/>
              </a:rPr>
              <a:t>“About the journal”</a:t>
            </a:r>
          </a:p>
          <a:p>
            <a:pPr marL="596969" indent="-380990" defTabSz="914377">
              <a:spcBef>
                <a:spcPts val="500"/>
              </a:spcBef>
              <a:spcAft>
                <a:spcPts val="800"/>
              </a:spcAft>
              <a:buFont typeface="Courier New" panose="02070309020205020404" pitchFamily="49" charset="0"/>
              <a:buChar char="•"/>
            </a:pPr>
            <a:r>
              <a:rPr lang="en-US" sz="1600" dirty="0">
                <a:solidFill>
                  <a:srgbClr val="EB6500"/>
                </a:solidFill>
                <a:latin typeface="Arial" panose="020B0604020202020204"/>
                <a:cs typeface="Arial"/>
              </a:rPr>
              <a:t>“Aims and Scope”</a:t>
            </a:r>
          </a:p>
          <a:p>
            <a:pPr marL="1364957" lvl="2" indent="-380990" defTabSz="914377">
              <a:spcBef>
                <a:spcPts val="0"/>
              </a:spcBef>
              <a:spcAft>
                <a:spcPts val="0"/>
              </a:spcAft>
              <a:buClr>
                <a:srgbClr val="000000"/>
              </a:buClr>
              <a:buFont typeface="Courier New" panose="02070309020205020404" pitchFamily="49" charset="0"/>
              <a:buChar char="•"/>
            </a:pPr>
            <a:r>
              <a:rPr lang="en-US" dirty="0">
                <a:solidFill>
                  <a:srgbClr val="53565A"/>
                </a:solidFill>
                <a:latin typeface="Arial" panose="020B0604020202020204"/>
                <a:cs typeface="Arial"/>
              </a:rPr>
              <a:t>What </a:t>
            </a:r>
            <a:r>
              <a:rPr lang="en-US" i="1" dirty="0">
                <a:solidFill>
                  <a:srgbClr val="53565A"/>
                </a:solidFill>
                <a:latin typeface="Arial" panose="020B0604020202020204"/>
                <a:cs typeface="Arial"/>
              </a:rPr>
              <a:t>types </a:t>
            </a:r>
            <a:r>
              <a:rPr lang="en-US" dirty="0">
                <a:solidFill>
                  <a:srgbClr val="53565A"/>
                </a:solidFill>
                <a:latin typeface="Arial" panose="020B0604020202020204"/>
                <a:cs typeface="Arial"/>
              </a:rPr>
              <a:t>of studies what </a:t>
            </a:r>
            <a:r>
              <a:rPr lang="en-US" i="1" dirty="0">
                <a:solidFill>
                  <a:srgbClr val="53565A"/>
                </a:solidFill>
                <a:latin typeface="Arial" panose="020B0604020202020204"/>
                <a:cs typeface="Arial"/>
              </a:rPr>
              <a:t>academic discipline</a:t>
            </a:r>
            <a:r>
              <a:rPr lang="en-US" dirty="0">
                <a:solidFill>
                  <a:srgbClr val="53565A"/>
                </a:solidFill>
                <a:latin typeface="Arial" panose="020B0604020202020204"/>
                <a:cs typeface="Arial"/>
              </a:rPr>
              <a:t>(s) and </a:t>
            </a:r>
            <a:r>
              <a:rPr lang="en-US" i="1" dirty="0">
                <a:solidFill>
                  <a:srgbClr val="53565A"/>
                </a:solidFill>
                <a:latin typeface="Arial" panose="020B0604020202020204"/>
                <a:cs typeface="Arial"/>
              </a:rPr>
              <a:t>specialisms</a:t>
            </a:r>
            <a:r>
              <a:rPr lang="en-US" dirty="0">
                <a:solidFill>
                  <a:srgbClr val="53565A"/>
                </a:solidFill>
                <a:latin typeface="Arial" panose="020B0604020202020204"/>
                <a:cs typeface="Arial"/>
              </a:rPr>
              <a:t> </a:t>
            </a:r>
          </a:p>
          <a:p>
            <a:pPr marL="596969" indent="-380990" defTabSz="914377">
              <a:spcBef>
                <a:spcPts val="500"/>
              </a:spcBef>
              <a:spcAft>
                <a:spcPts val="800"/>
              </a:spcAft>
              <a:buFont typeface="Courier New" panose="02070309020205020404" pitchFamily="49" charset="0"/>
              <a:buChar char="•"/>
            </a:pPr>
            <a:r>
              <a:rPr lang="en-US" sz="1600" dirty="0">
                <a:solidFill>
                  <a:srgbClr val="EB6500"/>
                </a:solidFill>
                <a:latin typeface="Arial" panose="020B0604020202020204"/>
                <a:cs typeface="Arial"/>
              </a:rPr>
              <a:t>“Guide for Authors”</a:t>
            </a:r>
          </a:p>
          <a:p>
            <a:pPr marL="1124963" lvl="1" indent="-380990" defTabSz="914377">
              <a:spcBef>
                <a:spcPts val="0"/>
              </a:spcBef>
              <a:spcAft>
                <a:spcPts val="0"/>
              </a:spcAft>
              <a:buClr>
                <a:srgbClr val="000000"/>
              </a:buClr>
              <a:buFont typeface="Courier New" panose="02070309020205020404" pitchFamily="49" charset="0"/>
              <a:buChar char="•"/>
            </a:pPr>
            <a:r>
              <a:rPr lang="en-US" dirty="0">
                <a:solidFill>
                  <a:srgbClr val="53565A"/>
                </a:solidFill>
                <a:latin typeface="Arial" panose="020B0604020202020204"/>
                <a:cs typeface="Arial"/>
              </a:rPr>
              <a:t>Article type (</a:t>
            </a:r>
            <a:r>
              <a:rPr lang="en-US" i="1" dirty="0">
                <a:solidFill>
                  <a:srgbClr val="53565A"/>
                </a:solidFill>
                <a:latin typeface="Arial" panose="020B0604020202020204"/>
                <a:cs typeface="Arial"/>
              </a:rPr>
              <a:t>Review Articles, Short Communications,</a:t>
            </a:r>
          </a:p>
          <a:p>
            <a:pPr marL="743972" lvl="1" indent="0" defTabSz="914377">
              <a:spcBef>
                <a:spcPts val="0"/>
              </a:spcBef>
              <a:spcAft>
                <a:spcPts val="0"/>
              </a:spcAft>
              <a:buClr>
                <a:srgbClr val="000000"/>
              </a:buClr>
              <a:buNone/>
            </a:pPr>
            <a:r>
              <a:rPr lang="en-US" i="1" dirty="0">
                <a:solidFill>
                  <a:srgbClr val="53565A"/>
                </a:solidFill>
                <a:latin typeface="Arial" panose="020B0604020202020204"/>
                <a:cs typeface="Arial"/>
              </a:rPr>
              <a:t>    Book Reviews, Replication Studies</a:t>
            </a:r>
            <a:r>
              <a:rPr lang="en-GB" dirty="0">
                <a:solidFill>
                  <a:srgbClr val="53565A"/>
                </a:solidFill>
                <a:latin typeface="Arial" panose="020B0604020202020204"/>
                <a:cs typeface="Arial"/>
              </a:rPr>
              <a:t>)</a:t>
            </a:r>
            <a:endParaRPr lang="en-US" dirty="0">
              <a:solidFill>
                <a:srgbClr val="53565A"/>
              </a:solidFill>
              <a:latin typeface="Arial" panose="020B0604020202020204"/>
              <a:cs typeface="Arial"/>
            </a:endParaRPr>
          </a:p>
          <a:p>
            <a:pPr marL="1124963" lvl="1" indent="-380990" defTabSz="914377">
              <a:spcBef>
                <a:spcPts val="0"/>
              </a:spcBef>
              <a:spcAft>
                <a:spcPts val="0"/>
              </a:spcAft>
              <a:buClr>
                <a:srgbClr val="000000"/>
              </a:buClr>
              <a:buFont typeface="Courier New" panose="02070309020205020404" pitchFamily="49" charset="0"/>
              <a:buChar char="•"/>
            </a:pPr>
            <a:r>
              <a:rPr lang="en-US" dirty="0">
                <a:solidFill>
                  <a:srgbClr val="53565A"/>
                </a:solidFill>
                <a:latin typeface="Arial" panose="020B0604020202020204"/>
                <a:cs typeface="Arial"/>
              </a:rPr>
              <a:t>Word count(s)</a:t>
            </a:r>
          </a:p>
          <a:p>
            <a:pPr marL="1066773" lvl="1" indent="-380990" defTabSz="914377">
              <a:spcBef>
                <a:spcPts val="500"/>
              </a:spcBef>
              <a:spcAft>
                <a:spcPts val="800"/>
              </a:spcAft>
              <a:buFont typeface="Arial"/>
              <a:buChar char="•"/>
            </a:pPr>
            <a:endParaRPr lang="en-US" dirty="0">
              <a:solidFill>
                <a:srgbClr val="53565A"/>
              </a:solidFill>
              <a:latin typeface="Arial" panose="020B0604020202020204"/>
              <a:cs typeface="Arial"/>
            </a:endParaRPr>
          </a:p>
        </p:txBody>
      </p:sp>
      <p:sp>
        <p:nvSpPr>
          <p:cNvPr id="2" name="Rectangle: Rounded Corners 1">
            <a:extLst>
              <a:ext uri="{FF2B5EF4-FFF2-40B4-BE49-F238E27FC236}">
                <a16:creationId xmlns:a16="http://schemas.microsoft.com/office/drawing/2014/main" id="{B2C7AEEA-6349-BE2F-F25D-9EA24E773102}"/>
              </a:ext>
            </a:extLst>
          </p:cNvPr>
          <p:cNvSpPr/>
          <p:nvPr/>
        </p:nvSpPr>
        <p:spPr>
          <a:xfrm>
            <a:off x="11452980" y="3772698"/>
            <a:ext cx="534771" cy="409620"/>
          </a:xfrm>
          <a:prstGeom prst="roundRect">
            <a:avLst/>
          </a:prstGeom>
          <a:noFill/>
          <a:ln w="38100">
            <a:solidFill>
              <a:srgbClr val="FF322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LID4096" sz="2400">
              <a:solidFill>
                <a:prstClr val="white"/>
              </a:solidFill>
              <a:latin typeface="Arial" panose="020B0604020202020204"/>
            </a:endParaRPr>
          </a:p>
        </p:txBody>
      </p:sp>
    </p:spTree>
    <p:extLst>
      <p:ext uri="{BB962C8B-B14F-4D97-AF65-F5344CB8AC3E}">
        <p14:creationId xmlns:p14="http://schemas.microsoft.com/office/powerpoint/2010/main" val="415798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 calcmode="lin" valueType="num">
                                      <p:cBhvr additive="base">
                                        <p:cTn id="12" dur="500" fill="hold"/>
                                        <p:tgtEl>
                                          <p:spTgt spid="10"/>
                                        </p:tgtEl>
                                        <p:attrNameLst>
                                          <p:attrName>ppt_x</p:attrName>
                                        </p:attrNameLst>
                                      </p:cBhvr>
                                      <p:tavLst>
                                        <p:tav tm="0">
                                          <p:val>
                                            <p:strVal val="#ppt_x"/>
                                          </p:val>
                                        </p:tav>
                                        <p:tav tm="100000">
                                          <p:val>
                                            <p:strVal val="#ppt_x"/>
                                          </p:val>
                                        </p:tav>
                                      </p:tavLst>
                                    </p:anim>
                                    <p:anim calcmode="lin" valueType="num">
                                      <p:cBhvr additive="base">
                                        <p:cTn id="13"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42" presetClass="entr" presetSubtype="0" fill="hold" grpId="0" nodeType="click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1000"/>
                                        <p:tgtEl>
                                          <p:spTgt spid="6"/>
                                        </p:tgtEl>
                                      </p:cBhvr>
                                    </p:animEffect>
                                    <p:anim calcmode="lin" valueType="num">
                                      <p:cBhvr>
                                        <p:cTn id="19" dur="1000" fill="hold"/>
                                        <p:tgtEl>
                                          <p:spTgt spid="6"/>
                                        </p:tgtEl>
                                        <p:attrNameLst>
                                          <p:attrName>ppt_x</p:attrName>
                                        </p:attrNameLst>
                                      </p:cBhvr>
                                      <p:tavLst>
                                        <p:tav tm="0">
                                          <p:val>
                                            <p:strVal val="#ppt_x"/>
                                          </p:val>
                                        </p:tav>
                                        <p:tav tm="100000">
                                          <p:val>
                                            <p:strVal val="#ppt_x"/>
                                          </p:val>
                                        </p:tav>
                                      </p:tavLst>
                                    </p:anim>
                                    <p:anim calcmode="lin" valueType="num">
                                      <p:cBhvr>
                                        <p:cTn id="20"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42" presetClass="entr" presetSubtype="0" fill="hold" grpId="0" nodeType="clickEffect">
                                  <p:stCondLst>
                                    <p:cond delay="0"/>
                                  </p:stCondLst>
                                  <p:childTnLst>
                                    <p:set>
                                      <p:cBhvr>
                                        <p:cTn id="24" dur="1" fill="hold">
                                          <p:stCondLst>
                                            <p:cond delay="0"/>
                                          </p:stCondLst>
                                        </p:cTn>
                                        <p:tgtEl>
                                          <p:spTgt spid="2"/>
                                        </p:tgtEl>
                                        <p:attrNameLst>
                                          <p:attrName>style.visibility</p:attrName>
                                        </p:attrNameLst>
                                      </p:cBhvr>
                                      <p:to>
                                        <p:strVal val="visible"/>
                                      </p:to>
                                    </p:set>
                                    <p:animEffect transition="in" filter="fade">
                                      <p:cBhvr>
                                        <p:cTn id="25" dur="1000"/>
                                        <p:tgtEl>
                                          <p:spTgt spid="2"/>
                                        </p:tgtEl>
                                      </p:cBhvr>
                                    </p:animEffect>
                                    <p:anim calcmode="lin" valueType="num">
                                      <p:cBhvr>
                                        <p:cTn id="26" dur="1000" fill="hold"/>
                                        <p:tgtEl>
                                          <p:spTgt spid="2"/>
                                        </p:tgtEl>
                                        <p:attrNameLst>
                                          <p:attrName>ppt_x</p:attrName>
                                        </p:attrNameLst>
                                      </p:cBhvr>
                                      <p:tavLst>
                                        <p:tav tm="0">
                                          <p:val>
                                            <p:strVal val="#ppt_x"/>
                                          </p:val>
                                        </p:tav>
                                        <p:tav tm="100000">
                                          <p:val>
                                            <p:strVal val="#ppt_x"/>
                                          </p:val>
                                        </p:tav>
                                      </p:tavLst>
                                    </p:anim>
                                    <p:anim calcmode="lin" valueType="num">
                                      <p:cBhvr>
                                        <p:cTn id="27" dur="1000" fill="hold"/>
                                        <p:tgtEl>
                                          <p:spTgt spid="2"/>
                                        </p:tgtEl>
                                        <p:attrNameLst>
                                          <p:attrName>ppt_y</p:attrName>
                                        </p:attrNameLst>
                                      </p:cBhvr>
                                      <p:tavLst>
                                        <p:tav tm="0">
                                          <p:val>
                                            <p:strVal val="#ppt_y+.1"/>
                                          </p:val>
                                        </p:tav>
                                        <p:tav tm="100000">
                                          <p:val>
                                            <p:strVal val="#ppt_y"/>
                                          </p:val>
                                        </p:tav>
                                      </p:tavLst>
                                    </p:anim>
                                  </p:childTnLst>
                                </p:cTn>
                              </p:par>
                              <p:par>
                                <p:cTn id="28" presetID="42" presetClass="entr" presetSubtype="0" fill="hold" nodeType="with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fade">
                                      <p:cBhvr>
                                        <p:cTn id="30" dur="1000"/>
                                        <p:tgtEl>
                                          <p:spTgt spid="12"/>
                                        </p:tgtEl>
                                      </p:cBhvr>
                                    </p:animEffect>
                                    <p:anim calcmode="lin" valueType="num">
                                      <p:cBhvr>
                                        <p:cTn id="31" dur="1000" fill="hold"/>
                                        <p:tgtEl>
                                          <p:spTgt spid="12"/>
                                        </p:tgtEl>
                                        <p:attrNameLst>
                                          <p:attrName>ppt_x</p:attrName>
                                        </p:attrNameLst>
                                      </p:cBhvr>
                                      <p:tavLst>
                                        <p:tav tm="0">
                                          <p:val>
                                            <p:strVal val="#ppt_x"/>
                                          </p:val>
                                        </p:tav>
                                        <p:tav tm="100000">
                                          <p:val>
                                            <p:strVal val="#ppt_x"/>
                                          </p:val>
                                        </p:tav>
                                      </p:tavLst>
                                    </p:anim>
                                    <p:anim calcmode="lin" valueType="num">
                                      <p:cBhvr>
                                        <p:cTn id="32"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2"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EE6AA1-370F-0707-8277-39369F6D1345}"/>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7B0B140-D82A-CBA0-FEFF-3C24A8CC8CA6}"/>
              </a:ext>
            </a:extLst>
          </p:cNvPr>
          <p:cNvSpPr>
            <a:spLocks noGrp="1"/>
          </p:cNvSpPr>
          <p:nvPr>
            <p:ph idx="1"/>
          </p:nvPr>
        </p:nvSpPr>
        <p:spPr>
          <a:xfrm>
            <a:off x="-262878" y="2009749"/>
            <a:ext cx="7893391" cy="4384347"/>
          </a:xfrm>
        </p:spPr>
        <p:txBody>
          <a:bodyPr vert="horz" lIns="121920" tIns="0" rIns="121920" bIns="60960" rtlCol="0" anchor="t">
            <a:noAutofit/>
          </a:bodyPr>
          <a:lstStyle/>
          <a:p>
            <a:pPr marL="1004975" lvl="1" indent="-380990">
              <a:spcAft>
                <a:spcPts val="0"/>
              </a:spcAft>
              <a:buChar char="•"/>
            </a:pPr>
            <a:r>
              <a:rPr lang="en-US" sz="1600" b="1" dirty="0">
                <a:cs typeface="Arial"/>
              </a:rPr>
              <a:t>Editor –in-Chief </a:t>
            </a:r>
            <a:r>
              <a:rPr lang="en-US" sz="1600" dirty="0">
                <a:cs typeface="Arial"/>
              </a:rPr>
              <a:t>(their subject specialism, institution,</a:t>
            </a:r>
          </a:p>
          <a:p>
            <a:pPr lvl="1" indent="0">
              <a:spcAft>
                <a:spcPts val="0"/>
              </a:spcAft>
              <a:buNone/>
            </a:pPr>
            <a:r>
              <a:rPr lang="en-US" sz="1600" dirty="0">
                <a:cs typeface="Arial"/>
              </a:rPr>
              <a:t>	areas of research focus)</a:t>
            </a:r>
          </a:p>
          <a:p>
            <a:pPr lvl="1" indent="0">
              <a:spcAft>
                <a:spcPts val="0"/>
              </a:spcAft>
              <a:buNone/>
            </a:pPr>
            <a:endParaRPr lang="en-US" sz="1600" dirty="0">
              <a:cs typeface="Arial"/>
            </a:endParaRPr>
          </a:p>
          <a:p>
            <a:pPr marL="1004975" lvl="1" indent="-380990">
              <a:spcAft>
                <a:spcPts val="0"/>
              </a:spcAft>
              <a:buChar char="•"/>
            </a:pPr>
            <a:r>
              <a:rPr lang="en-US" sz="1600" b="1" dirty="0">
                <a:cs typeface="Arial"/>
              </a:rPr>
              <a:t>Associate Editors/ Subject Editors </a:t>
            </a:r>
          </a:p>
          <a:p>
            <a:pPr marL="1004975" lvl="1" indent="-380990">
              <a:spcAft>
                <a:spcPts val="0"/>
              </a:spcAft>
              <a:buChar char="•"/>
            </a:pPr>
            <a:endParaRPr lang="en-US" sz="1600" b="1" dirty="0">
              <a:cs typeface="Arial"/>
            </a:endParaRPr>
          </a:p>
          <a:p>
            <a:pPr marL="1004975" lvl="1" indent="-380990">
              <a:spcAft>
                <a:spcPts val="0"/>
              </a:spcAft>
              <a:buChar char="•"/>
            </a:pPr>
            <a:r>
              <a:rPr lang="en-US" sz="1600" b="1" dirty="0">
                <a:cs typeface="Arial"/>
              </a:rPr>
              <a:t>Editorial Board </a:t>
            </a:r>
          </a:p>
          <a:p>
            <a:pPr marL="1004975" lvl="1" indent="-380990">
              <a:spcAft>
                <a:spcPts val="0"/>
              </a:spcAft>
              <a:buChar char="•"/>
            </a:pPr>
            <a:endParaRPr lang="en-US" sz="1600" b="1" dirty="0">
              <a:cs typeface="Arial"/>
            </a:endParaRPr>
          </a:p>
          <a:p>
            <a:pPr marL="1004975" lvl="1" indent="-380990">
              <a:spcAft>
                <a:spcPts val="0"/>
              </a:spcAft>
              <a:buChar char="•"/>
            </a:pPr>
            <a:r>
              <a:rPr lang="en-US" sz="1600" dirty="0">
                <a:cs typeface="Arial"/>
              </a:rPr>
              <a:t>Recent </a:t>
            </a:r>
            <a:r>
              <a:rPr lang="en-US" sz="1600" b="1" dirty="0">
                <a:cs typeface="Arial"/>
              </a:rPr>
              <a:t>Special Issue </a:t>
            </a:r>
            <a:r>
              <a:rPr lang="en-US" sz="1600" dirty="0">
                <a:cs typeface="Arial"/>
              </a:rPr>
              <a:t>themes and topics </a:t>
            </a:r>
          </a:p>
          <a:p>
            <a:pPr marL="1004975" lvl="1" indent="-380990">
              <a:spcAft>
                <a:spcPts val="0"/>
              </a:spcAft>
              <a:buChar char="•"/>
            </a:pPr>
            <a:endParaRPr lang="en-US" sz="1600" dirty="0">
              <a:cs typeface="Arial"/>
            </a:endParaRPr>
          </a:p>
          <a:p>
            <a:pPr marL="1004975" lvl="1" indent="-380990">
              <a:spcAft>
                <a:spcPts val="0"/>
              </a:spcAft>
              <a:buChar char="•"/>
            </a:pPr>
            <a:r>
              <a:rPr lang="en-US" sz="1600" b="1" dirty="0">
                <a:cs typeface="Arial"/>
              </a:rPr>
              <a:t>Journal Rank </a:t>
            </a:r>
            <a:r>
              <a:rPr lang="en-US" sz="1600" dirty="0">
                <a:cs typeface="Arial"/>
              </a:rPr>
              <a:t>and </a:t>
            </a:r>
            <a:r>
              <a:rPr lang="en-US" sz="1600" b="1" dirty="0">
                <a:cs typeface="Arial"/>
              </a:rPr>
              <a:t>reputation</a:t>
            </a:r>
            <a:r>
              <a:rPr lang="en-US" sz="1600" dirty="0">
                <a:cs typeface="Arial"/>
              </a:rPr>
              <a:t>: Cite Score, Impact </a:t>
            </a:r>
          </a:p>
          <a:p>
            <a:pPr lvl="1" indent="0">
              <a:spcAft>
                <a:spcPts val="0"/>
              </a:spcAft>
              <a:buNone/>
            </a:pPr>
            <a:r>
              <a:rPr lang="en-US" sz="1600" dirty="0">
                <a:cs typeface="Arial"/>
              </a:rPr>
              <a:t>	Factor</a:t>
            </a:r>
          </a:p>
          <a:p>
            <a:pPr marL="1244969" lvl="2" indent="-380990">
              <a:spcAft>
                <a:spcPts val="0"/>
              </a:spcAft>
              <a:buChar char="•"/>
            </a:pPr>
            <a:endParaRPr lang="en-US" sz="1600" dirty="0">
              <a:cs typeface="Arial"/>
            </a:endParaRPr>
          </a:p>
          <a:p>
            <a:pPr marL="1244969" lvl="2" indent="-380990">
              <a:spcAft>
                <a:spcPts val="0"/>
              </a:spcAft>
              <a:buChar char="•"/>
            </a:pPr>
            <a:endParaRPr lang="en-US" sz="1600" dirty="0">
              <a:cs typeface="Arial"/>
            </a:endParaRPr>
          </a:p>
          <a:p>
            <a:pPr marL="380990" indent="-380990">
              <a:spcAft>
                <a:spcPts val="0"/>
              </a:spcAft>
              <a:buChar char="•"/>
            </a:pPr>
            <a:endParaRPr lang="en-US" sz="1600" dirty="0">
              <a:cs typeface="Arial"/>
            </a:endParaRPr>
          </a:p>
          <a:p>
            <a:pPr marL="1066773" lvl="1" indent="-380990">
              <a:spcAft>
                <a:spcPts val="0"/>
              </a:spcAft>
              <a:buFont typeface="Arial"/>
              <a:buChar char="•"/>
            </a:pPr>
            <a:endParaRPr lang="en-US" sz="1600" dirty="0">
              <a:cs typeface="Arial"/>
            </a:endParaRPr>
          </a:p>
        </p:txBody>
      </p:sp>
      <p:sp>
        <p:nvSpPr>
          <p:cNvPr id="3" name="Title 2">
            <a:extLst>
              <a:ext uri="{FF2B5EF4-FFF2-40B4-BE49-F238E27FC236}">
                <a16:creationId xmlns:a16="http://schemas.microsoft.com/office/drawing/2014/main" id="{AD4FD508-2EA8-969D-6E20-E6E40B26D2B1}"/>
              </a:ext>
            </a:extLst>
          </p:cNvPr>
          <p:cNvSpPr>
            <a:spLocks noGrp="1"/>
          </p:cNvSpPr>
          <p:nvPr>
            <p:ph type="title"/>
          </p:nvPr>
        </p:nvSpPr>
        <p:spPr>
          <a:xfrm>
            <a:off x="609601" y="236338"/>
            <a:ext cx="10984425" cy="887511"/>
          </a:xfrm>
        </p:spPr>
        <p:txBody>
          <a:bodyPr/>
          <a:lstStyle/>
          <a:p>
            <a:r>
              <a:rPr lang="en-US" b="0" i="0" dirty="0">
                <a:effectLst/>
                <a:latin typeface="Georgia" panose="02040502050405020303" pitchFamily="18" charset="0"/>
              </a:rPr>
              <a:t>Find the right journal for your research</a:t>
            </a:r>
            <a:br>
              <a:rPr lang="en-US" b="0" i="0" dirty="0">
                <a:solidFill>
                  <a:srgbClr val="FFFFFF"/>
                </a:solidFill>
                <a:effectLst/>
                <a:latin typeface="Georgia" panose="02040502050405020303" pitchFamily="18" charset="0"/>
              </a:rPr>
            </a:br>
            <a:r>
              <a:rPr lang="en-US" dirty="0">
                <a:latin typeface="Georgia" panose="02040502050405020303" pitchFamily="18" charset="0"/>
                <a:cs typeface="Arial"/>
              </a:rPr>
              <a:t> </a:t>
            </a:r>
            <a:endParaRPr lang="en-US" dirty="0">
              <a:latin typeface="Georgia" panose="02040502050405020303" pitchFamily="18" charset="0"/>
            </a:endParaRPr>
          </a:p>
        </p:txBody>
      </p:sp>
      <p:pic>
        <p:nvPicPr>
          <p:cNvPr id="13" name="Picture 12">
            <a:extLst>
              <a:ext uri="{FF2B5EF4-FFF2-40B4-BE49-F238E27FC236}">
                <a16:creationId xmlns:a16="http://schemas.microsoft.com/office/drawing/2014/main" id="{7517CFD3-96BB-E1B4-60BB-5FC6A2AA5C82}"/>
              </a:ext>
            </a:extLst>
          </p:cNvPr>
          <p:cNvPicPr>
            <a:picLocks noChangeAspect="1"/>
          </p:cNvPicPr>
          <p:nvPr/>
        </p:nvPicPr>
        <p:blipFill>
          <a:blip r:embed="rId3"/>
          <a:stretch>
            <a:fillRect/>
          </a:stretch>
        </p:blipFill>
        <p:spPr>
          <a:xfrm>
            <a:off x="5934074" y="3558221"/>
            <a:ext cx="3392877" cy="3299780"/>
          </a:xfrm>
          <a:prstGeom prst="rect">
            <a:avLst/>
          </a:prstGeom>
        </p:spPr>
      </p:pic>
      <p:pic>
        <p:nvPicPr>
          <p:cNvPr id="15" name="Picture 14" descr="A screenshot of a social science book&#10;&#10;Description automatically generated">
            <a:extLst>
              <a:ext uri="{FF2B5EF4-FFF2-40B4-BE49-F238E27FC236}">
                <a16:creationId xmlns:a16="http://schemas.microsoft.com/office/drawing/2014/main" id="{9A429939-D99B-B2FA-2A5D-EB75B6E70D5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49673" y="705205"/>
            <a:ext cx="5844352" cy="3613313"/>
          </a:xfrm>
          <a:prstGeom prst="rect">
            <a:avLst/>
          </a:prstGeom>
        </p:spPr>
      </p:pic>
      <p:pic>
        <p:nvPicPr>
          <p:cNvPr id="17" name="Picture 16">
            <a:extLst>
              <a:ext uri="{FF2B5EF4-FFF2-40B4-BE49-F238E27FC236}">
                <a16:creationId xmlns:a16="http://schemas.microsoft.com/office/drawing/2014/main" id="{688030E3-1ADC-3F88-66D2-82C55E75075D}"/>
              </a:ext>
            </a:extLst>
          </p:cNvPr>
          <p:cNvPicPr>
            <a:picLocks noChangeAspect="1"/>
          </p:cNvPicPr>
          <p:nvPr/>
        </p:nvPicPr>
        <p:blipFill>
          <a:blip r:embed="rId5"/>
          <a:stretch>
            <a:fillRect/>
          </a:stretch>
        </p:blipFill>
        <p:spPr>
          <a:xfrm>
            <a:off x="8301109" y="3521277"/>
            <a:ext cx="3378672" cy="5969833"/>
          </a:xfrm>
          <a:prstGeom prst="rect">
            <a:avLst/>
          </a:prstGeom>
        </p:spPr>
      </p:pic>
      <p:pic>
        <p:nvPicPr>
          <p:cNvPr id="19" name="Picture 18">
            <a:extLst>
              <a:ext uri="{FF2B5EF4-FFF2-40B4-BE49-F238E27FC236}">
                <a16:creationId xmlns:a16="http://schemas.microsoft.com/office/drawing/2014/main" id="{6FA0F6A4-6C68-A99D-65E8-E9F09DC4243F}"/>
              </a:ext>
            </a:extLst>
          </p:cNvPr>
          <p:cNvPicPr>
            <a:picLocks noChangeAspect="1"/>
          </p:cNvPicPr>
          <p:nvPr/>
        </p:nvPicPr>
        <p:blipFill>
          <a:blip r:embed="rId6"/>
          <a:stretch>
            <a:fillRect/>
          </a:stretch>
        </p:blipFill>
        <p:spPr>
          <a:xfrm>
            <a:off x="9815722" y="3500785"/>
            <a:ext cx="3200847" cy="4102672"/>
          </a:xfrm>
          <a:prstGeom prst="rect">
            <a:avLst/>
          </a:prstGeom>
        </p:spPr>
      </p:pic>
    </p:spTree>
    <p:extLst>
      <p:ext uri="{BB962C8B-B14F-4D97-AF65-F5344CB8AC3E}">
        <p14:creationId xmlns:p14="http://schemas.microsoft.com/office/powerpoint/2010/main" val="3734086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nodeType="clickEffect">
                                  <p:stCondLst>
                                    <p:cond delay="0"/>
                                  </p:stCondLst>
                                  <p:childTnLst>
                                    <p:animEffect transition="out" filter="fade">
                                      <p:cBhvr>
                                        <p:cTn id="11" dur="500"/>
                                        <p:tgtEl>
                                          <p:spTgt spid="13"/>
                                        </p:tgtEl>
                                      </p:cBhvr>
                                    </p:animEffect>
                                    <p:set>
                                      <p:cBhvr>
                                        <p:cTn id="12" dur="1" fill="hold">
                                          <p:stCondLst>
                                            <p:cond delay="499"/>
                                          </p:stCondLst>
                                        </p:cTn>
                                        <p:tgtEl>
                                          <p:spTgt spid="13"/>
                                        </p:tgtEl>
                                        <p:attrNameLst>
                                          <p:attrName>style.visibility</p:attrName>
                                        </p:attrNameLst>
                                      </p:cBhvr>
                                      <p:to>
                                        <p:strVal val="hidden"/>
                                      </p:to>
                                    </p:set>
                                  </p:childTnLst>
                                </p:cTn>
                              </p:par>
                              <p:par>
                                <p:cTn id="13" presetID="10" presetClass="entr" presetSubtype="0" fill="hold" nodeType="with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xit" presetSubtype="0" fill="hold" nodeType="clickEffect">
                                  <p:stCondLst>
                                    <p:cond delay="0"/>
                                  </p:stCondLst>
                                  <p:childTnLst>
                                    <p:animEffect transition="out" filter="fade">
                                      <p:cBhvr>
                                        <p:cTn id="19" dur="500"/>
                                        <p:tgtEl>
                                          <p:spTgt spid="17"/>
                                        </p:tgtEl>
                                      </p:cBhvr>
                                    </p:animEffect>
                                    <p:set>
                                      <p:cBhvr>
                                        <p:cTn id="20" dur="1" fill="hold">
                                          <p:stCondLst>
                                            <p:cond delay="499"/>
                                          </p:stCondLst>
                                        </p:cTn>
                                        <p:tgtEl>
                                          <p:spTgt spid="17"/>
                                        </p:tgtEl>
                                        <p:attrNameLst>
                                          <p:attrName>style.visibility</p:attrName>
                                        </p:attrNameLst>
                                      </p:cBhvr>
                                      <p:to>
                                        <p:strVal val="hidden"/>
                                      </p:to>
                                    </p:set>
                                  </p:childTnLst>
                                </p:cTn>
                              </p:par>
                              <p:par>
                                <p:cTn id="21" presetID="10" presetClass="entr" presetSubtype="0" fill="hold" nodeType="with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IMING" val="|19.2"/>
</p:tagLst>
</file>

<file path=ppt/tags/tag7.xml><?xml version="1.0" encoding="utf-8"?>
<p:tagLst xmlns:a="http://schemas.openxmlformats.org/drawingml/2006/main" xmlns:r="http://schemas.openxmlformats.org/officeDocument/2006/relationships" xmlns:p="http://schemas.openxmlformats.org/presentationml/2006/main">
  <p:tag name="TIMING" val="|159"/>
</p:tagLst>
</file>

<file path=ppt/tags/tag8.xml><?xml version="1.0" encoding="utf-8"?>
<p:tagLst xmlns:a="http://schemas.openxmlformats.org/drawingml/2006/main" xmlns:r="http://schemas.openxmlformats.org/officeDocument/2006/relationships" xmlns:p="http://schemas.openxmlformats.org/presentationml/2006/main">
  <p:tag name="TIMING" val="|29|29.2|53.4"/>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lsevier light">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llustration 1">
      <a:srgbClr val="3679E0"/>
    </a:custClr>
    <a:custClr name="Illustration 2">
      <a:srgbClr val="C0F25D"/>
    </a:custClr>
    <a:custClr name="Illustration 3">
      <a:srgbClr val="661CCA"/>
    </a:custClr>
    <a:custClr name="Illustration 4">
      <a:srgbClr val="FDD300"/>
    </a:custClr>
    <a:custClr name="Illustration 5">
      <a:srgbClr val="ACD2FF"/>
    </a:custClr>
    <a:custClr name="Illustration 6">
      <a:srgbClr val="073973"/>
    </a:custClr>
    <a:custClr name="Illustration 7">
      <a:srgbClr val="FEB7B7"/>
    </a:custClr>
    <a:custClr name="Illustration 8">
      <a:srgbClr val="A92B1D"/>
    </a:custClr>
    <a:custClr name="Illustration 9">
      <a:srgbClr val="BB84FF"/>
    </a:custClr>
    <a:custClr name="Illustration 10">
      <a:srgbClr val="496E01"/>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Data 1">
      <a:srgbClr val="3AABF0"/>
    </a:custClr>
    <a:custClr name="Data 2">
      <a:srgbClr val="702862"/>
    </a:custClr>
    <a:custClr name="Data 3">
      <a:srgbClr val="FF6E7D"/>
    </a:custClr>
    <a:custClr name="Data 4">
      <a:srgbClr val="D6EA08"/>
    </a:custClr>
    <a:custClr name="Data 5">
      <a:srgbClr val="FF322B"/>
    </a:custClr>
    <a:custClr name="Data 6">
      <a:srgbClr val="00BDC4"/>
    </a:custClr>
    <a:custClr name="Data 7">
      <a:srgbClr val="AC0015"/>
    </a:custClr>
    <a:custClr name="Data 8">
      <a:srgbClr val="6FBC26"/>
    </a:custClr>
    <a:custClr name="Data 9">
      <a:srgbClr val="E6008C"/>
    </a:custClr>
    <a:custClr name="Data 10">
      <a:srgbClr val="664129"/>
    </a:custClr>
  </a:custClrLst>
  <a:extLst>
    <a:ext uri="{05A4C25C-085E-4340-85A3-A5531E510DB2}">
      <thm15:themeFamily xmlns:thm15="http://schemas.microsoft.com/office/thememl/2012/main" name="ELS_PPT_20211118.potx" id="{6D51AB49-0B25-4DDB-B36B-8D36B2C7CBC0}" vid="{FD9B95B7-7997-4FB9-A47B-A8D416D981DD}"/>
    </a:ext>
  </a:extLst>
</a:theme>
</file>

<file path=ppt/theme/theme3.xml><?xml version="1.0" encoding="utf-8"?>
<a:theme xmlns:a="http://schemas.openxmlformats.org/drawingml/2006/main" name="1_Elsevier light">
  <a:themeElements>
    <a:clrScheme name="Elsevier2_0">
      <a:dk1>
        <a:srgbClr val="53565A"/>
      </a:dk1>
      <a:lt1>
        <a:sysClr val="window" lastClr="FFFFFF"/>
      </a:lt1>
      <a:dk2>
        <a:srgbClr val="000000"/>
      </a:dk2>
      <a:lt2>
        <a:srgbClr val="F2F2F2"/>
      </a:lt2>
      <a:accent1>
        <a:srgbClr val="3679E0"/>
      </a:accent1>
      <a:accent2>
        <a:srgbClr val="EB6500"/>
      </a:accent2>
      <a:accent3>
        <a:srgbClr val="8E8E8E"/>
      </a:accent3>
      <a:accent4>
        <a:srgbClr val="CDE4FF"/>
      </a:accent4>
      <a:accent5>
        <a:srgbClr val="FFF0E4"/>
      </a:accent5>
      <a:accent6>
        <a:srgbClr val="DCDCDC"/>
      </a:accent6>
      <a:hlink>
        <a:srgbClr val="53565A"/>
      </a:hlink>
      <a:folHlink>
        <a:srgbClr val="5356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llustration 1">
      <a:srgbClr val="3679E0"/>
    </a:custClr>
    <a:custClr name="Illustration 2">
      <a:srgbClr val="C0F25D"/>
    </a:custClr>
    <a:custClr name="Illustration 3">
      <a:srgbClr val="661CCA"/>
    </a:custClr>
    <a:custClr name="Illustration 4">
      <a:srgbClr val="FDD300"/>
    </a:custClr>
    <a:custClr name="Illustration 5">
      <a:srgbClr val="ACD2FF"/>
    </a:custClr>
    <a:custClr name="Illustration 6">
      <a:srgbClr val="073973"/>
    </a:custClr>
    <a:custClr name="Illustration 7">
      <a:srgbClr val="FEB7B7"/>
    </a:custClr>
    <a:custClr name="Illustration 8">
      <a:srgbClr val="A92B1D"/>
    </a:custClr>
    <a:custClr name="Illustration 9">
      <a:srgbClr val="BB84FF"/>
    </a:custClr>
    <a:custClr name="Illustration 10">
      <a:srgbClr val="496E01"/>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Data 1">
      <a:srgbClr val="3AABF0"/>
    </a:custClr>
    <a:custClr name="Data 2">
      <a:srgbClr val="702862"/>
    </a:custClr>
    <a:custClr name="Data 3">
      <a:srgbClr val="FF6E7D"/>
    </a:custClr>
    <a:custClr name="Data 4">
      <a:srgbClr val="D6EA08"/>
    </a:custClr>
    <a:custClr name="Data 5">
      <a:srgbClr val="FF322B"/>
    </a:custClr>
    <a:custClr name="Data 6">
      <a:srgbClr val="00BDC4"/>
    </a:custClr>
    <a:custClr name="Data 7">
      <a:srgbClr val="AC0015"/>
    </a:custClr>
    <a:custClr name="Data 8">
      <a:srgbClr val="6FBC26"/>
    </a:custClr>
    <a:custClr name="Data 9">
      <a:srgbClr val="E6008C"/>
    </a:custClr>
    <a:custClr name="Data 10">
      <a:srgbClr val="664129"/>
    </a:custClr>
  </a:custClrLst>
  <a:extLst>
    <a:ext uri="{05A4C25C-085E-4340-85A3-A5531E510DB2}">
      <thm15:themeFamily xmlns:thm15="http://schemas.microsoft.com/office/thememl/2012/main" name="ELS_PPT_Template_Dec_2023.pptx" id="{1B3DAEFD-F43D-47DA-A911-5969A5499323}" vid="{B32DA749-C89D-453E-BEB8-B97D8659A3A7}"/>
    </a:ext>
  </a:extLst>
</a:theme>
</file>

<file path=ppt/theme/theme4.xml><?xml version="1.0" encoding="utf-8"?>
<a:theme xmlns:a="http://schemas.openxmlformats.org/drawingml/2006/main" name="2_Elsevier light">
  <a:themeElements>
    <a:clrScheme name="Elsevier2_0">
      <a:dk1>
        <a:srgbClr val="53565A"/>
      </a:dk1>
      <a:lt1>
        <a:sysClr val="window" lastClr="FFFFFF"/>
      </a:lt1>
      <a:dk2>
        <a:srgbClr val="000000"/>
      </a:dk2>
      <a:lt2>
        <a:srgbClr val="F2F2F2"/>
      </a:lt2>
      <a:accent1>
        <a:srgbClr val="3679E0"/>
      </a:accent1>
      <a:accent2>
        <a:srgbClr val="EB6500"/>
      </a:accent2>
      <a:accent3>
        <a:srgbClr val="8E8E8E"/>
      </a:accent3>
      <a:accent4>
        <a:srgbClr val="CDE4FF"/>
      </a:accent4>
      <a:accent5>
        <a:srgbClr val="FFF0E4"/>
      </a:accent5>
      <a:accent6>
        <a:srgbClr val="DCDCDC"/>
      </a:accent6>
      <a:hlink>
        <a:srgbClr val="53565A"/>
      </a:hlink>
      <a:folHlink>
        <a:srgbClr val="5356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llustration 1">
      <a:srgbClr val="3679E0"/>
    </a:custClr>
    <a:custClr name="Illustration 2">
      <a:srgbClr val="C0F25D"/>
    </a:custClr>
    <a:custClr name="Illustration 3">
      <a:srgbClr val="661CCA"/>
    </a:custClr>
    <a:custClr name="Illustration 4">
      <a:srgbClr val="FDD300"/>
    </a:custClr>
    <a:custClr name="Illustration 5">
      <a:srgbClr val="ACD2FF"/>
    </a:custClr>
    <a:custClr name="Illustration 6">
      <a:srgbClr val="073973"/>
    </a:custClr>
    <a:custClr name="Illustration 7">
      <a:srgbClr val="FEB7B7"/>
    </a:custClr>
    <a:custClr name="Illustration 8">
      <a:srgbClr val="A92B1D"/>
    </a:custClr>
    <a:custClr name="Illustration 9">
      <a:srgbClr val="BB84FF"/>
    </a:custClr>
    <a:custClr name="Illustration 10">
      <a:srgbClr val="496E01"/>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Data 1">
      <a:srgbClr val="3AABF0"/>
    </a:custClr>
    <a:custClr name="Data 2">
      <a:srgbClr val="702862"/>
    </a:custClr>
    <a:custClr name="Data 3">
      <a:srgbClr val="FF6E7D"/>
    </a:custClr>
    <a:custClr name="Data 4">
      <a:srgbClr val="D6EA08"/>
    </a:custClr>
    <a:custClr name="Data 5">
      <a:srgbClr val="FF322B"/>
    </a:custClr>
    <a:custClr name="Data 6">
      <a:srgbClr val="00BDC4"/>
    </a:custClr>
    <a:custClr name="Data 7">
      <a:srgbClr val="AC0015"/>
    </a:custClr>
    <a:custClr name="Data 8">
      <a:srgbClr val="6FBC26"/>
    </a:custClr>
    <a:custClr name="Data 9">
      <a:srgbClr val="E6008C"/>
    </a:custClr>
    <a:custClr name="Data 10">
      <a:srgbClr val="664129"/>
    </a:custClr>
  </a:custClrLst>
  <a:extLst>
    <a:ext uri="{05A4C25C-085E-4340-85A3-A5531E510DB2}">
      <thm15:themeFamily xmlns:thm15="http://schemas.microsoft.com/office/thememl/2012/main" name="ELS_PPT_Template_Dec_2023.pptx" id="{1B3DAEFD-F43D-47DA-A911-5969A5499323}" vid="{B32DA749-C89D-453E-BEB8-B97D8659A3A7}"/>
    </a:ext>
  </a:extLst>
</a:theme>
</file>

<file path=ppt/theme/theme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da137b91-dffd-4a0d-acf9-b4d838bdd2f2">
      <Terms xmlns="http://schemas.microsoft.com/office/infopath/2007/PartnerControls"/>
    </lcf76f155ced4ddcb4097134ff3c332f>
    <TaxCatchAll xmlns="5be3a927-0438-4a52-a35b-4d4f974f4ffc"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E0B55A1A396544E8672BDB993367B70" ma:contentTypeVersion="16" ma:contentTypeDescription="Create a new document." ma:contentTypeScope="" ma:versionID="218e955a2604c181a25d9c5fba725cb9">
  <xsd:schema xmlns:xsd="http://www.w3.org/2001/XMLSchema" xmlns:xs="http://www.w3.org/2001/XMLSchema" xmlns:p="http://schemas.microsoft.com/office/2006/metadata/properties" xmlns:ns2="da137b91-dffd-4a0d-acf9-b4d838bdd2f2" xmlns:ns3="4999b694-7f3f-44f2-a279-0f9986ca0bdd" xmlns:ns4="5be3a927-0438-4a52-a35b-4d4f974f4ffc" targetNamespace="http://schemas.microsoft.com/office/2006/metadata/properties" ma:root="true" ma:fieldsID="b287501a0f334851bd27321cf83e57ae" ns2:_="" ns3:_="" ns4:_="">
    <xsd:import namespace="da137b91-dffd-4a0d-acf9-b4d838bdd2f2"/>
    <xsd:import namespace="4999b694-7f3f-44f2-a279-0f9986ca0bdd"/>
    <xsd:import namespace="5be3a927-0438-4a52-a35b-4d4f974f4ff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4:TaxCatchAll" minOccurs="0"/>
                <xsd:element ref="ns2:MediaServiceDateTaken" minOccurs="0"/>
                <xsd:element ref="ns2:MediaServiceOCR" minOccurs="0"/>
                <xsd:element ref="ns2:MediaServiceGenerationTime" minOccurs="0"/>
                <xsd:element ref="ns2:MediaServiceEventHashCode" minOccurs="0"/>
                <xsd:element ref="ns2:MediaServiceSearchProperties" minOccurs="0"/>
                <xsd:element ref="ns2:MediaServiceObjectDetectorVersion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a137b91-dffd-4a0d-acf9-b4d838bdd2f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02763e4d-7885-4cd8-8534-835ebc0ece8c"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LengthInSeconds" ma:index="23"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999b694-7f3f-44f2-a279-0f9986ca0bd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be3a927-0438-4a52-a35b-4d4f974f4ffc"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47c9d85f-af26-42e5-84f4-bfb3b6b835f0}" ma:internalName="TaxCatchAll" ma:showField="CatchAllData" ma:web="5be3a927-0438-4a52-a35b-4d4f974f4ff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8317012-4274-41B9-9651-93C41955A31B}">
  <ds:schemaRefs>
    <ds:schemaRef ds:uri="da137b91-dffd-4a0d-acf9-b4d838bdd2f2"/>
    <ds:schemaRef ds:uri="http://purl.org/dc/dcmitype/"/>
    <ds:schemaRef ds:uri="5be3a927-0438-4a52-a35b-4d4f974f4ffc"/>
    <ds:schemaRef ds:uri="http://schemas.microsoft.com/office/2006/documentManagement/types"/>
    <ds:schemaRef ds:uri="http://purl.org/dc/terms/"/>
    <ds:schemaRef ds:uri="4999b694-7f3f-44f2-a279-0f9986ca0bdd"/>
    <ds:schemaRef ds:uri="http://schemas.microsoft.com/office/2006/metadata/properties"/>
    <ds:schemaRef ds:uri="http://www.w3.org/XML/1998/namespace"/>
    <ds:schemaRef ds:uri="http://purl.org/dc/elements/1.1/"/>
    <ds:schemaRef ds:uri="http://schemas.microsoft.com/office/infopath/2007/PartnerControls"/>
    <ds:schemaRef ds:uri="http://schemas.openxmlformats.org/package/2006/metadata/core-properties"/>
  </ds:schemaRefs>
</ds:datastoreItem>
</file>

<file path=customXml/itemProps2.xml><?xml version="1.0" encoding="utf-8"?>
<ds:datastoreItem xmlns:ds="http://schemas.openxmlformats.org/officeDocument/2006/customXml" ds:itemID="{A35E1A1B-C437-432F-8147-EE1480BEA05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a137b91-dffd-4a0d-acf9-b4d838bdd2f2"/>
    <ds:schemaRef ds:uri="4999b694-7f3f-44f2-a279-0f9986ca0bdd"/>
    <ds:schemaRef ds:uri="5be3a927-0438-4a52-a35b-4d4f974f4ff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31B4E24-F0D0-4268-92F3-010D7F5A7A86}">
  <ds:schemaRefs>
    <ds:schemaRef ds:uri="http://schemas.microsoft.com/sharepoint/v3/contenttype/forms"/>
  </ds:schemaRefs>
</ds:datastoreItem>
</file>

<file path=docMetadata/LabelInfo.xml><?xml version="1.0" encoding="utf-8"?>
<clbl:labelList xmlns:clbl="http://schemas.microsoft.com/office/2020/mipLabelMetadata">
  <clbl:label id="{549ac42a-3eb4-4074-b885-aea26bd6241e}" enabled="1" method="Standard" siteId="{9274ee3f-9425-4109-a27f-9fb15c10675d}" removed="0"/>
</clbl:labelList>
</file>

<file path=docProps/app.xml><?xml version="1.0" encoding="utf-8"?>
<Properties xmlns="http://schemas.openxmlformats.org/officeDocument/2006/extended-properties" xmlns:vt="http://schemas.openxmlformats.org/officeDocument/2006/docPropsVTypes">
  <TotalTime>1409</TotalTime>
  <Words>6280</Words>
  <Application>Microsoft Office PowerPoint</Application>
  <PresentationFormat>Widescreen</PresentationFormat>
  <Paragraphs>835</Paragraphs>
  <Slides>49</Slides>
  <Notes>44</Notes>
  <HiddenSlides>0</HiddenSlides>
  <MMClips>0</MMClips>
  <ScaleCrop>false</ScaleCrop>
  <HeadingPairs>
    <vt:vector size="8" baseType="variant">
      <vt:variant>
        <vt:lpstr>Fonts Used</vt:lpstr>
      </vt:variant>
      <vt:variant>
        <vt:i4>12</vt:i4>
      </vt:variant>
      <vt:variant>
        <vt:lpstr>Theme</vt:lpstr>
      </vt:variant>
      <vt:variant>
        <vt:i4>7</vt:i4>
      </vt:variant>
      <vt:variant>
        <vt:lpstr>Embedded OLE Servers</vt:lpstr>
      </vt:variant>
      <vt:variant>
        <vt:i4>1</vt:i4>
      </vt:variant>
      <vt:variant>
        <vt:lpstr>Slide Titles</vt:lpstr>
      </vt:variant>
      <vt:variant>
        <vt:i4>49</vt:i4>
      </vt:variant>
    </vt:vector>
  </HeadingPairs>
  <TitlesOfParts>
    <vt:vector size="69" baseType="lpstr">
      <vt:lpstr>Aptos</vt:lpstr>
      <vt:lpstr>Arial</vt:lpstr>
      <vt:lpstr>Arial Bold</vt:lpstr>
      <vt:lpstr>Calibri</vt:lpstr>
      <vt:lpstr>Calibri Light</vt:lpstr>
      <vt:lpstr>Courier New</vt:lpstr>
      <vt:lpstr>Georgia</vt:lpstr>
      <vt:lpstr>inherit</vt:lpstr>
      <vt:lpstr>Symbol</vt:lpstr>
      <vt:lpstr>Times New Roman</vt:lpstr>
      <vt:lpstr>var(--secondary-font)</vt:lpstr>
      <vt:lpstr>Wingdings</vt:lpstr>
      <vt:lpstr>Office Theme</vt:lpstr>
      <vt:lpstr>Elsevier light</vt:lpstr>
      <vt:lpstr>1_Elsevier light</vt:lpstr>
      <vt:lpstr>2_Elsevier light</vt:lpstr>
      <vt:lpstr>1_Office Theme</vt:lpstr>
      <vt:lpstr>2_Office Theme</vt:lpstr>
      <vt:lpstr>3_Office Theme</vt:lpstr>
      <vt:lpstr>think-cell Slide</vt:lpstr>
      <vt:lpstr>Submitting to a Gold Open Access Journal at Elsevier:  A Workshop for Early-Career Researchers</vt:lpstr>
      <vt:lpstr>Presenter</vt:lpstr>
      <vt:lpstr>Agenda</vt:lpstr>
      <vt:lpstr>PowerPoint Presentation</vt:lpstr>
      <vt:lpstr>Journal types</vt:lpstr>
      <vt:lpstr>Publishing in an Open Access journal</vt:lpstr>
      <vt:lpstr>Which journal?  Subject Focus and Study Type </vt:lpstr>
      <vt:lpstr>Subject Focus and Study Type  Find the right journal for your research </vt:lpstr>
      <vt:lpstr>Find the right journal for your research  </vt:lpstr>
      <vt:lpstr>Metrics: Impact Factor &amp; CiteScore</vt:lpstr>
      <vt:lpstr>PowerPoint Presentation</vt:lpstr>
      <vt:lpstr>Before starting to write </vt:lpstr>
      <vt:lpstr>Before writing </vt:lpstr>
      <vt:lpstr>PowerPoint Presentation</vt:lpstr>
      <vt:lpstr>Common structure:</vt:lpstr>
      <vt:lpstr>Structuring your article </vt:lpstr>
      <vt:lpstr>Structuring your article </vt:lpstr>
      <vt:lpstr>Importance of language </vt:lpstr>
      <vt:lpstr>PowerPoint Presentation</vt:lpstr>
      <vt:lpstr>Referencing </vt:lpstr>
      <vt:lpstr>Once you have an initial draft </vt:lpstr>
      <vt:lpstr>PowerPoint Presentation</vt:lpstr>
      <vt:lpstr>Making a submission in Editorial Manager </vt:lpstr>
      <vt:lpstr>Making a submission in Editorial Manager </vt:lpstr>
      <vt:lpstr>Making a submission in Editorial Manager </vt:lpstr>
      <vt:lpstr>Making a submission in Editorial Manager </vt:lpstr>
      <vt:lpstr>PowerPoint Presentation</vt:lpstr>
      <vt:lpstr>Common reasons for (desk) rejection</vt:lpstr>
      <vt:lpstr>Other common mistakes</vt:lpstr>
      <vt:lpstr>PowerPoint Presentation</vt:lpstr>
      <vt:lpstr>Authorship </vt:lpstr>
      <vt:lpstr>Avoiding plagiarism </vt:lpstr>
      <vt:lpstr>Studies involving people: </vt:lpstr>
      <vt:lpstr>PowerPoint Presentation</vt:lpstr>
      <vt:lpstr>PowerPoint Presentation</vt:lpstr>
      <vt:lpstr>PowerPoint Presentation</vt:lpstr>
      <vt:lpstr>PowerPoint Presentation</vt:lpstr>
      <vt:lpstr>PowerPoint Presentation</vt:lpstr>
      <vt:lpstr>First Decision: Major/Minor Revisions</vt:lpstr>
      <vt:lpstr>Manuscript Revision</vt:lpstr>
      <vt:lpstr>Final Editorial decision </vt:lpstr>
      <vt:lpstr>Do not despair</vt:lpstr>
      <vt:lpstr>Questions? </vt:lpstr>
      <vt:lpstr>Useful Resources </vt:lpstr>
      <vt:lpstr>Ukraine Academic Support Supporting Ukrainian academics, researchers, and students </vt:lpstr>
      <vt:lpstr>Elsevier Researcher Academy </vt:lpstr>
      <vt:lpstr>If you would like to learn more about peer review:</vt:lpstr>
      <vt:lpstr>Would you like to review manuscripts?</vt:lpstr>
      <vt:lpstr>Other APC discount and waiver schem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Role of an Editor</dc:title>
  <dc:creator>Giudici, Marco (ELS-AMS)</dc:creator>
  <cp:lastModifiedBy>Bennison-Chapman, Lucy (ELS-AMS)</cp:lastModifiedBy>
  <cp:revision>6</cp:revision>
  <dcterms:created xsi:type="dcterms:W3CDTF">2023-09-21T14:08:14Z</dcterms:created>
  <dcterms:modified xsi:type="dcterms:W3CDTF">2025-10-23T10:17: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549ac42a-3eb4-4074-b885-aea26bd6241e_Enabled">
    <vt:lpwstr>true</vt:lpwstr>
  </property>
  <property fmtid="{D5CDD505-2E9C-101B-9397-08002B2CF9AE}" pid="3" name="MSIP_Label_549ac42a-3eb4-4074-b885-aea26bd6241e_SetDate">
    <vt:lpwstr>2023-09-21T14:24:55Z</vt:lpwstr>
  </property>
  <property fmtid="{D5CDD505-2E9C-101B-9397-08002B2CF9AE}" pid="4" name="MSIP_Label_549ac42a-3eb4-4074-b885-aea26bd6241e_Method">
    <vt:lpwstr>Standard</vt:lpwstr>
  </property>
  <property fmtid="{D5CDD505-2E9C-101B-9397-08002B2CF9AE}" pid="5" name="MSIP_Label_549ac42a-3eb4-4074-b885-aea26bd6241e_Name">
    <vt:lpwstr>General Business</vt:lpwstr>
  </property>
  <property fmtid="{D5CDD505-2E9C-101B-9397-08002B2CF9AE}" pid="6" name="MSIP_Label_549ac42a-3eb4-4074-b885-aea26bd6241e_SiteId">
    <vt:lpwstr>9274ee3f-9425-4109-a27f-9fb15c10675d</vt:lpwstr>
  </property>
  <property fmtid="{D5CDD505-2E9C-101B-9397-08002B2CF9AE}" pid="7" name="MSIP_Label_549ac42a-3eb4-4074-b885-aea26bd6241e_ActionId">
    <vt:lpwstr>86dd9541-5aec-490b-9d55-cb01603ad0ae</vt:lpwstr>
  </property>
  <property fmtid="{D5CDD505-2E9C-101B-9397-08002B2CF9AE}" pid="8" name="MSIP_Label_549ac42a-3eb4-4074-b885-aea26bd6241e_ContentBits">
    <vt:lpwstr>0</vt:lpwstr>
  </property>
  <property fmtid="{D5CDD505-2E9C-101B-9397-08002B2CF9AE}" pid="9" name="ContentTypeId">
    <vt:lpwstr>0x010100CE0B55A1A396544E8672BDB993367B70</vt:lpwstr>
  </property>
  <property fmtid="{D5CDD505-2E9C-101B-9397-08002B2CF9AE}" pid="10" name="MediaServiceImageTags">
    <vt:lpwstr/>
  </property>
</Properties>
</file>